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handoutMasterIdLst>
    <p:handoutMasterId r:id="rId10"/>
  </p:handoutMasterIdLst>
  <p:sldIdLst>
    <p:sldId id="2147375146" r:id="rId5"/>
    <p:sldId id="561" r:id="rId6"/>
    <p:sldId id="562" r:id="rId7"/>
    <p:sldId id="2147375147" r:id="rId8"/>
  </p:sldIdLst>
  <p:sldSz cx="9906000" cy="6858000" type="A4"/>
  <p:notesSz cx="6797675" cy="9926638"/>
  <p:custDataLst>
    <p:tags r:id="rId11"/>
  </p:custDataLst>
  <p:defaultTex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p:defaultTextStyle>
  <p:extLst>
    <p:ext uri="{521415D9-36F7-43E2-AB2F-B90AF26B5E84}">
      <p14:sectionLst xmlns:p14="http://schemas.microsoft.com/office/powerpoint/2010/main">
        <p14:section name="Forkortet" id="{CCDFED9B-BDD9-4DB6-A7F6-824498F9EFF9}">
          <p14:sldIdLst>
            <p14:sldId id="2147375146"/>
            <p14:sldId id="561"/>
            <p14:sldId id="562"/>
            <p14:sldId id="214737514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4655"/>
    <a:srgbClr val="F8F5E7"/>
    <a:srgbClr val="B6C2CA"/>
    <a:srgbClr val="24292C"/>
    <a:srgbClr val="30373B"/>
    <a:srgbClr val="451F23"/>
    <a:srgbClr val="583639"/>
    <a:srgbClr val="F9F7EC"/>
    <a:srgbClr val="ECE0E1"/>
    <a:srgbClr val="E5D3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E1C7B4-26F3-4A0D-A117-382925C33FB2}" v="284" dt="2023-12-12T16:51:42.737"/>
  </p1510:revLst>
</p1510:revInfo>
</file>

<file path=ppt/tableStyles.xml><?xml version="1.0" encoding="utf-8"?>
<a:tblStyleLst xmlns:a="http://schemas.openxmlformats.org/drawingml/2006/main" def="{17292A2E-F333-43FB-9621-5CBBE7FDCDCB}">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0" d="100"/>
          <a:sy n="110" d="100"/>
        </p:scale>
        <p:origin x="728" y="6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3F6AEEE-E778-402E-8B8F-9A98AED26EB8}" type="datetimeFigureOut">
              <a:rPr lang="en-GB" smtClean="0"/>
              <a:t>08/01/2024</a:t>
            </a:fld>
            <a:endParaRPr lang="en-GB"/>
          </a:p>
        </p:txBody>
      </p:sp>
      <p:sp>
        <p:nvSpPr>
          <p:cNvPr id="9" name="Header Placeholder 8"/>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000"/>
            </a:lvl1pPr>
          </a:lstStyle>
          <a:p>
            <a:fld id="{1386E511-D742-4EFE-90B5-C9FC42762E0F}" type="datetimeFigureOut">
              <a:rPr lang="en-GB" smtClean="0"/>
              <a:pPr/>
              <a:t>08/01/2024</a:t>
            </a:fld>
            <a:endParaRPr lang="en-GB"/>
          </a:p>
        </p:txBody>
      </p:sp>
      <p:sp>
        <p:nvSpPr>
          <p:cNvPr id="10" name="Slide Number Placeholder 9"/>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4029491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3821799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8882586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A">
    <p:spTree>
      <p:nvGrpSpPr>
        <p:cNvPr id="1" name=""/>
        <p:cNvGrpSpPr/>
        <p:nvPr/>
      </p:nvGrpSpPr>
      <p:grpSpPr>
        <a:xfrm>
          <a:off x="0" y="0"/>
          <a:ext cx="0" cy="0"/>
          <a:chOff x="0" y="0"/>
          <a:chExt cx="0" cy="0"/>
        </a:xfrm>
      </p:grpSpPr>
      <p:grpSp>
        <p:nvGrpSpPr>
          <p:cNvPr id="5" name="Background colour blocks">
            <a:extLst>
              <a:ext uri="{FF2B5EF4-FFF2-40B4-BE49-F238E27FC236}">
                <a16:creationId xmlns:a16="http://schemas.microsoft.com/office/drawing/2014/main" id="{BA3CC904-0FEE-4B55-8F2E-C1714D6AB49C}"/>
              </a:ext>
            </a:extLst>
          </p:cNvPr>
          <p:cNvGrpSpPr/>
          <p:nvPr userDrawn="1"/>
        </p:nvGrpSpPr>
        <p:grpSpPr>
          <a:xfrm>
            <a:off x="-11401" y="0"/>
            <a:ext cx="9917401" cy="6858000"/>
            <a:chOff x="-11401" y="0"/>
            <a:chExt cx="9917401" cy="6858000"/>
          </a:xfrm>
        </p:grpSpPr>
        <p:grpSp>
          <p:nvGrpSpPr>
            <p:cNvPr id="4" name="Group 3">
              <a:extLst>
                <a:ext uri="{FF2B5EF4-FFF2-40B4-BE49-F238E27FC236}">
                  <a16:creationId xmlns:a16="http://schemas.microsoft.com/office/drawing/2014/main" id="{D9FFBE70-B5E3-42B5-B606-D17B56AD418E}"/>
                </a:ext>
              </a:extLst>
            </p:cNvPr>
            <p:cNvGrpSpPr/>
            <p:nvPr userDrawn="1"/>
          </p:nvGrpSpPr>
          <p:grpSpPr>
            <a:xfrm>
              <a:off x="-11401" y="0"/>
              <a:ext cx="9917401" cy="6858000"/>
              <a:chOff x="-11401" y="0"/>
              <a:chExt cx="9917401" cy="6858000"/>
            </a:xfrm>
          </p:grpSpPr>
          <p:sp>
            <p:nvSpPr>
              <p:cNvPr id="23" name="object 2">
                <a:extLst>
                  <a:ext uri="{FF2B5EF4-FFF2-40B4-BE49-F238E27FC236}">
                    <a16:creationId xmlns:a16="http://schemas.microsoft.com/office/drawing/2014/main" id="{A81EE220-AC53-4153-A0FE-1F2219FBF428}"/>
                  </a:ext>
                </a:extLst>
              </p:cNvPr>
              <p:cNvSpPr/>
              <p:nvPr userDrawn="1"/>
            </p:nvSpPr>
            <p:spPr>
              <a:xfrm>
                <a:off x="-11401" y="0"/>
                <a:ext cx="991740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2F363B"/>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1401" y="0"/>
                <a:ext cx="7182932" cy="6858000"/>
              </a:xfrm>
              <a:prstGeom prst="rect">
                <a:avLst/>
              </a:prstGeom>
              <a:solidFill>
                <a:srgbClr val="E2DED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FFFFFF"/>
                  </a:solidFill>
                  <a:effectLst/>
                  <a:uLnTx/>
                  <a:uFillTx/>
                  <a:latin typeface="Arial"/>
                  <a:ea typeface="+mn-ea"/>
                  <a:cs typeface="+mn-cs"/>
                </a:endParaRPr>
              </a:p>
            </p:txBody>
          </p:sp>
        </p:grpSp>
        <p:sp>
          <p:nvSpPr>
            <p:cNvPr id="25" name="object 3">
              <a:extLst>
                <a:ext uri="{FF2B5EF4-FFF2-40B4-BE49-F238E27FC236}">
                  <a16:creationId xmlns:a16="http://schemas.microsoft.com/office/drawing/2014/main" id="{2F8E5E3C-C8FF-4ABE-B0BE-21762DA69433}"/>
                </a:ext>
              </a:extLst>
            </p:cNvPr>
            <p:cNvSpPr/>
            <p:nvPr userDrawn="1"/>
          </p:nvSpPr>
          <p:spPr>
            <a:xfrm>
              <a:off x="-11400" y="1192713"/>
              <a:ext cx="8566312" cy="5665287"/>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30373B"/>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chemeClr val="bg2"/>
                </a:solidFill>
                <a:effectLst/>
                <a:uLnTx/>
                <a:uFillTx/>
              </a:endParaRPr>
            </a:p>
          </p:txBody>
        </p:sp>
      </p:grpSp>
      <p:sp>
        <p:nvSpPr>
          <p:cNvPr id="2" name="Title"/>
          <p:cNvSpPr>
            <a:spLocks noGrp="1"/>
          </p:cNvSpPr>
          <p:nvPr>
            <p:ph type="ctrTitle"/>
          </p:nvPr>
        </p:nvSpPr>
        <p:spPr>
          <a:xfrm>
            <a:off x="272255" y="2138963"/>
            <a:ext cx="5842800" cy="2224886"/>
          </a:xfrm>
        </p:spPr>
        <p:txBody>
          <a:bodyPr vert="horz" anchor="t" anchorCtr="0">
            <a:noAutofit/>
          </a:bodyPr>
          <a:lstStyle>
            <a:lvl1pPr algn="l">
              <a:lnSpc>
                <a:spcPct val="83000"/>
              </a:lnSpc>
              <a:defRPr sz="6500" cap="all" baseline="0">
                <a:solidFill>
                  <a:srgbClr val="F8F5E7"/>
                </a:solidFill>
                <a:latin typeface="Impact" panose="020B0806030902050204" pitchFamily="34" charset="0"/>
              </a:defRPr>
            </a:lvl1pPr>
          </a:lstStyle>
          <a:p>
            <a:r>
              <a:rPr lang="en-US"/>
              <a:t>Click to edit Master title style</a:t>
            </a:r>
            <a:endParaRPr lang="en-GB"/>
          </a:p>
        </p:txBody>
      </p:sp>
      <p:sp>
        <p:nvSpPr>
          <p:cNvPr id="3" name="Subtitle"/>
          <p:cNvSpPr>
            <a:spLocks noGrp="1"/>
          </p:cNvSpPr>
          <p:nvPr>
            <p:ph type="subTitle" idx="1"/>
          </p:nvPr>
        </p:nvSpPr>
        <p:spPr>
          <a:xfrm>
            <a:off x="269999" y="5463127"/>
            <a:ext cx="5842800" cy="863537"/>
          </a:xfrm>
        </p:spPr>
        <p:txBody>
          <a:bodyPr anchor="b" anchorCtr="0"/>
          <a:lstStyle>
            <a:lvl1pPr marL="0" indent="0" algn="l">
              <a:lnSpc>
                <a:spcPct val="90000"/>
              </a:lnSpc>
              <a:spcBef>
                <a:spcPts val="0"/>
              </a:spcBef>
              <a:buFont typeface="Arial" panose="020B0604020202020204" pitchFamily="34" charset="0"/>
              <a:buChar char="​"/>
              <a:defRPr sz="11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US"/>
              <a:t>Click to edit Master subtitle style</a:t>
            </a:r>
            <a:endParaRPr lang="en-GB"/>
          </a:p>
        </p:txBody>
      </p:sp>
      <p:sp>
        <p:nvSpPr>
          <p:cNvPr id="8" name="Date">
            <a:extLst>
              <a:ext uri="{FF2B5EF4-FFF2-40B4-BE49-F238E27FC236}">
                <a16:creationId xmlns:a16="http://schemas.microsoft.com/office/drawing/2014/main" id="{24B46EDD-CF3B-49AB-826E-68B63D5E117C}"/>
              </a:ext>
            </a:extLst>
          </p:cNvPr>
          <p:cNvSpPr>
            <a:spLocks noGrp="1"/>
          </p:cNvSpPr>
          <p:nvPr>
            <p:ph type="body" sz="quarter" idx="13" hasCustomPrompt="1"/>
          </p:nvPr>
        </p:nvSpPr>
        <p:spPr>
          <a:xfrm>
            <a:off x="269999" y="6387016"/>
            <a:ext cx="5842800" cy="210634"/>
          </a:xfrm>
        </p:spPr>
        <p:txBody>
          <a:bodyPr rIns="0" anchor="b" anchorCtr="0"/>
          <a:lstStyle>
            <a:lvl1pPr>
              <a:lnSpc>
                <a:spcPct val="90000"/>
              </a:lnSpc>
              <a:defRPr sz="900">
                <a:solidFill>
                  <a:srgbClr val="F8F5E7"/>
                </a:solidFill>
              </a:defRPr>
            </a:lvl1pPr>
            <a:lvl5pPr>
              <a:defRPr/>
            </a:lvl5pPr>
          </a:lstStyle>
          <a:p>
            <a:pPr lvl="0"/>
            <a:r>
              <a:rPr lang="en-GB"/>
              <a:t>Date</a:t>
            </a:r>
          </a:p>
        </p:txBody>
      </p:sp>
      <p:sp>
        <p:nvSpPr>
          <p:cNvPr id="12" name="Confidential">
            <a:extLst>
              <a:ext uri="{FF2B5EF4-FFF2-40B4-BE49-F238E27FC236}">
                <a16:creationId xmlns:a16="http://schemas.microsoft.com/office/drawing/2014/main" id="{33D81281-2A14-4E3E-B226-3377EDFCB739}"/>
              </a:ext>
            </a:extLst>
          </p:cNvPr>
          <p:cNvSpPr txBox="1"/>
          <p:nvPr userDrawn="1"/>
        </p:nvSpPr>
        <p:spPr>
          <a:xfrm>
            <a:off x="8925785" y="6485010"/>
            <a:ext cx="609141" cy="124650"/>
          </a:xfrm>
          <a:prstGeom prst="rect">
            <a:avLst/>
          </a:prstGeom>
          <a:noFill/>
          <a:ln w="6350">
            <a:noFill/>
            <a:prstDash val="sysDash"/>
          </a:ln>
        </p:spPr>
        <p:txBody>
          <a:bodyPr wrap="square" lIns="0" tIns="0" rIns="0" bIns="0" rtlCol="0">
            <a:spAutoFit/>
          </a:bodyPr>
          <a:lstStyle/>
          <a:p>
            <a:pPr algn="ctr"/>
            <a:r>
              <a:rPr lang="en-GB" sz="900">
                <a:solidFill>
                  <a:schemeClr val="tx1"/>
                </a:solidFill>
              </a:rPr>
              <a:t>Confidential</a:t>
            </a:r>
          </a:p>
        </p:txBody>
      </p:sp>
      <p:sp>
        <p:nvSpPr>
          <p:cNvPr id="16" name="Logotype">
            <a:extLst>
              <a:ext uri="{FF2B5EF4-FFF2-40B4-BE49-F238E27FC236}">
                <a16:creationId xmlns:a16="http://schemas.microsoft.com/office/drawing/2014/main" id="{FB0748D9-B4B7-46FB-99B6-A4449CF9F500}"/>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t> </a:t>
            </a:r>
          </a:p>
        </p:txBody>
      </p:sp>
    </p:spTree>
    <p:extLst>
      <p:ext uri="{BB962C8B-B14F-4D97-AF65-F5344CB8AC3E}">
        <p14:creationId xmlns:p14="http://schemas.microsoft.com/office/powerpoint/2010/main" val="212889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Dark">
    <p:bg>
      <p:bgPr>
        <a:solidFill>
          <a:srgbClr val="30373B"/>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CDF767C5-417F-4E91-AF75-5846534A7C97}"/>
              </a:ext>
            </a:extLst>
          </p:cNvPr>
          <p:cNvSpPr>
            <a:spLocks noGrp="1"/>
          </p:cNvSpPr>
          <p:nvPr>
            <p:ph type="title"/>
          </p:nvPr>
        </p:nvSpPr>
        <p:spPr/>
        <p:txBody>
          <a:bodyPr/>
          <a:lstStyle>
            <a:lvl1pPr>
              <a:defRPr>
                <a:solidFill>
                  <a:srgbClr val="F8F5E7"/>
                </a:solidFill>
              </a:defRPr>
            </a:lvl1pPr>
          </a:lstStyle>
          <a:p>
            <a:r>
              <a:rPr lang="en-US"/>
              <a:t>Click to edit Master title style</a:t>
            </a:r>
            <a:endParaRPr lang="en-GB"/>
          </a:p>
        </p:txBody>
      </p:sp>
      <p:sp>
        <p:nvSpPr>
          <p:cNvPr id="6" name="Content Placeholder">
            <a:extLst>
              <a:ext uri="{FF2B5EF4-FFF2-40B4-BE49-F238E27FC236}">
                <a16:creationId xmlns:a16="http://schemas.microsoft.com/office/drawing/2014/main" id="{856EE887-ADBF-4AB0-BE63-21972C5B1663}"/>
              </a:ext>
            </a:extLst>
          </p:cNvPr>
          <p:cNvSpPr>
            <a:spLocks noGrp="1"/>
          </p:cNvSpPr>
          <p:nvPr>
            <p:ph idx="1" hasCustomPrompt="1"/>
          </p:nvPr>
        </p:nvSpPr>
        <p:spPr>
          <a:xfrm>
            <a:off x="271334" y="1628646"/>
            <a:ext cx="9363202" cy="4689475"/>
          </a:xfrm>
        </p:spPr>
        <p:txBody>
          <a:bodyPr rIns="0"/>
          <a:lstStyle>
            <a:lvl1pPr>
              <a:lnSpc>
                <a:spcPct val="90000"/>
              </a:lnSpc>
              <a:defRPr>
                <a:solidFill>
                  <a:srgbClr val="F8F5E7"/>
                </a:solidFill>
              </a:defRPr>
            </a:lvl1pPr>
            <a:lvl2pPr>
              <a:lnSpc>
                <a:spcPct val="90000"/>
              </a:lnSpc>
              <a:defRPr>
                <a:solidFill>
                  <a:srgbClr val="F8F5E7"/>
                </a:solidFill>
              </a:defRPr>
            </a:lvl2pPr>
            <a:lvl3pPr>
              <a:lnSpc>
                <a:spcPct val="90000"/>
              </a:lnSpc>
              <a:defRPr>
                <a:solidFill>
                  <a:srgbClr val="F8F5E7"/>
                </a:solidFill>
              </a:defRPr>
            </a:lvl3pPr>
            <a:lvl4pPr>
              <a:lnSpc>
                <a:spcPct val="90000"/>
              </a:lnSpc>
              <a:defRPr>
                <a:solidFill>
                  <a:srgbClr val="F8F5E7"/>
                </a:solidFill>
              </a:defRPr>
            </a:lvl4pPr>
            <a:lvl5pPr>
              <a:lnSpc>
                <a:spcPct val="90000"/>
              </a:lnSpc>
              <a:defRPr>
                <a:solidFill>
                  <a:srgbClr val="F8F5E7"/>
                </a:solidFill>
              </a:defRPr>
            </a:lvl5pPr>
            <a:lvl6pPr>
              <a:lnSpc>
                <a:spcPct val="90000"/>
              </a:lnSpc>
              <a:defRPr>
                <a:solidFill>
                  <a:srgbClr val="F8F5E7"/>
                </a:solidFill>
              </a:defRPr>
            </a:lvl6pPr>
            <a:lvl7pPr>
              <a:lnSpc>
                <a:spcPct val="90000"/>
              </a:lnSpc>
              <a:defRPr>
                <a:solidFill>
                  <a:srgbClr val="F8F5E7"/>
                </a:solidFill>
              </a:defRPr>
            </a:lvl7pPr>
            <a:lvl8pPr>
              <a:lnSpc>
                <a:spcPct val="90000"/>
              </a:lnSpc>
              <a:defRPr>
                <a:solidFill>
                  <a:srgbClr val="F8F5E7"/>
                </a:solidFill>
              </a:defRPr>
            </a:lvl8pPr>
            <a:lvl9pPr>
              <a:lnSpc>
                <a:spcPct val="83000"/>
              </a:lnSpc>
              <a:defRPr>
                <a:solidFill>
                  <a:srgbClr val="F8F5E7"/>
                </a:solidFill>
              </a:defRPr>
            </a:lvl9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7" name="Notes">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69874" y="6493884"/>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F8F5E7"/>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F8F5E7"/>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4" name="Tracker">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7209383" y="6493884"/>
            <a:ext cx="1978862" cy="106116"/>
          </a:xfrm>
        </p:spPr>
        <p:txBody>
          <a:bodyPr rIns="0" anchor="b"/>
          <a:lstStyle>
            <a:lvl1pPr algn="r">
              <a:spcAft>
                <a:spcPts val="0"/>
              </a:spcAft>
              <a:defRPr sz="650">
                <a:solidFill>
                  <a:srgbClr val="F8F5E7"/>
                </a:solidFill>
              </a:defRPr>
            </a:lvl1pPr>
            <a:lvl2pPr>
              <a:defRPr sz="650"/>
            </a:lvl2pPr>
            <a:lvl3pPr>
              <a:defRPr sz="650"/>
            </a:lvl3pPr>
            <a:lvl4pPr>
              <a:defRPr sz="650"/>
            </a:lvl4pPr>
            <a:lvl5pPr>
              <a:defRPr sz="650"/>
            </a:lvl5pPr>
          </a:lstStyle>
          <a:p>
            <a:pPr lvl="0"/>
            <a:r>
              <a:rPr lang="en-GB"/>
              <a:t>Tracker</a:t>
            </a:r>
          </a:p>
        </p:txBody>
      </p:sp>
      <p:sp>
        <p:nvSpPr>
          <p:cNvPr id="10" name="Slide Number">
            <a:extLst>
              <a:ext uri="{FF2B5EF4-FFF2-40B4-BE49-F238E27FC236}">
                <a16:creationId xmlns:a16="http://schemas.microsoft.com/office/drawing/2014/main" id="{C358026B-73DE-4966-8E4B-D5496396F489}"/>
              </a:ext>
            </a:extLst>
          </p:cNvPr>
          <p:cNvSpPr txBox="1">
            <a:spLocks/>
          </p:cNvSpPr>
          <p:nvPr userDrawn="1"/>
        </p:nvSpPr>
        <p:spPr>
          <a:xfrm>
            <a:off x="9378938" y="6493884"/>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F8F5E7"/>
                </a:solidFill>
              </a:rPr>
              <a:pPr/>
              <a:t>‹nr.›</a:t>
            </a:fld>
            <a:endParaRPr lang="en-GB" sz="650">
              <a:solidFill>
                <a:srgbClr val="F8F5E7"/>
              </a:solidFill>
            </a:endParaRPr>
          </a:p>
        </p:txBody>
      </p:sp>
      <p:sp>
        <p:nvSpPr>
          <p:cNvPr id="14" name="Logotype">
            <a:extLst>
              <a:ext uri="{FF2B5EF4-FFF2-40B4-BE49-F238E27FC236}">
                <a16:creationId xmlns:a16="http://schemas.microsoft.com/office/drawing/2014/main" id="{BB1C1348-B6E2-4EA8-8EA4-11925D5339C3}"/>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Tree>
    <p:extLst>
      <p:ext uri="{BB962C8B-B14F-4D97-AF65-F5344CB8AC3E}">
        <p14:creationId xmlns:p14="http://schemas.microsoft.com/office/powerpoint/2010/main" val="165708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AE78E964-2BF9-4ACF-B8C2-1EC9FAA8DA4B}"/>
              </a:ext>
            </a:extLst>
          </p:cNvPr>
          <p:cNvSpPr>
            <a:spLocks noGrp="1"/>
          </p:cNvSpPr>
          <p:nvPr>
            <p:ph type="title"/>
          </p:nvPr>
        </p:nvSpPr>
        <p:spPr/>
        <p:txBody>
          <a:bodyPr/>
          <a:lstStyle/>
          <a:p>
            <a:r>
              <a:rPr lang="en-US"/>
              <a:t>Click to edit Master title style</a:t>
            </a:r>
            <a:endParaRPr lang="en-GB"/>
          </a:p>
        </p:txBody>
      </p:sp>
      <p:sp>
        <p:nvSpPr>
          <p:cNvPr id="8" name="Content Placeholder 1">
            <a:extLst>
              <a:ext uri="{FF2B5EF4-FFF2-40B4-BE49-F238E27FC236}">
                <a16:creationId xmlns:a16="http://schemas.microsoft.com/office/drawing/2014/main" id="{205C4EC7-133C-4CE1-AF09-501395DFAE77}"/>
              </a:ext>
            </a:extLst>
          </p:cNvPr>
          <p:cNvSpPr>
            <a:spLocks noGrp="1"/>
          </p:cNvSpPr>
          <p:nvPr>
            <p:ph sz="quarter" idx="16"/>
          </p:nvPr>
        </p:nvSpPr>
        <p:spPr>
          <a:xfrm>
            <a:off x="269876" y="1627188"/>
            <a:ext cx="4546599" cy="471805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8323FCBC-4DEE-4949-B018-E3D511B66A0D}"/>
              </a:ext>
            </a:extLst>
          </p:cNvPr>
          <p:cNvSpPr>
            <a:spLocks noGrp="1"/>
          </p:cNvSpPr>
          <p:nvPr>
            <p:ph sz="quarter" idx="17"/>
          </p:nvPr>
        </p:nvSpPr>
        <p:spPr>
          <a:xfrm>
            <a:off x="5089527" y="1627188"/>
            <a:ext cx="4546599" cy="471805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Notes">
            <a:extLst>
              <a:ext uri="{FF2B5EF4-FFF2-40B4-BE49-F238E27FC236}">
                <a16:creationId xmlns:a16="http://schemas.microsoft.com/office/drawing/2014/main" id="{95833392-58BF-48C2-B298-2E1AF269A67D}"/>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3" name="Tracker">
            <a:extLst>
              <a:ext uri="{FF2B5EF4-FFF2-40B4-BE49-F238E27FC236}">
                <a16:creationId xmlns:a16="http://schemas.microsoft.com/office/drawing/2014/main" id="{8B1FBC85-E132-41F0-AED2-E8AFB9F92624}"/>
              </a:ext>
            </a:extLst>
          </p:cNvPr>
          <p:cNvSpPr>
            <a:spLocks noGrp="1"/>
          </p:cNvSpPr>
          <p:nvPr>
            <p:ph type="body" sz="quarter" idx="15" hasCustomPrompt="1"/>
          </p:nvPr>
        </p:nvSpPr>
        <p:spPr>
          <a:xfrm>
            <a:off x="7209383" y="6493446"/>
            <a:ext cx="1978862"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20227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029" userDrawn="1">
          <p15:clr>
            <a:srgbClr val="FBAE40"/>
          </p15:clr>
        </p15:guide>
        <p15:guide id="2" pos="321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5A5DF33-D304-4393-B015-7219C940CD2E}"/>
              </a:ext>
            </a:extLst>
          </p:cNvPr>
          <p:cNvSpPr>
            <a:spLocks noGrp="1"/>
          </p:cNvSpPr>
          <p:nvPr>
            <p:ph type="title"/>
          </p:nvPr>
        </p:nvSpPr>
        <p:spPr/>
        <p:txBody>
          <a:bodyPr/>
          <a:lstStyle/>
          <a:p>
            <a:r>
              <a:rPr lang="en-US"/>
              <a:t>Click to edit Master title style</a:t>
            </a:r>
            <a:endParaRPr lang="en-GB"/>
          </a:p>
        </p:txBody>
      </p:sp>
      <p:sp>
        <p:nvSpPr>
          <p:cNvPr id="9" name="Content Placeholder 1">
            <a:extLst>
              <a:ext uri="{FF2B5EF4-FFF2-40B4-BE49-F238E27FC236}">
                <a16:creationId xmlns:a16="http://schemas.microsoft.com/office/drawing/2014/main" id="{DCFD66A2-831F-43B0-A399-7E00BF024319}"/>
              </a:ext>
            </a:extLst>
          </p:cNvPr>
          <p:cNvSpPr>
            <a:spLocks noGrp="1"/>
          </p:cNvSpPr>
          <p:nvPr>
            <p:ph sz="quarter" idx="16"/>
          </p:nvPr>
        </p:nvSpPr>
        <p:spPr>
          <a:xfrm>
            <a:off x="269876" y="1627188"/>
            <a:ext cx="6951662" cy="471805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2">
            <a:extLst>
              <a:ext uri="{FF2B5EF4-FFF2-40B4-BE49-F238E27FC236}">
                <a16:creationId xmlns:a16="http://schemas.microsoft.com/office/drawing/2014/main" id="{76AEC189-326C-4ABC-880D-4523101BDD10}"/>
              </a:ext>
            </a:extLst>
          </p:cNvPr>
          <p:cNvSpPr>
            <a:spLocks noGrp="1"/>
          </p:cNvSpPr>
          <p:nvPr>
            <p:ph sz="quarter" idx="17"/>
          </p:nvPr>
        </p:nvSpPr>
        <p:spPr>
          <a:xfrm>
            <a:off x="7473950" y="1627188"/>
            <a:ext cx="2162176" cy="471805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Notes">
            <a:extLst>
              <a:ext uri="{FF2B5EF4-FFF2-40B4-BE49-F238E27FC236}">
                <a16:creationId xmlns:a16="http://schemas.microsoft.com/office/drawing/2014/main" id="{E3DCC377-0280-401A-965D-56293C16EC32}"/>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4" name="Tracker">
            <a:extLst>
              <a:ext uri="{FF2B5EF4-FFF2-40B4-BE49-F238E27FC236}">
                <a16:creationId xmlns:a16="http://schemas.microsoft.com/office/drawing/2014/main" id="{9EDDAF85-3BF3-423A-AAA1-867083C13F51}"/>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55925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49" userDrawn="1">
          <p15:clr>
            <a:srgbClr val="FBAE40"/>
          </p15:clr>
        </p15:guide>
        <p15:guide id="2" pos="470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D7E9F18-60A0-48CD-BDC0-93A590D608C3}"/>
              </a:ext>
            </a:extLst>
          </p:cNvPr>
          <p:cNvSpPr>
            <a:spLocks noGrp="1"/>
          </p:cNvSpPr>
          <p:nvPr>
            <p:ph type="title"/>
          </p:nvPr>
        </p:nvSpPr>
        <p:spPr/>
        <p:txBody>
          <a:bodyPr/>
          <a:lstStyle/>
          <a:p>
            <a:r>
              <a:rPr lang="en-US"/>
              <a:t>Click to edit Master title style</a:t>
            </a:r>
            <a:endParaRPr lang="en-GB"/>
          </a:p>
        </p:txBody>
      </p:sp>
      <p:sp>
        <p:nvSpPr>
          <p:cNvPr id="8" name="Notes">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9" name="Tracker">
            <a:extLst>
              <a:ext uri="{FF2B5EF4-FFF2-40B4-BE49-F238E27FC236}">
                <a16:creationId xmlns:a16="http://schemas.microsoft.com/office/drawing/2014/main" id="{5B1D007D-4C5C-42C9-96AF-C07E2FCC2795}"/>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345088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A">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FB2AA0C-A10C-4FAA-8A07-D46B34D93566}"/>
              </a:ext>
            </a:extLst>
          </p:cNvPr>
          <p:cNvSpPr>
            <a:spLocks noGrp="1"/>
          </p:cNvSpPr>
          <p:nvPr>
            <p:ph type="title"/>
          </p:nvPr>
        </p:nvSpPr>
        <p:spPr>
          <a:xfrm>
            <a:off x="269876" y="269876"/>
            <a:ext cx="4546598" cy="692336"/>
          </a:xfrm>
        </p:spPr>
        <p:txBody>
          <a:bodyPr/>
          <a:lstStyle/>
          <a:p>
            <a:r>
              <a:rPr lang="en-US"/>
              <a:t>Click to edit Master title style</a:t>
            </a:r>
            <a:endParaRPr lang="en-GB"/>
          </a:p>
        </p:txBody>
      </p:sp>
      <p:sp>
        <p:nvSpPr>
          <p:cNvPr id="15" name="Content Placeholder 1">
            <a:extLst>
              <a:ext uri="{FF2B5EF4-FFF2-40B4-BE49-F238E27FC236}">
                <a16:creationId xmlns:a16="http://schemas.microsoft.com/office/drawing/2014/main" id="{828F7134-240A-4869-B27D-41E1ADDCFE18}"/>
              </a:ext>
            </a:extLst>
          </p:cNvPr>
          <p:cNvSpPr>
            <a:spLocks noGrp="1"/>
          </p:cNvSpPr>
          <p:nvPr>
            <p:ph sz="quarter" idx="16"/>
          </p:nvPr>
        </p:nvSpPr>
        <p:spPr>
          <a:xfrm>
            <a:off x="269876" y="1627188"/>
            <a:ext cx="4546599" cy="471805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a:extLst>
              <a:ext uri="{FF2B5EF4-FFF2-40B4-BE49-F238E27FC236}">
                <a16:creationId xmlns:a16="http://schemas.microsoft.com/office/drawing/2014/main" id="{04532FB5-7581-4A12-8CA5-1942A4579CCE}"/>
              </a:ext>
            </a:extLst>
          </p:cNvPr>
          <p:cNvSpPr>
            <a:spLocks noGrp="1"/>
          </p:cNvSpPr>
          <p:nvPr>
            <p:ph sz="quarter" idx="19"/>
          </p:nvPr>
        </p:nvSpPr>
        <p:spPr>
          <a:xfrm>
            <a:off x="5089527" y="4110810"/>
            <a:ext cx="4276723" cy="2234427"/>
          </a:xfrm>
        </p:spPr>
        <p:txBody>
          <a:bodyPr lIns="0" tIns="0" rIns="0" bIns="0"/>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a:extLst>
              <a:ext uri="{FF2B5EF4-FFF2-40B4-BE49-F238E27FC236}">
                <a16:creationId xmlns:a16="http://schemas.microsoft.com/office/drawing/2014/main" id="{96EDC17A-116C-4E16-A3DE-2E5F4B894B8C}"/>
              </a:ext>
            </a:extLst>
          </p:cNvPr>
          <p:cNvSpPr>
            <a:spLocks noGrp="1"/>
          </p:cNvSpPr>
          <p:nvPr>
            <p:ph type="pic" sz="quarter" idx="15"/>
          </p:nvPr>
        </p:nvSpPr>
        <p:spPr>
          <a:xfrm>
            <a:off x="5089527" y="269876"/>
            <a:ext cx="4276723" cy="3568047"/>
          </a:xfrm>
          <a:solidFill>
            <a:srgbClr val="F3F2F0"/>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2" name="Notes">
            <a:extLst>
              <a:ext uri="{FF2B5EF4-FFF2-40B4-BE49-F238E27FC236}">
                <a16:creationId xmlns:a16="http://schemas.microsoft.com/office/drawing/2014/main" id="{9B2F0609-B28D-4E90-9A79-7A5ED798D973}"/>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9" name="Tracker">
            <a:extLst>
              <a:ext uri="{FF2B5EF4-FFF2-40B4-BE49-F238E27FC236}">
                <a16:creationId xmlns:a16="http://schemas.microsoft.com/office/drawing/2014/main" id="{3DF3DC3C-DE28-4D18-A51C-ED4FD66A7A48}"/>
              </a:ext>
            </a:extLst>
          </p:cNvPr>
          <p:cNvSpPr>
            <a:spLocks noGrp="1"/>
          </p:cNvSpPr>
          <p:nvPr>
            <p:ph type="body" sz="quarter" idx="18"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11336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029" userDrawn="1">
          <p15:clr>
            <a:srgbClr val="FBAE40"/>
          </p15:clr>
        </p15:guide>
        <p15:guide id="2" pos="321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B - Imag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40DB378-2F2E-4C62-8C65-4BE5CC597911}"/>
              </a:ext>
            </a:extLst>
          </p:cNvPr>
          <p:cNvSpPr>
            <a:spLocks noGrp="1"/>
          </p:cNvSpPr>
          <p:nvPr>
            <p:ph type="title"/>
          </p:nvPr>
        </p:nvSpPr>
        <p:spPr/>
        <p:txBody>
          <a:bodyPr/>
          <a:lstStyle/>
          <a:p>
            <a:r>
              <a:rPr lang="en-US"/>
              <a:t>Click to edit Master title style</a:t>
            </a:r>
            <a:endParaRPr lang="en-GB"/>
          </a:p>
        </p:txBody>
      </p:sp>
      <p:sp>
        <p:nvSpPr>
          <p:cNvPr id="16" name="Content Placeholder 1">
            <a:extLst>
              <a:ext uri="{FF2B5EF4-FFF2-40B4-BE49-F238E27FC236}">
                <a16:creationId xmlns:a16="http://schemas.microsoft.com/office/drawing/2014/main" id="{A2B4B6FE-FB73-4329-9D9B-24EB124E4570}"/>
              </a:ext>
            </a:extLst>
          </p:cNvPr>
          <p:cNvSpPr>
            <a:spLocks noGrp="1"/>
          </p:cNvSpPr>
          <p:nvPr>
            <p:ph sz="quarter" idx="17"/>
          </p:nvPr>
        </p:nvSpPr>
        <p:spPr>
          <a:xfrm>
            <a:off x="269876" y="1627188"/>
            <a:ext cx="4546599" cy="471805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lour block background">
            <a:extLst>
              <a:ext uri="{FF2B5EF4-FFF2-40B4-BE49-F238E27FC236}">
                <a16:creationId xmlns:a16="http://schemas.microsoft.com/office/drawing/2014/main" id="{26712821-3480-4567-B81B-23EDA2374ED8}"/>
              </a:ext>
            </a:extLst>
          </p:cNvPr>
          <p:cNvSpPr/>
          <p:nvPr userDrawn="1"/>
        </p:nvSpPr>
        <p:spPr>
          <a:xfrm>
            <a:off x="5635691" y="2301551"/>
            <a:ext cx="4270310" cy="4556449"/>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000" noProof="0">
              <a:solidFill>
                <a:srgbClr val="1F2023"/>
              </a:solidFill>
            </a:endParaRPr>
          </a:p>
        </p:txBody>
      </p:sp>
      <p:sp>
        <p:nvSpPr>
          <p:cNvPr id="10" name="Picture">
            <a:extLst>
              <a:ext uri="{FF2B5EF4-FFF2-40B4-BE49-F238E27FC236}">
                <a16:creationId xmlns:a16="http://schemas.microsoft.com/office/drawing/2014/main" id="{96EDC17A-116C-4E16-A3DE-2E5F4B894B8C}"/>
              </a:ext>
            </a:extLst>
          </p:cNvPr>
          <p:cNvSpPr>
            <a:spLocks noGrp="1"/>
          </p:cNvSpPr>
          <p:nvPr>
            <p:ph type="pic" sz="quarter" idx="15"/>
          </p:nvPr>
        </p:nvSpPr>
        <p:spPr>
          <a:xfrm>
            <a:off x="5087940" y="1627189"/>
            <a:ext cx="4546598" cy="4718050"/>
          </a:xfrm>
          <a:solidFill>
            <a:srgbClr val="F3F2F0"/>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2" name="Notes">
            <a:extLst>
              <a:ext uri="{FF2B5EF4-FFF2-40B4-BE49-F238E27FC236}">
                <a16:creationId xmlns:a16="http://schemas.microsoft.com/office/drawing/2014/main" id="{2FBC88B6-08B7-43F9-8247-DD84EEDEFA98}"/>
              </a:ext>
            </a:extLst>
          </p:cNvPr>
          <p:cNvSpPr>
            <a:spLocks noGrp="1"/>
          </p:cNvSpPr>
          <p:nvPr>
            <p:ph type="body" sz="quarter" idx="13" hasCustomPrompt="1"/>
          </p:nvPr>
        </p:nvSpPr>
        <p:spPr>
          <a:xfrm>
            <a:off x="269874" y="6491175"/>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4" name="Tracker">
            <a:extLst>
              <a:ext uri="{FF2B5EF4-FFF2-40B4-BE49-F238E27FC236}">
                <a16:creationId xmlns:a16="http://schemas.microsoft.com/office/drawing/2014/main" id="{C4599098-76BE-4592-B7EE-47CF1FB2B5C6}"/>
              </a:ext>
            </a:extLst>
          </p:cNvPr>
          <p:cNvSpPr>
            <a:spLocks noGrp="1"/>
          </p:cNvSpPr>
          <p:nvPr>
            <p:ph type="body" sz="quarter" idx="16"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3" name="Slide number">
            <a:extLst>
              <a:ext uri="{FF2B5EF4-FFF2-40B4-BE49-F238E27FC236}">
                <a16:creationId xmlns:a16="http://schemas.microsoft.com/office/drawing/2014/main" id="{7B7CF61C-B728-40AF-B193-CFE730697174}"/>
              </a:ext>
            </a:extLst>
          </p:cNvPr>
          <p:cNvSpPr txBox="1">
            <a:spLocks/>
          </p:cNvSpPr>
          <p:nvPr userDrawn="1"/>
        </p:nvSpPr>
        <p:spPr>
          <a:xfrm>
            <a:off x="9378938" y="6489291"/>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1F2023"/>
                </a:solidFill>
              </a:rPr>
              <a:pPr/>
              <a:t>‹nr.›</a:t>
            </a:fld>
            <a:endParaRPr lang="en-GB" sz="650">
              <a:solidFill>
                <a:srgbClr val="1F2023"/>
              </a:solidFill>
            </a:endParaRPr>
          </a:p>
        </p:txBody>
      </p:sp>
    </p:spTree>
    <p:extLst>
      <p:ext uri="{BB962C8B-B14F-4D97-AF65-F5344CB8AC3E}">
        <p14:creationId xmlns:p14="http://schemas.microsoft.com/office/powerpoint/2010/main" val="277627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029" userDrawn="1">
          <p15:clr>
            <a:srgbClr val="FBAE40"/>
          </p15:clr>
        </p15:guide>
        <p15:guide id="2" pos="321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Background A">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F00D752A-9605-4304-AD3C-32B7013B5E1B}"/>
              </a:ext>
            </a:extLst>
          </p:cNvPr>
          <p:cNvSpPr>
            <a:spLocks noGrp="1"/>
          </p:cNvSpPr>
          <p:nvPr>
            <p:ph type="title"/>
          </p:nvPr>
        </p:nvSpPr>
        <p:spPr/>
        <p:txBody>
          <a:bodyPr/>
          <a:lstStyle/>
          <a:p>
            <a:r>
              <a:rPr lang="en-US"/>
              <a:t>Click to edit Master title style</a:t>
            </a:r>
            <a:endParaRPr lang="en-GB"/>
          </a:p>
        </p:txBody>
      </p:sp>
      <p:sp>
        <p:nvSpPr>
          <p:cNvPr id="2" name="Colour block background">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000" noProof="0">
              <a:solidFill>
                <a:srgbClr val="1F2023"/>
              </a:solidFill>
            </a:endParaRPr>
          </a:p>
        </p:txBody>
      </p:sp>
      <p:sp>
        <p:nvSpPr>
          <p:cNvPr id="16" name="Content Placeholder">
            <a:extLst>
              <a:ext uri="{FF2B5EF4-FFF2-40B4-BE49-F238E27FC236}">
                <a16:creationId xmlns:a16="http://schemas.microsoft.com/office/drawing/2014/main" id="{9B49CB66-3D3F-46FD-BE8F-1DECDF80784D}"/>
              </a:ext>
            </a:extLst>
          </p:cNvPr>
          <p:cNvSpPr>
            <a:spLocks noGrp="1"/>
          </p:cNvSpPr>
          <p:nvPr>
            <p:ph sz="quarter" idx="16"/>
          </p:nvPr>
        </p:nvSpPr>
        <p:spPr>
          <a:xfrm>
            <a:off x="269876" y="1878014"/>
            <a:ext cx="7959724" cy="446722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buAutoNum type="alphaUcPeriod"/>
              <a:defRPr/>
            </a:lvl8pPr>
            <a:lvl9pPr>
              <a:lnSpc>
                <a:spcPct val="83000"/>
              </a:lnSpc>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Notes">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69874" y="6491175"/>
            <a:ext cx="6744111" cy="106116"/>
          </a:xfrm>
        </p:spPr>
        <p:txBody>
          <a:bodyPr rIns="0" anchor="b" anchorCtr="0"/>
          <a:lstStyle>
            <a:lvl1pPr marL="0" indent="0" algn="l" defTabSz="742950"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64D12D86-30BB-442D-B9AC-A0B29C155981}"/>
              </a:ext>
            </a:extLst>
          </p:cNvPr>
          <p:cNvSpPr>
            <a:spLocks noGrp="1"/>
          </p:cNvSpPr>
          <p:nvPr>
            <p:ph type="body" sz="quarter" idx="15" hasCustomPrompt="1"/>
          </p:nvPr>
        </p:nvSpPr>
        <p:spPr>
          <a:xfrm>
            <a:off x="7221537" y="6491731"/>
            <a:ext cx="1966707" cy="106116"/>
          </a:xfrm>
        </p:spPr>
        <p:txBody>
          <a:bodyPr rIns="0" anchor="b"/>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637020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ackground B">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F00D752A-9605-4304-AD3C-32B7013B5E1B}"/>
              </a:ext>
            </a:extLst>
          </p:cNvPr>
          <p:cNvSpPr>
            <a:spLocks noGrp="1"/>
          </p:cNvSpPr>
          <p:nvPr>
            <p:ph type="title"/>
          </p:nvPr>
        </p:nvSpPr>
        <p:spPr/>
        <p:txBody>
          <a:bodyPr/>
          <a:lstStyle/>
          <a:p>
            <a:r>
              <a:rPr lang="en-US"/>
              <a:t>Click to edit Master title style</a:t>
            </a:r>
            <a:endParaRPr lang="en-GB"/>
          </a:p>
        </p:txBody>
      </p:sp>
      <p:sp>
        <p:nvSpPr>
          <p:cNvPr id="2" name="Colour block background">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EFDDD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endParaRPr lang="en-GB" noProof="0">
              <a:solidFill>
                <a:srgbClr val="1F2023"/>
              </a:solidFill>
            </a:endParaRPr>
          </a:p>
        </p:txBody>
      </p:sp>
      <p:sp>
        <p:nvSpPr>
          <p:cNvPr id="16" name="Content Placeholder">
            <a:extLst>
              <a:ext uri="{FF2B5EF4-FFF2-40B4-BE49-F238E27FC236}">
                <a16:creationId xmlns:a16="http://schemas.microsoft.com/office/drawing/2014/main" id="{9B49CB66-3D3F-46FD-BE8F-1DECDF80784D}"/>
              </a:ext>
            </a:extLst>
          </p:cNvPr>
          <p:cNvSpPr>
            <a:spLocks noGrp="1"/>
          </p:cNvSpPr>
          <p:nvPr>
            <p:ph sz="quarter" idx="16"/>
          </p:nvPr>
        </p:nvSpPr>
        <p:spPr>
          <a:xfrm>
            <a:off x="269876" y="1878014"/>
            <a:ext cx="7959724" cy="446722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buAutoNum type="alphaUcPeriod"/>
              <a:defRPr/>
            </a:lvl8pPr>
            <a:lvl9pPr>
              <a:lnSpc>
                <a:spcPct val="83000"/>
              </a:lnSpc>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Notes">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69874" y="6491175"/>
            <a:ext cx="6744111" cy="106116"/>
          </a:xfrm>
        </p:spPr>
        <p:txBody>
          <a:bodyPr rIns="0" anchor="b" anchorCtr="0"/>
          <a:lstStyle>
            <a:lvl1pPr marL="0" indent="0" algn="l" defTabSz="742950"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64D12D86-30BB-442D-B9AC-A0B29C155981}"/>
              </a:ext>
            </a:extLst>
          </p:cNvPr>
          <p:cNvSpPr>
            <a:spLocks noGrp="1"/>
          </p:cNvSpPr>
          <p:nvPr>
            <p:ph type="body" sz="quarter" idx="15" hasCustomPrompt="1"/>
          </p:nvPr>
        </p:nvSpPr>
        <p:spPr>
          <a:xfrm>
            <a:off x="7221537" y="6491731"/>
            <a:ext cx="1966707" cy="106116"/>
          </a:xfrm>
        </p:spPr>
        <p:txBody>
          <a:bodyPr rIns="0" anchor="b"/>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00448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Background C">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F00D752A-9605-4304-AD3C-32B7013B5E1B}"/>
              </a:ext>
            </a:extLst>
          </p:cNvPr>
          <p:cNvSpPr>
            <a:spLocks noGrp="1"/>
          </p:cNvSpPr>
          <p:nvPr>
            <p:ph type="title"/>
          </p:nvPr>
        </p:nvSpPr>
        <p:spPr/>
        <p:txBody>
          <a:bodyPr/>
          <a:lstStyle/>
          <a:p>
            <a:r>
              <a:rPr lang="en-US"/>
              <a:t>Click to edit Master title style</a:t>
            </a:r>
            <a:endParaRPr lang="en-GB"/>
          </a:p>
        </p:txBody>
      </p:sp>
      <p:sp>
        <p:nvSpPr>
          <p:cNvPr id="2" name="Colour block background">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D7E0DC"/>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endParaRPr lang="en-GB" noProof="0">
              <a:solidFill>
                <a:srgbClr val="1F2023"/>
              </a:solidFill>
            </a:endParaRPr>
          </a:p>
        </p:txBody>
      </p:sp>
      <p:sp>
        <p:nvSpPr>
          <p:cNvPr id="16" name="Content Placeholder">
            <a:extLst>
              <a:ext uri="{FF2B5EF4-FFF2-40B4-BE49-F238E27FC236}">
                <a16:creationId xmlns:a16="http://schemas.microsoft.com/office/drawing/2014/main" id="{9B49CB66-3D3F-46FD-BE8F-1DECDF80784D}"/>
              </a:ext>
            </a:extLst>
          </p:cNvPr>
          <p:cNvSpPr>
            <a:spLocks noGrp="1"/>
          </p:cNvSpPr>
          <p:nvPr>
            <p:ph sz="quarter" idx="16"/>
          </p:nvPr>
        </p:nvSpPr>
        <p:spPr>
          <a:xfrm>
            <a:off x="269876" y="1878014"/>
            <a:ext cx="7959724" cy="446722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buAutoNum type="alphaUcPeriod"/>
              <a:defRPr/>
            </a:lvl8pPr>
            <a:lvl9pPr>
              <a:lnSpc>
                <a:spcPct val="83000"/>
              </a:lnSpc>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Notes">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69874" y="6491175"/>
            <a:ext cx="6744111" cy="106116"/>
          </a:xfrm>
        </p:spPr>
        <p:txBody>
          <a:bodyPr rIns="0" anchor="b" anchorCtr="0"/>
          <a:lstStyle>
            <a:lvl1pPr marL="0" indent="0" algn="l" defTabSz="742950"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64D12D86-30BB-442D-B9AC-A0B29C155981}"/>
              </a:ext>
            </a:extLst>
          </p:cNvPr>
          <p:cNvSpPr>
            <a:spLocks noGrp="1"/>
          </p:cNvSpPr>
          <p:nvPr>
            <p:ph type="body" sz="quarter" idx="15" hasCustomPrompt="1"/>
          </p:nvPr>
        </p:nvSpPr>
        <p:spPr>
          <a:xfrm>
            <a:off x="7221537" y="6491731"/>
            <a:ext cx="1966707" cy="106116"/>
          </a:xfrm>
        </p:spPr>
        <p:txBody>
          <a:bodyPr rIns="0" anchor="b"/>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41635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Background 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F00D752A-9605-4304-AD3C-32B7013B5E1B}"/>
              </a:ext>
            </a:extLst>
          </p:cNvPr>
          <p:cNvSpPr>
            <a:spLocks noGrp="1"/>
          </p:cNvSpPr>
          <p:nvPr>
            <p:ph type="title"/>
          </p:nvPr>
        </p:nvSpPr>
        <p:spPr/>
        <p:txBody>
          <a:bodyPr/>
          <a:lstStyle/>
          <a:p>
            <a:r>
              <a:rPr lang="en-US"/>
              <a:t>Click to edit Master title style</a:t>
            </a:r>
            <a:endParaRPr lang="en-GB"/>
          </a:p>
        </p:txBody>
      </p:sp>
      <p:sp>
        <p:nvSpPr>
          <p:cNvPr id="2" name="Colour block background">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lvl="0"/>
            <a:endParaRPr lang="en-GB" noProof="0">
              <a:solidFill>
                <a:srgbClr val="1F2023"/>
              </a:solidFill>
            </a:endParaRPr>
          </a:p>
        </p:txBody>
      </p:sp>
      <p:sp>
        <p:nvSpPr>
          <p:cNvPr id="16" name="Content Placeholder">
            <a:extLst>
              <a:ext uri="{FF2B5EF4-FFF2-40B4-BE49-F238E27FC236}">
                <a16:creationId xmlns:a16="http://schemas.microsoft.com/office/drawing/2014/main" id="{9B49CB66-3D3F-46FD-BE8F-1DECDF80784D}"/>
              </a:ext>
            </a:extLst>
          </p:cNvPr>
          <p:cNvSpPr>
            <a:spLocks noGrp="1"/>
          </p:cNvSpPr>
          <p:nvPr>
            <p:ph sz="quarter" idx="16"/>
          </p:nvPr>
        </p:nvSpPr>
        <p:spPr>
          <a:xfrm>
            <a:off x="269876" y="1878014"/>
            <a:ext cx="7959724" cy="4467223"/>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buAutoNum type="alphaUcPeriod"/>
              <a:defRPr/>
            </a:lvl8pPr>
            <a:lvl9pPr>
              <a:lnSpc>
                <a:spcPct val="83000"/>
              </a:lnSpc>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Notes">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69874" y="6491175"/>
            <a:ext cx="6744111" cy="106116"/>
          </a:xfrm>
        </p:spPr>
        <p:txBody>
          <a:bodyPr rIns="0" anchor="b" anchorCtr="0"/>
          <a:lstStyle>
            <a:lvl1pPr marL="0" indent="0" algn="l" defTabSz="742950"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64D12D86-30BB-442D-B9AC-A0B29C155981}"/>
              </a:ext>
            </a:extLst>
          </p:cNvPr>
          <p:cNvSpPr>
            <a:spLocks noGrp="1"/>
          </p:cNvSpPr>
          <p:nvPr>
            <p:ph type="body" sz="quarter" idx="15" hasCustomPrompt="1"/>
          </p:nvPr>
        </p:nvSpPr>
        <p:spPr>
          <a:xfrm>
            <a:off x="7221537" y="6491731"/>
            <a:ext cx="1966707" cy="106116"/>
          </a:xfrm>
        </p:spPr>
        <p:txBody>
          <a:bodyPr rIns="0" anchor="b"/>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51214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B">
    <p:spTree>
      <p:nvGrpSpPr>
        <p:cNvPr id="1" name=""/>
        <p:cNvGrpSpPr/>
        <p:nvPr/>
      </p:nvGrpSpPr>
      <p:grpSpPr>
        <a:xfrm>
          <a:off x="0" y="0"/>
          <a:ext cx="0" cy="0"/>
          <a:chOff x="0" y="0"/>
          <a:chExt cx="0" cy="0"/>
        </a:xfrm>
      </p:grpSpPr>
      <p:grpSp>
        <p:nvGrpSpPr>
          <p:cNvPr id="4" name="Background colour blocks">
            <a:extLst>
              <a:ext uri="{FF2B5EF4-FFF2-40B4-BE49-F238E27FC236}">
                <a16:creationId xmlns:a16="http://schemas.microsoft.com/office/drawing/2014/main" id="{A872D3C0-6C6F-4E1A-862D-1A39A832F3A9}"/>
              </a:ext>
            </a:extLst>
          </p:cNvPr>
          <p:cNvGrpSpPr/>
          <p:nvPr userDrawn="1"/>
        </p:nvGrpSpPr>
        <p:grpSpPr>
          <a:xfrm>
            <a:off x="-11401" y="0"/>
            <a:ext cx="9917401" cy="6858000"/>
            <a:chOff x="-11401" y="0"/>
            <a:chExt cx="9917401" cy="6858000"/>
          </a:xfrm>
        </p:grpSpPr>
        <p:sp>
          <p:nvSpPr>
            <p:cNvPr id="23" name="Brown">
              <a:extLst>
                <a:ext uri="{FF2B5EF4-FFF2-40B4-BE49-F238E27FC236}">
                  <a16:creationId xmlns:a16="http://schemas.microsoft.com/office/drawing/2014/main" id="{A81EE220-AC53-4153-A0FE-1F2219FBF428}"/>
                </a:ext>
              </a:extLst>
            </p:cNvPr>
            <p:cNvSpPr/>
            <p:nvPr userDrawn="1"/>
          </p:nvSpPr>
          <p:spPr>
            <a:xfrm>
              <a:off x="-11401" y="0"/>
              <a:ext cx="991740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9A6E3A"/>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2F363B"/>
                </a:solidFill>
                <a:effectLst/>
                <a:uLnTx/>
                <a:uFillTx/>
              </a:endParaRPr>
            </a:p>
          </p:txBody>
        </p:sp>
        <p:sp>
          <p:nvSpPr>
            <p:cNvPr id="24" name="Grey">
              <a:extLst>
                <a:ext uri="{FF2B5EF4-FFF2-40B4-BE49-F238E27FC236}">
                  <a16:creationId xmlns:a16="http://schemas.microsoft.com/office/drawing/2014/main" id="{468EEBBF-213D-4D68-A9CE-7CE68854BF37}"/>
                </a:ext>
              </a:extLst>
            </p:cNvPr>
            <p:cNvSpPr/>
            <p:nvPr userDrawn="1"/>
          </p:nvSpPr>
          <p:spPr>
            <a:xfrm>
              <a:off x="-11401" y="0"/>
              <a:ext cx="7182932" cy="6858000"/>
            </a:xfrm>
            <a:prstGeom prst="rect">
              <a:avLst/>
            </a:prstGeom>
            <a:solidFill>
              <a:srgbClr val="E2DED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FFFFFF"/>
                </a:solidFill>
                <a:effectLst/>
                <a:uLnTx/>
                <a:uFillTx/>
                <a:latin typeface="Arial"/>
                <a:ea typeface="+mn-ea"/>
                <a:cs typeface="+mn-cs"/>
              </a:endParaRPr>
            </a:p>
          </p:txBody>
        </p:sp>
        <p:sp>
          <p:nvSpPr>
            <p:cNvPr id="25" name="Black">
              <a:extLst>
                <a:ext uri="{FF2B5EF4-FFF2-40B4-BE49-F238E27FC236}">
                  <a16:creationId xmlns:a16="http://schemas.microsoft.com/office/drawing/2014/main" id="{2F8E5E3C-C8FF-4ABE-B0BE-21762DA69433}"/>
                </a:ext>
              </a:extLst>
            </p:cNvPr>
            <p:cNvSpPr/>
            <p:nvPr userDrawn="1"/>
          </p:nvSpPr>
          <p:spPr>
            <a:xfrm>
              <a:off x="-11400" y="1192713"/>
              <a:ext cx="8566312" cy="5665287"/>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30373B"/>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chemeClr val="bg2"/>
                </a:solidFill>
                <a:effectLst/>
                <a:uLnTx/>
                <a:uFillTx/>
              </a:endParaRPr>
            </a:p>
          </p:txBody>
        </p:sp>
      </p:grpSp>
      <p:sp>
        <p:nvSpPr>
          <p:cNvPr id="2" name="Title"/>
          <p:cNvSpPr>
            <a:spLocks noGrp="1"/>
          </p:cNvSpPr>
          <p:nvPr>
            <p:ph type="ctrTitle"/>
          </p:nvPr>
        </p:nvSpPr>
        <p:spPr>
          <a:xfrm>
            <a:off x="272255" y="2138963"/>
            <a:ext cx="5842800" cy="2224886"/>
          </a:xfrm>
        </p:spPr>
        <p:txBody>
          <a:bodyPr vert="horz" anchor="t" anchorCtr="0">
            <a:noAutofit/>
          </a:bodyPr>
          <a:lstStyle>
            <a:lvl1pPr algn="l">
              <a:lnSpc>
                <a:spcPct val="83000"/>
              </a:lnSpc>
              <a:defRPr sz="6500" cap="all" baseline="0">
                <a:solidFill>
                  <a:srgbClr val="F8F5E7"/>
                </a:solidFill>
                <a:latin typeface="Impact" panose="020B0806030902050204" pitchFamily="34" charset="0"/>
              </a:defRPr>
            </a:lvl1pPr>
          </a:lstStyle>
          <a:p>
            <a:r>
              <a:rPr lang="en-US"/>
              <a:t>Click to edit Master title style</a:t>
            </a:r>
            <a:endParaRPr lang="en-GB"/>
          </a:p>
        </p:txBody>
      </p:sp>
      <p:sp>
        <p:nvSpPr>
          <p:cNvPr id="3" name="Subtitle"/>
          <p:cNvSpPr>
            <a:spLocks noGrp="1"/>
          </p:cNvSpPr>
          <p:nvPr>
            <p:ph type="subTitle" idx="1"/>
          </p:nvPr>
        </p:nvSpPr>
        <p:spPr>
          <a:xfrm>
            <a:off x="269999" y="5463127"/>
            <a:ext cx="5842800" cy="863537"/>
          </a:xfrm>
        </p:spPr>
        <p:txBody>
          <a:bodyPr anchor="b" anchorCtr="0"/>
          <a:lstStyle>
            <a:lvl1pPr marL="0" indent="0" algn="l">
              <a:lnSpc>
                <a:spcPct val="90000"/>
              </a:lnSpc>
              <a:spcBef>
                <a:spcPts val="0"/>
              </a:spcBef>
              <a:buFont typeface="Arial" panose="020B0604020202020204" pitchFamily="34" charset="0"/>
              <a:buChar char="​"/>
              <a:defRPr sz="11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US"/>
              <a:t>Click to edit Master subtitle style</a:t>
            </a:r>
            <a:endParaRPr lang="en-GB"/>
          </a:p>
        </p:txBody>
      </p:sp>
      <p:sp>
        <p:nvSpPr>
          <p:cNvPr id="8" name="Date">
            <a:extLst>
              <a:ext uri="{FF2B5EF4-FFF2-40B4-BE49-F238E27FC236}">
                <a16:creationId xmlns:a16="http://schemas.microsoft.com/office/drawing/2014/main" id="{24B46EDD-CF3B-49AB-826E-68B63D5E117C}"/>
              </a:ext>
            </a:extLst>
          </p:cNvPr>
          <p:cNvSpPr>
            <a:spLocks noGrp="1"/>
          </p:cNvSpPr>
          <p:nvPr>
            <p:ph type="body" sz="quarter" idx="13" hasCustomPrompt="1"/>
          </p:nvPr>
        </p:nvSpPr>
        <p:spPr>
          <a:xfrm>
            <a:off x="269999" y="6387016"/>
            <a:ext cx="5842800" cy="210634"/>
          </a:xfrm>
        </p:spPr>
        <p:txBody>
          <a:bodyPr rIns="0" anchor="b" anchorCtr="0"/>
          <a:lstStyle>
            <a:lvl1pPr>
              <a:lnSpc>
                <a:spcPct val="90000"/>
              </a:lnSpc>
              <a:defRPr sz="900">
                <a:solidFill>
                  <a:srgbClr val="F8F5E7"/>
                </a:solidFill>
              </a:defRPr>
            </a:lvl1pPr>
            <a:lvl5pPr>
              <a:defRPr/>
            </a:lvl5pPr>
          </a:lstStyle>
          <a:p>
            <a:pPr lvl="0"/>
            <a:r>
              <a:rPr lang="en-GB"/>
              <a:t>Date</a:t>
            </a:r>
          </a:p>
        </p:txBody>
      </p:sp>
      <p:sp>
        <p:nvSpPr>
          <p:cNvPr id="16" name="Logotype">
            <a:extLst>
              <a:ext uri="{FF2B5EF4-FFF2-40B4-BE49-F238E27FC236}">
                <a16:creationId xmlns:a16="http://schemas.microsoft.com/office/drawing/2014/main" id="{FB0748D9-B4B7-46FB-99B6-A4449CF9F500}"/>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t> </a:t>
            </a:r>
          </a:p>
        </p:txBody>
      </p:sp>
      <p:sp>
        <p:nvSpPr>
          <p:cNvPr id="10" name="Confidential">
            <a:extLst>
              <a:ext uri="{FF2B5EF4-FFF2-40B4-BE49-F238E27FC236}">
                <a16:creationId xmlns:a16="http://schemas.microsoft.com/office/drawing/2014/main" id="{04940580-882C-4C62-8164-A2439D617330}"/>
              </a:ext>
            </a:extLst>
          </p:cNvPr>
          <p:cNvSpPr txBox="1"/>
          <p:nvPr userDrawn="1"/>
        </p:nvSpPr>
        <p:spPr>
          <a:xfrm>
            <a:off x="8925785" y="6485010"/>
            <a:ext cx="609141" cy="124650"/>
          </a:xfrm>
          <a:prstGeom prst="rect">
            <a:avLst/>
          </a:prstGeom>
          <a:noFill/>
          <a:ln w="6350">
            <a:noFill/>
            <a:prstDash val="sysDash"/>
          </a:ln>
        </p:spPr>
        <p:txBody>
          <a:bodyPr wrap="square" lIns="0" tIns="0" rIns="0" bIns="0" rtlCol="0">
            <a:spAutoFit/>
          </a:bodyPr>
          <a:lstStyle/>
          <a:p>
            <a:pPr algn="ctr"/>
            <a:r>
              <a:rPr lang="en-GB" sz="900">
                <a:solidFill>
                  <a:schemeClr val="tx1"/>
                </a:solidFill>
              </a:rPr>
              <a:t>Confidential</a:t>
            </a:r>
          </a:p>
        </p:txBody>
      </p:sp>
    </p:spTree>
    <p:extLst>
      <p:ext uri="{BB962C8B-B14F-4D97-AF65-F5344CB8AC3E}">
        <p14:creationId xmlns:p14="http://schemas.microsoft.com/office/powerpoint/2010/main" val="270691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clusion Box Vertical">
    <p:spTree>
      <p:nvGrpSpPr>
        <p:cNvPr id="1" name=""/>
        <p:cNvGrpSpPr/>
        <p:nvPr/>
      </p:nvGrpSpPr>
      <p:grpSpPr>
        <a:xfrm>
          <a:off x="0" y="0"/>
          <a:ext cx="0" cy="0"/>
          <a:chOff x="0" y="0"/>
          <a:chExt cx="0" cy="0"/>
        </a:xfrm>
      </p:grpSpPr>
      <p:sp>
        <p:nvSpPr>
          <p:cNvPr id="19" name="Colour block background">
            <a:extLst>
              <a:ext uri="{FF2B5EF4-FFF2-40B4-BE49-F238E27FC236}">
                <a16:creationId xmlns:a16="http://schemas.microsoft.com/office/drawing/2014/main" id="{37431616-6AEE-4352-8D6D-816F0D1F11D1}"/>
              </a:ext>
            </a:extLst>
          </p:cNvPr>
          <p:cNvSpPr/>
          <p:nvPr userDrawn="1"/>
        </p:nvSpPr>
        <p:spPr>
          <a:xfrm rot="5400000">
            <a:off x="5911800" y="2863800"/>
            <a:ext cx="5230800" cy="27576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Autofit/>
          </a:bodyPr>
          <a:lstStyle/>
          <a:p>
            <a:pPr algn="l"/>
            <a:endParaRPr lang="en-GB" sz="1100" noProof="0">
              <a:solidFill>
                <a:srgbClr val="2F363B"/>
              </a:solidFill>
            </a:endParaRPr>
          </a:p>
        </p:txBody>
      </p:sp>
      <p:sp>
        <p:nvSpPr>
          <p:cNvPr id="2" name="Title">
            <a:extLst>
              <a:ext uri="{FF2B5EF4-FFF2-40B4-BE49-F238E27FC236}">
                <a16:creationId xmlns:a16="http://schemas.microsoft.com/office/drawing/2014/main" id="{65143476-3AA1-445D-8658-92D821AFEB91}"/>
              </a:ext>
            </a:extLst>
          </p:cNvPr>
          <p:cNvSpPr>
            <a:spLocks noGrp="1"/>
          </p:cNvSpPr>
          <p:nvPr>
            <p:ph type="title"/>
          </p:nvPr>
        </p:nvSpPr>
        <p:spPr/>
        <p:txBody>
          <a:bodyPr/>
          <a:lstStyle/>
          <a:p>
            <a:r>
              <a:rPr lang="en-US"/>
              <a:t>Click to edit Master title style</a:t>
            </a:r>
            <a:endParaRPr lang="en-GB"/>
          </a:p>
        </p:txBody>
      </p:sp>
      <p:sp>
        <p:nvSpPr>
          <p:cNvPr id="16" name="Content Placeholder">
            <a:extLst>
              <a:ext uri="{FF2B5EF4-FFF2-40B4-BE49-F238E27FC236}">
                <a16:creationId xmlns:a16="http://schemas.microsoft.com/office/drawing/2014/main" id="{89874C2F-A263-4D82-B1CC-BC6795BE0638}"/>
              </a:ext>
            </a:extLst>
          </p:cNvPr>
          <p:cNvSpPr>
            <a:spLocks noGrp="1"/>
          </p:cNvSpPr>
          <p:nvPr>
            <p:ph sz="quarter" idx="17"/>
          </p:nvPr>
        </p:nvSpPr>
        <p:spPr>
          <a:xfrm>
            <a:off x="269877" y="1627188"/>
            <a:ext cx="6627812" cy="4718050"/>
          </a:xfrm>
        </p:spPr>
        <p:txBody>
          <a:bodyPr lIns="0" tIns="0" rIns="0" bIns="0"/>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buAutoNum type="alphaUcPeriod"/>
              <a:defRPr/>
            </a:lvl8pPr>
            <a:lvl9pPr>
              <a:lnSpc>
                <a:spcPct val="83000"/>
              </a:lnSpc>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clusion box">
            <a:extLst>
              <a:ext uri="{FF2B5EF4-FFF2-40B4-BE49-F238E27FC236}">
                <a16:creationId xmlns:a16="http://schemas.microsoft.com/office/drawing/2014/main" id="{0BBFCD68-43F5-4D74-950A-14ABDF87333D}"/>
              </a:ext>
            </a:extLst>
          </p:cNvPr>
          <p:cNvSpPr>
            <a:spLocks noGrp="1"/>
          </p:cNvSpPr>
          <p:nvPr>
            <p:ph sz="quarter" idx="18"/>
          </p:nvPr>
        </p:nvSpPr>
        <p:spPr>
          <a:xfrm>
            <a:off x="7418400" y="1898244"/>
            <a:ext cx="2217726" cy="4446994"/>
          </a:xfrm>
        </p:spPr>
        <p:txBody>
          <a:bodyPr lIns="0" tIns="0" rIns="0" bIns="0"/>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buAutoNum type="alphaUcPeriod"/>
              <a:defRPr/>
            </a:lvl8pPr>
            <a:lvl9pPr>
              <a:lnSpc>
                <a:spcPct val="83000"/>
              </a:lnSpc>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Notes">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69874" y="6491175"/>
            <a:ext cx="6744111" cy="106116"/>
          </a:xfrm>
        </p:spPr>
        <p:txBody>
          <a:bodyPr rIns="0" anchor="b" anchorCtr="0"/>
          <a:lstStyle>
            <a:lvl1pPr marL="0" indent="0" algn="l" defTabSz="742950"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1" name="Tracker">
            <a:extLst>
              <a:ext uri="{FF2B5EF4-FFF2-40B4-BE49-F238E27FC236}">
                <a16:creationId xmlns:a16="http://schemas.microsoft.com/office/drawing/2014/main" id="{7030E6A4-215F-4A12-8E40-968F7ADD51C5}"/>
              </a:ext>
            </a:extLst>
          </p:cNvPr>
          <p:cNvSpPr>
            <a:spLocks noGrp="1"/>
          </p:cNvSpPr>
          <p:nvPr>
            <p:ph type="body" sz="quarter" idx="16" hasCustomPrompt="1"/>
          </p:nvPr>
        </p:nvSpPr>
        <p:spPr>
          <a:xfrm>
            <a:off x="7221537" y="6491731"/>
            <a:ext cx="1966707" cy="106116"/>
          </a:xfrm>
        </p:spPr>
        <p:txBody>
          <a:bodyPr rIns="0" anchor="b"/>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0" name="Slide number">
            <a:extLst>
              <a:ext uri="{FF2B5EF4-FFF2-40B4-BE49-F238E27FC236}">
                <a16:creationId xmlns:a16="http://schemas.microsoft.com/office/drawing/2014/main" id="{6DED64DC-9C54-4963-8104-456D03A2C81E}"/>
              </a:ext>
            </a:extLst>
          </p:cNvPr>
          <p:cNvSpPr txBox="1">
            <a:spLocks/>
          </p:cNvSpPr>
          <p:nvPr userDrawn="1"/>
        </p:nvSpPr>
        <p:spPr>
          <a:xfrm>
            <a:off x="9378938" y="6491175"/>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1F2023"/>
                </a:solidFill>
              </a:rPr>
              <a:pPr/>
              <a:t>‹nr.›</a:t>
            </a:fld>
            <a:endParaRPr lang="en-GB" sz="650">
              <a:solidFill>
                <a:srgbClr val="1F2023"/>
              </a:solidFill>
            </a:endParaRPr>
          </a:p>
        </p:txBody>
      </p:sp>
    </p:spTree>
    <p:extLst>
      <p:ext uri="{BB962C8B-B14F-4D97-AF65-F5344CB8AC3E}">
        <p14:creationId xmlns:p14="http://schemas.microsoft.com/office/powerpoint/2010/main" val="419342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345" userDrawn="1">
          <p15:clr>
            <a:srgbClr val="FBAE40"/>
          </p15:clr>
        </p15:guide>
        <p15:guide id="2" pos="466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clusion Box Horizontal 2">
    <p:spTree>
      <p:nvGrpSpPr>
        <p:cNvPr id="1" name=""/>
        <p:cNvGrpSpPr/>
        <p:nvPr/>
      </p:nvGrpSpPr>
      <p:grpSpPr>
        <a:xfrm>
          <a:off x="0" y="0"/>
          <a:ext cx="0" cy="0"/>
          <a:chOff x="0" y="0"/>
          <a:chExt cx="0" cy="0"/>
        </a:xfrm>
      </p:grpSpPr>
      <p:sp>
        <p:nvSpPr>
          <p:cNvPr id="20" name="Colour block background">
            <a:extLst>
              <a:ext uri="{FF2B5EF4-FFF2-40B4-BE49-F238E27FC236}">
                <a16:creationId xmlns:a16="http://schemas.microsoft.com/office/drawing/2014/main" id="{95414041-7AC4-4E17-94AB-ED2AE73D41A0}"/>
              </a:ext>
            </a:extLst>
          </p:cNvPr>
          <p:cNvSpPr/>
          <p:nvPr userDrawn="1"/>
        </p:nvSpPr>
        <p:spPr>
          <a:xfrm rot="10800000">
            <a:off x="0" y="5065200"/>
            <a:ext cx="9907200" cy="17928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Autofit/>
          </a:bodyPr>
          <a:lstStyle/>
          <a:p>
            <a:pPr algn="l"/>
            <a:endParaRPr lang="en-GB" sz="1100" noProof="0">
              <a:solidFill>
                <a:srgbClr val="2F363B"/>
              </a:solidFill>
            </a:endParaRPr>
          </a:p>
        </p:txBody>
      </p:sp>
      <p:sp>
        <p:nvSpPr>
          <p:cNvPr id="2" name="Title">
            <a:extLst>
              <a:ext uri="{FF2B5EF4-FFF2-40B4-BE49-F238E27FC236}">
                <a16:creationId xmlns:a16="http://schemas.microsoft.com/office/drawing/2014/main" id="{19AB4E4F-26DD-4C6E-9EE3-8C68CCC94C17}"/>
              </a:ext>
            </a:extLst>
          </p:cNvPr>
          <p:cNvSpPr>
            <a:spLocks noGrp="1"/>
          </p:cNvSpPr>
          <p:nvPr>
            <p:ph type="title"/>
          </p:nvPr>
        </p:nvSpPr>
        <p:spPr/>
        <p:txBody>
          <a:bodyPr/>
          <a:lstStyle/>
          <a:p>
            <a:r>
              <a:rPr lang="en-US"/>
              <a:t>Click to edit Master title style</a:t>
            </a:r>
            <a:endParaRPr lang="en-GB"/>
          </a:p>
        </p:txBody>
      </p:sp>
      <p:sp>
        <p:nvSpPr>
          <p:cNvPr id="17" name="Content Placeholder 1">
            <a:extLst>
              <a:ext uri="{FF2B5EF4-FFF2-40B4-BE49-F238E27FC236}">
                <a16:creationId xmlns:a16="http://schemas.microsoft.com/office/drawing/2014/main" id="{700AFF52-11F4-4E9E-A68A-B992D7A5BE24}"/>
              </a:ext>
            </a:extLst>
          </p:cNvPr>
          <p:cNvSpPr>
            <a:spLocks noGrp="1"/>
          </p:cNvSpPr>
          <p:nvPr>
            <p:ph sz="quarter" idx="16"/>
          </p:nvPr>
        </p:nvSpPr>
        <p:spPr>
          <a:xfrm>
            <a:off x="269876" y="1627188"/>
            <a:ext cx="4546599" cy="3178142"/>
          </a:xfrm>
        </p:spPr>
        <p:txBody>
          <a:bodyPr lIns="0" tIns="0" rIns="0" bIns="0"/>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buAutoNum type="alphaUcPeriod"/>
              <a:defRPr/>
            </a:lvl8pPr>
            <a:lvl9pPr>
              <a:lnSpc>
                <a:spcPct val="83000"/>
              </a:lnSpc>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clusion box 1">
            <a:extLst>
              <a:ext uri="{FF2B5EF4-FFF2-40B4-BE49-F238E27FC236}">
                <a16:creationId xmlns:a16="http://schemas.microsoft.com/office/drawing/2014/main" id="{70307FA8-343A-49F8-8A05-FF81EEFEA35E}"/>
              </a:ext>
            </a:extLst>
          </p:cNvPr>
          <p:cNvSpPr>
            <a:spLocks noGrp="1"/>
          </p:cNvSpPr>
          <p:nvPr>
            <p:ph type="body" sz="quarter" idx="15"/>
          </p:nvPr>
        </p:nvSpPr>
        <p:spPr>
          <a:xfrm>
            <a:off x="269874" y="5337175"/>
            <a:ext cx="4546601" cy="1008063"/>
          </a:xfrm>
        </p:spPr>
        <p:txBody>
          <a:bodyPr lIns="0" tIns="0" rIns="0" bIns="0"/>
          <a:lstStyle>
            <a:lvl1pPr>
              <a:lnSpc>
                <a:spcPct val="90000"/>
              </a:lnSpc>
              <a:defRPr sz="900"/>
            </a:lvl1pPr>
            <a:lvl2pPr>
              <a:lnSpc>
                <a:spcPct val="90000"/>
              </a:lnSpc>
              <a:defRPr sz="900"/>
            </a:lvl2pPr>
            <a:lvl3pPr>
              <a:lnSpc>
                <a:spcPct val="90000"/>
              </a:lnSpc>
              <a:defRPr sz="900"/>
            </a:lvl3pPr>
            <a:lvl4pPr>
              <a:lnSpc>
                <a:spcPct val="90000"/>
              </a:lnSpc>
              <a:defRPr sz="900"/>
            </a:lvl4pPr>
            <a:lvl5pPr>
              <a:lnSpc>
                <a:spcPct val="90000"/>
              </a:lnSpc>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0E29807B-6CAC-4204-819A-3F2342DBC54F}"/>
              </a:ext>
            </a:extLst>
          </p:cNvPr>
          <p:cNvSpPr>
            <a:spLocks noGrp="1"/>
          </p:cNvSpPr>
          <p:nvPr>
            <p:ph sz="quarter" idx="17"/>
          </p:nvPr>
        </p:nvSpPr>
        <p:spPr>
          <a:xfrm>
            <a:off x="5089527" y="1627188"/>
            <a:ext cx="4546599" cy="3178142"/>
          </a:xfrm>
        </p:spPr>
        <p:txBody>
          <a:bodyPr lIns="0" tIns="0" rIns="0" bIns="0"/>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buAutoNum type="alphaUcPeriod"/>
              <a:defRPr/>
            </a:lvl8pPr>
            <a:lvl9pPr>
              <a:lnSpc>
                <a:spcPct val="83000"/>
              </a:lnSpc>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clusion box 2">
            <a:extLst>
              <a:ext uri="{FF2B5EF4-FFF2-40B4-BE49-F238E27FC236}">
                <a16:creationId xmlns:a16="http://schemas.microsoft.com/office/drawing/2014/main" id="{FCCEAA0A-BD2E-414E-B8BD-A9A06D2A59CC}"/>
              </a:ext>
            </a:extLst>
          </p:cNvPr>
          <p:cNvSpPr>
            <a:spLocks noGrp="1"/>
          </p:cNvSpPr>
          <p:nvPr>
            <p:ph type="body" sz="quarter" idx="16"/>
          </p:nvPr>
        </p:nvSpPr>
        <p:spPr>
          <a:xfrm>
            <a:off x="5087938" y="5337175"/>
            <a:ext cx="4546601" cy="1008063"/>
          </a:xfrm>
        </p:spPr>
        <p:txBody>
          <a:bodyPr lIns="0" tIns="0" rIns="0" bIns="0"/>
          <a:lstStyle>
            <a:lvl1pPr>
              <a:lnSpc>
                <a:spcPct val="90000"/>
              </a:lnSpc>
              <a:defRPr sz="900"/>
            </a:lvl1pPr>
            <a:lvl2pPr>
              <a:lnSpc>
                <a:spcPct val="90000"/>
              </a:lnSpc>
              <a:defRPr sz="900"/>
            </a:lvl2pPr>
            <a:lvl3pPr>
              <a:lnSpc>
                <a:spcPct val="90000"/>
              </a:lnSpc>
              <a:defRPr sz="900"/>
            </a:lvl3pPr>
            <a:lvl4pPr>
              <a:lnSpc>
                <a:spcPct val="90000"/>
              </a:lnSpc>
              <a:defRPr sz="900"/>
            </a:lvl4pPr>
            <a:lvl5pPr>
              <a:lnSpc>
                <a:spcPct val="90000"/>
              </a:lnSpc>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Notes">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4" name="Tracker">
            <a:extLst>
              <a:ext uri="{FF2B5EF4-FFF2-40B4-BE49-F238E27FC236}">
                <a16:creationId xmlns:a16="http://schemas.microsoft.com/office/drawing/2014/main" id="{40C59F94-8A3B-4D81-8D31-65BED422A03A}"/>
              </a:ext>
            </a:extLst>
          </p:cNvPr>
          <p:cNvSpPr>
            <a:spLocks noGrp="1"/>
          </p:cNvSpPr>
          <p:nvPr>
            <p:ph type="body" sz="quarter" idx="18" hasCustomPrompt="1"/>
          </p:nvPr>
        </p:nvSpPr>
        <p:spPr>
          <a:xfrm>
            <a:off x="7221537" y="6491731"/>
            <a:ext cx="1966707" cy="106116"/>
          </a:xfrm>
        </p:spPr>
        <p:txBody>
          <a:bodyPr rIns="0" anchor="b"/>
          <a:lstStyle>
            <a:lvl1pPr algn="r">
              <a:lnSpc>
                <a:spcPct val="90000"/>
              </a:lnSpc>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0" name="Slide number">
            <a:extLst>
              <a:ext uri="{FF2B5EF4-FFF2-40B4-BE49-F238E27FC236}">
                <a16:creationId xmlns:a16="http://schemas.microsoft.com/office/drawing/2014/main" id="{A902AC58-73A2-452C-99E0-CDE39F509B2D}"/>
              </a:ext>
            </a:extLst>
          </p:cNvPr>
          <p:cNvSpPr txBox="1">
            <a:spLocks/>
          </p:cNvSpPr>
          <p:nvPr userDrawn="1"/>
        </p:nvSpPr>
        <p:spPr>
          <a:xfrm>
            <a:off x="9378938" y="6489162"/>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1F2023"/>
                </a:solidFill>
              </a:rPr>
              <a:pPr/>
              <a:t>‹nr.›</a:t>
            </a:fld>
            <a:endParaRPr lang="en-GB" sz="650">
              <a:solidFill>
                <a:srgbClr val="1F2023"/>
              </a:solidFill>
            </a:endParaRPr>
          </a:p>
        </p:txBody>
      </p:sp>
    </p:spTree>
    <p:extLst>
      <p:ext uri="{BB962C8B-B14F-4D97-AF65-F5344CB8AC3E}">
        <p14:creationId xmlns:p14="http://schemas.microsoft.com/office/powerpoint/2010/main" val="253164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029" userDrawn="1">
          <p15:clr>
            <a:srgbClr val="FBAE40"/>
          </p15:clr>
        </p15:guide>
        <p15:guide id="2" pos="3211" userDrawn="1">
          <p15:clr>
            <a:srgbClr val="FBAE40"/>
          </p15:clr>
        </p15:guide>
        <p15:guide id="3" orient="horz" pos="3022" userDrawn="1">
          <p15:clr>
            <a:srgbClr val="FBAE40"/>
          </p15:clr>
        </p15:guide>
        <p15:guide id="4" orient="horz" pos="336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Small Dark">
    <p:spTree>
      <p:nvGrpSpPr>
        <p:cNvPr id="1" name=""/>
        <p:cNvGrpSpPr/>
        <p:nvPr/>
      </p:nvGrpSpPr>
      <p:grpSpPr>
        <a:xfrm>
          <a:off x="0" y="0"/>
          <a:ext cx="0" cy="0"/>
          <a:chOff x="0" y="0"/>
          <a:chExt cx="0" cy="0"/>
        </a:xfrm>
      </p:grpSpPr>
      <p:sp>
        <p:nvSpPr>
          <p:cNvPr id="13" name="Colour block 2">
            <a:extLst>
              <a:ext uri="{FF2B5EF4-FFF2-40B4-BE49-F238E27FC236}">
                <a16:creationId xmlns:a16="http://schemas.microsoft.com/office/drawing/2014/main" id="{DCBA12CA-ADA2-4F73-9B88-D50DC1FCE512}"/>
              </a:ext>
            </a:extLst>
          </p:cNvPr>
          <p:cNvSpPr/>
          <p:nvPr userDrawn="1"/>
        </p:nvSpPr>
        <p:spPr>
          <a:xfrm>
            <a:off x="545529" y="3313866"/>
            <a:ext cx="6978315" cy="3544135"/>
          </a:xfrm>
          <a:prstGeom prst="rect">
            <a:avLst/>
          </a:prstGeom>
          <a:solidFill>
            <a:srgbClr val="E4B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100" noProof="0">
              <a:solidFill>
                <a:schemeClr val="tx1"/>
              </a:solidFill>
            </a:endParaRPr>
          </a:p>
        </p:txBody>
      </p:sp>
      <p:sp>
        <p:nvSpPr>
          <p:cNvPr id="2" name="Colour block 1">
            <a:extLst>
              <a:ext uri="{FF2B5EF4-FFF2-40B4-BE49-F238E27FC236}">
                <a16:creationId xmlns:a16="http://schemas.microsoft.com/office/drawing/2014/main" id="{ECA92447-F633-484C-865A-7E00514C7F7C}"/>
              </a:ext>
            </a:extLst>
          </p:cNvPr>
          <p:cNvSpPr/>
          <p:nvPr userDrawn="1"/>
        </p:nvSpPr>
        <p:spPr>
          <a:xfrm>
            <a:off x="0" y="2136618"/>
            <a:ext cx="6581869" cy="4721382"/>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a:solidFill>
                <a:srgbClr val="2F363B"/>
              </a:solidFill>
            </a:endParaRPr>
          </a:p>
        </p:txBody>
      </p:sp>
      <p:sp>
        <p:nvSpPr>
          <p:cNvPr id="14" name="Numbering">
            <a:extLst>
              <a:ext uri="{FF2B5EF4-FFF2-40B4-BE49-F238E27FC236}">
                <a16:creationId xmlns:a16="http://schemas.microsoft.com/office/drawing/2014/main" id="{D7F13B33-C34D-4F21-8983-11FD85501158}"/>
              </a:ext>
            </a:extLst>
          </p:cNvPr>
          <p:cNvSpPr>
            <a:spLocks noGrp="1"/>
          </p:cNvSpPr>
          <p:nvPr>
            <p:ph type="subTitle" idx="1" hasCustomPrompt="1"/>
          </p:nvPr>
        </p:nvSpPr>
        <p:spPr>
          <a:xfrm>
            <a:off x="269999" y="2635200"/>
            <a:ext cx="4683331" cy="446400"/>
          </a:xfrm>
        </p:spPr>
        <p:txBody>
          <a:bodyPr rIns="0" anchor="b" anchorCtr="0"/>
          <a:lstStyle>
            <a:lvl1pPr marL="895350" indent="-895350" algn="l">
              <a:spcBef>
                <a:spcPts val="0"/>
              </a:spcBef>
              <a:buFontTx/>
              <a:buNone/>
              <a:tabLst>
                <a:tab pos="895350" algn="l"/>
              </a:tabLst>
              <a:defRPr sz="28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a:t>01</a:t>
            </a:r>
          </a:p>
        </p:txBody>
      </p:sp>
      <p:sp>
        <p:nvSpPr>
          <p:cNvPr id="19" name="Title">
            <a:extLst>
              <a:ext uri="{FF2B5EF4-FFF2-40B4-BE49-F238E27FC236}">
                <a16:creationId xmlns:a16="http://schemas.microsoft.com/office/drawing/2014/main" id="{E452A47F-812C-403D-B3AE-D6657994F2B4}"/>
              </a:ext>
            </a:extLst>
          </p:cNvPr>
          <p:cNvSpPr>
            <a:spLocks noGrp="1"/>
          </p:cNvSpPr>
          <p:nvPr>
            <p:ph type="title" hasCustomPrompt="1"/>
          </p:nvPr>
        </p:nvSpPr>
        <p:spPr>
          <a:xfrm>
            <a:off x="269874" y="3313864"/>
            <a:ext cx="4683126" cy="3031374"/>
          </a:xfrm>
          <a:noFill/>
        </p:spPr>
        <p:txBody>
          <a:bodyPr vert="horz" lIns="0" tIns="0" rIns="0"/>
          <a:lstStyle>
            <a:lvl1pPr>
              <a:lnSpc>
                <a:spcPct val="83000"/>
              </a:lnSpc>
              <a:defRPr sz="4800" cap="all" baseline="0">
                <a:solidFill>
                  <a:srgbClr val="F8F5E7"/>
                </a:solidFill>
                <a:latin typeface="Impact" panose="020B0806030902050204" pitchFamily="34" charset="0"/>
              </a:defRPr>
            </a:lvl1pPr>
          </a:lstStyle>
          <a:p>
            <a:r>
              <a:rPr lang="en-GB"/>
              <a:t>CLICK TO EDIT MASTER TITLE STYLE</a:t>
            </a:r>
          </a:p>
        </p:txBody>
      </p:sp>
      <p:sp>
        <p:nvSpPr>
          <p:cNvPr id="15" name="Notes">
            <a:extLst>
              <a:ext uri="{FF2B5EF4-FFF2-40B4-BE49-F238E27FC236}">
                <a16:creationId xmlns:a16="http://schemas.microsoft.com/office/drawing/2014/main" id="{84A24983-3FE3-44E0-B262-30F59419DD24}"/>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6" name="Tracker">
            <a:extLst>
              <a:ext uri="{FF2B5EF4-FFF2-40B4-BE49-F238E27FC236}">
                <a16:creationId xmlns:a16="http://schemas.microsoft.com/office/drawing/2014/main" id="{C5381237-1CD9-4D93-86B1-DAF9A3B00AC6}"/>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89733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Small">
    <p:spTree>
      <p:nvGrpSpPr>
        <p:cNvPr id="1" name=""/>
        <p:cNvGrpSpPr/>
        <p:nvPr/>
      </p:nvGrpSpPr>
      <p:grpSpPr>
        <a:xfrm>
          <a:off x="0" y="0"/>
          <a:ext cx="0" cy="0"/>
          <a:chOff x="0" y="0"/>
          <a:chExt cx="0" cy="0"/>
        </a:xfrm>
      </p:grpSpPr>
      <p:sp>
        <p:nvSpPr>
          <p:cNvPr id="13" name="Colour block 2">
            <a:extLst>
              <a:ext uri="{FF2B5EF4-FFF2-40B4-BE49-F238E27FC236}">
                <a16:creationId xmlns:a16="http://schemas.microsoft.com/office/drawing/2014/main" id="{DCBA12CA-ADA2-4F73-9B88-D50DC1FCE512}"/>
              </a:ext>
            </a:extLst>
          </p:cNvPr>
          <p:cNvSpPr/>
          <p:nvPr userDrawn="1"/>
        </p:nvSpPr>
        <p:spPr>
          <a:xfrm>
            <a:off x="545529" y="3313866"/>
            <a:ext cx="6978315" cy="3544135"/>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lvl="0" algn="ctr"/>
            <a:endParaRPr lang="en-GB" sz="1100" noProof="0">
              <a:solidFill>
                <a:srgbClr val="1F2023"/>
              </a:solidFill>
            </a:endParaRPr>
          </a:p>
        </p:txBody>
      </p:sp>
      <p:sp>
        <p:nvSpPr>
          <p:cNvPr id="2" name="Colour block 1">
            <a:extLst>
              <a:ext uri="{FF2B5EF4-FFF2-40B4-BE49-F238E27FC236}">
                <a16:creationId xmlns:a16="http://schemas.microsoft.com/office/drawing/2014/main" id="{ECA92447-F633-484C-865A-7E00514C7F7C}"/>
              </a:ext>
            </a:extLst>
          </p:cNvPr>
          <p:cNvSpPr/>
          <p:nvPr userDrawn="1"/>
        </p:nvSpPr>
        <p:spPr>
          <a:xfrm>
            <a:off x="0" y="2136618"/>
            <a:ext cx="6581869" cy="472138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lvl="0"/>
            <a:endParaRPr lang="en-GB" noProof="0">
              <a:solidFill>
                <a:srgbClr val="2F363B"/>
              </a:solidFill>
            </a:endParaRPr>
          </a:p>
        </p:txBody>
      </p:sp>
      <p:sp>
        <p:nvSpPr>
          <p:cNvPr id="14" name="Numbering">
            <a:extLst>
              <a:ext uri="{FF2B5EF4-FFF2-40B4-BE49-F238E27FC236}">
                <a16:creationId xmlns:a16="http://schemas.microsoft.com/office/drawing/2014/main" id="{D7F13B33-C34D-4F21-8983-11FD85501158}"/>
              </a:ext>
            </a:extLst>
          </p:cNvPr>
          <p:cNvSpPr>
            <a:spLocks noGrp="1"/>
          </p:cNvSpPr>
          <p:nvPr>
            <p:ph type="subTitle" idx="1" hasCustomPrompt="1"/>
          </p:nvPr>
        </p:nvSpPr>
        <p:spPr>
          <a:xfrm>
            <a:off x="269999" y="2635200"/>
            <a:ext cx="4683331" cy="446400"/>
          </a:xfrm>
        </p:spPr>
        <p:txBody>
          <a:bodyPr rIns="0" anchor="b" anchorCtr="0"/>
          <a:lstStyle>
            <a:lvl1pPr marL="895350" indent="-895350" algn="l">
              <a:spcBef>
                <a:spcPts val="0"/>
              </a:spcBef>
              <a:buFontTx/>
              <a:buNone/>
              <a:tabLst>
                <a:tab pos="895350" algn="l"/>
              </a:tabLst>
              <a:defRPr sz="2800">
                <a:solidFill>
                  <a:srgbClr val="30373B"/>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a:t>01</a:t>
            </a:r>
          </a:p>
        </p:txBody>
      </p:sp>
      <p:sp>
        <p:nvSpPr>
          <p:cNvPr id="19" name="Title">
            <a:extLst>
              <a:ext uri="{FF2B5EF4-FFF2-40B4-BE49-F238E27FC236}">
                <a16:creationId xmlns:a16="http://schemas.microsoft.com/office/drawing/2014/main" id="{E452A47F-812C-403D-B3AE-D6657994F2B4}"/>
              </a:ext>
            </a:extLst>
          </p:cNvPr>
          <p:cNvSpPr>
            <a:spLocks noGrp="1"/>
          </p:cNvSpPr>
          <p:nvPr>
            <p:ph type="title" hasCustomPrompt="1"/>
          </p:nvPr>
        </p:nvSpPr>
        <p:spPr>
          <a:xfrm>
            <a:off x="269874" y="3313864"/>
            <a:ext cx="4683126" cy="3031374"/>
          </a:xfrm>
          <a:noFill/>
        </p:spPr>
        <p:txBody>
          <a:bodyPr vert="horz" lIns="0" tIns="0" rIns="0"/>
          <a:lstStyle>
            <a:lvl1pPr>
              <a:lnSpc>
                <a:spcPct val="83000"/>
              </a:lnSpc>
              <a:defRPr sz="4800" cap="all" baseline="0">
                <a:solidFill>
                  <a:srgbClr val="30373B"/>
                </a:solidFill>
                <a:latin typeface="Impact" panose="020B0806030902050204" pitchFamily="34" charset="0"/>
              </a:defRPr>
            </a:lvl1pPr>
          </a:lstStyle>
          <a:p>
            <a:r>
              <a:rPr lang="en-GB"/>
              <a:t>CLICK TO EDIT MASTER TITLE STYLE</a:t>
            </a:r>
          </a:p>
        </p:txBody>
      </p:sp>
      <p:sp>
        <p:nvSpPr>
          <p:cNvPr id="15" name="Notes">
            <a:extLst>
              <a:ext uri="{FF2B5EF4-FFF2-40B4-BE49-F238E27FC236}">
                <a16:creationId xmlns:a16="http://schemas.microsoft.com/office/drawing/2014/main" id="{84A24983-3FE3-44E0-B262-30F59419DD24}"/>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6" name="Tracker">
            <a:extLst>
              <a:ext uri="{FF2B5EF4-FFF2-40B4-BE49-F238E27FC236}">
                <a16:creationId xmlns:a16="http://schemas.microsoft.com/office/drawing/2014/main" id="{C5381237-1CD9-4D93-86B1-DAF9A3B00AC6}"/>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74629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Image Dark">
    <p:spTree>
      <p:nvGrpSpPr>
        <p:cNvPr id="1" name=""/>
        <p:cNvGrpSpPr/>
        <p:nvPr/>
      </p:nvGrpSpPr>
      <p:grpSpPr>
        <a:xfrm>
          <a:off x="0" y="0"/>
          <a:ext cx="0" cy="0"/>
          <a:chOff x="0" y="0"/>
          <a:chExt cx="0" cy="0"/>
        </a:xfrm>
      </p:grpSpPr>
      <p:sp>
        <p:nvSpPr>
          <p:cNvPr id="13" name="Colour block dark">
            <a:extLst>
              <a:ext uri="{FF2B5EF4-FFF2-40B4-BE49-F238E27FC236}">
                <a16:creationId xmlns:a16="http://schemas.microsoft.com/office/drawing/2014/main" id="{B40B7F21-6889-46F7-BB5C-8FDE3B947050}"/>
              </a:ext>
            </a:extLst>
          </p:cNvPr>
          <p:cNvSpPr/>
          <p:nvPr userDrawn="1"/>
        </p:nvSpPr>
        <p:spPr>
          <a:xfrm>
            <a:off x="0" y="0"/>
            <a:ext cx="7139587" cy="549851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a:solidFill>
                <a:srgbClr val="2F363B"/>
              </a:solidFill>
            </a:endParaRPr>
          </a:p>
        </p:txBody>
      </p:sp>
      <p:sp>
        <p:nvSpPr>
          <p:cNvPr id="18" name="Numbering">
            <a:extLst>
              <a:ext uri="{FF2B5EF4-FFF2-40B4-BE49-F238E27FC236}">
                <a16:creationId xmlns:a16="http://schemas.microsoft.com/office/drawing/2014/main" id="{EA8FF8E1-D73C-40DC-B51F-49B3A5C07DBA}"/>
              </a:ext>
            </a:extLst>
          </p:cNvPr>
          <p:cNvSpPr>
            <a:spLocks noGrp="1"/>
          </p:cNvSpPr>
          <p:nvPr>
            <p:ph type="subTitle" idx="1" hasCustomPrompt="1"/>
          </p:nvPr>
        </p:nvSpPr>
        <p:spPr>
          <a:xfrm>
            <a:off x="269999" y="986400"/>
            <a:ext cx="5040000" cy="446400"/>
          </a:xfrm>
        </p:spPr>
        <p:txBody>
          <a:bodyPr rIns="0" anchor="b" anchorCtr="0"/>
          <a:lstStyle>
            <a:lvl1pPr marL="895350" indent="-895350" algn="l">
              <a:spcBef>
                <a:spcPts val="0"/>
              </a:spcBef>
              <a:buFontTx/>
              <a:buNone/>
              <a:tabLst>
                <a:tab pos="895350" algn="l"/>
              </a:tabLst>
              <a:defRPr sz="28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a:t>01</a:t>
            </a:r>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269999" y="1637533"/>
            <a:ext cx="5040000" cy="3591668"/>
          </a:xfrm>
          <a:noFill/>
        </p:spPr>
        <p:txBody>
          <a:bodyPr vert="horz" lIns="0" tIns="0" rIns="0"/>
          <a:lstStyle>
            <a:lvl1pPr>
              <a:lnSpc>
                <a:spcPct val="80000"/>
              </a:lnSpc>
              <a:defRPr sz="7200" cap="all" baseline="0">
                <a:solidFill>
                  <a:srgbClr val="F8F5E7"/>
                </a:solidFill>
                <a:latin typeface="Impact" panose="020B0806030902050204" pitchFamily="34" charset="0"/>
              </a:defRPr>
            </a:lvl1pPr>
          </a:lstStyle>
          <a:p>
            <a:r>
              <a:rPr lang="en-GB"/>
              <a:t>CLICK TO EDIT MASTER TITLE STYLE</a:t>
            </a:r>
          </a:p>
        </p:txBody>
      </p:sp>
      <p:sp>
        <p:nvSpPr>
          <p:cNvPr id="17" name="Picture">
            <a:extLst>
              <a:ext uri="{FF2B5EF4-FFF2-40B4-BE49-F238E27FC236}">
                <a16:creationId xmlns:a16="http://schemas.microsoft.com/office/drawing/2014/main" id="{F5AD96FF-17C8-40BB-95BD-16595A5E5474}"/>
              </a:ext>
            </a:extLst>
          </p:cNvPr>
          <p:cNvSpPr>
            <a:spLocks noGrp="1"/>
          </p:cNvSpPr>
          <p:nvPr>
            <p:ph type="pic" sz="quarter" idx="17"/>
          </p:nvPr>
        </p:nvSpPr>
        <p:spPr>
          <a:xfrm>
            <a:off x="5087936" y="3212975"/>
            <a:ext cx="4818064" cy="3645025"/>
          </a:xfrm>
          <a:custGeom>
            <a:avLst/>
            <a:gdLst>
              <a:gd name="connsiteX0" fmla="*/ 2051651 w 4818064"/>
              <a:gd name="connsiteY0" fmla="*/ 0 h 3645025"/>
              <a:gd name="connsiteX1" fmla="*/ 4818064 w 4818064"/>
              <a:gd name="connsiteY1" fmla="*/ 0 h 3645025"/>
              <a:gd name="connsiteX2" fmla="*/ 4818064 w 4818064"/>
              <a:gd name="connsiteY2" fmla="*/ 3645025 h 3645025"/>
              <a:gd name="connsiteX3" fmla="*/ 0 w 4818064"/>
              <a:gd name="connsiteY3" fmla="*/ 3645025 h 3645025"/>
              <a:gd name="connsiteX4" fmla="*/ 0 w 4818064"/>
              <a:gd name="connsiteY4" fmla="*/ 2285535 h 3645025"/>
              <a:gd name="connsiteX5" fmla="*/ 2051651 w 4818064"/>
              <a:gd name="connsiteY5" fmla="*/ 2285535 h 364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645025">
                <a:moveTo>
                  <a:pt x="2051651" y="0"/>
                </a:moveTo>
                <a:lnTo>
                  <a:pt x="4818064" y="0"/>
                </a:lnTo>
                <a:lnTo>
                  <a:pt x="4818064" y="3645025"/>
                </a:lnTo>
                <a:lnTo>
                  <a:pt x="0" y="3645025"/>
                </a:lnTo>
                <a:lnTo>
                  <a:pt x="0" y="2285535"/>
                </a:lnTo>
                <a:lnTo>
                  <a:pt x="2051651" y="2285535"/>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en-US"/>
              <a:t>Click icon to add picture</a:t>
            </a:r>
            <a:endParaRPr lang="en-GB"/>
          </a:p>
        </p:txBody>
      </p:sp>
      <p:sp>
        <p:nvSpPr>
          <p:cNvPr id="11" name="Notes">
            <a:extLst>
              <a:ext uri="{FF2B5EF4-FFF2-40B4-BE49-F238E27FC236}">
                <a16:creationId xmlns:a16="http://schemas.microsoft.com/office/drawing/2014/main" id="{2A57E2F6-7A9F-41E2-8D7F-40B6A933644F}"/>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9" name="Tracker">
            <a:extLst>
              <a:ext uri="{FF2B5EF4-FFF2-40B4-BE49-F238E27FC236}">
                <a16:creationId xmlns:a16="http://schemas.microsoft.com/office/drawing/2014/main" id="{DA498382-A780-4379-B988-F9A23B4581A4}"/>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0" name="Slide number">
            <a:extLst>
              <a:ext uri="{FF2B5EF4-FFF2-40B4-BE49-F238E27FC236}">
                <a16:creationId xmlns:a16="http://schemas.microsoft.com/office/drawing/2014/main" id="{60A534C5-071A-4203-A1EF-7D66784ED9CC}"/>
              </a:ext>
            </a:extLst>
          </p:cNvPr>
          <p:cNvSpPr>
            <a:spLocks noGrp="1"/>
          </p:cNvSpPr>
          <p:nvPr>
            <p:ph type="body" sz="quarter" idx="18" hasCustomPrompt="1"/>
          </p:nvPr>
        </p:nvSpPr>
        <p:spPr>
          <a:xfrm>
            <a:off x="9378938" y="6491731"/>
            <a:ext cx="255600"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fld id="{24C8C45C-947F-4981-8B3F-4F32E973C901}" type="slidenum">
              <a:rPr lang="en-GB" sz="650" smtClean="0">
                <a:solidFill>
                  <a:srgbClr val="1F2023"/>
                </a:solidFill>
              </a:rPr>
              <a:pPr/>
              <a:t>‹#›</a:t>
            </a:fld>
            <a:endParaRPr lang="en-GB" sz="650">
              <a:solidFill>
                <a:srgbClr val="1F2023"/>
              </a:solidFill>
            </a:endParaRPr>
          </a:p>
        </p:txBody>
      </p:sp>
    </p:spTree>
    <p:extLst>
      <p:ext uri="{BB962C8B-B14F-4D97-AF65-F5344CB8AC3E}">
        <p14:creationId xmlns:p14="http://schemas.microsoft.com/office/powerpoint/2010/main" val="415570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47"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Image Light">
    <p:spTree>
      <p:nvGrpSpPr>
        <p:cNvPr id="1" name=""/>
        <p:cNvGrpSpPr/>
        <p:nvPr/>
      </p:nvGrpSpPr>
      <p:grpSpPr>
        <a:xfrm>
          <a:off x="0" y="0"/>
          <a:ext cx="0" cy="0"/>
          <a:chOff x="0" y="0"/>
          <a:chExt cx="0" cy="0"/>
        </a:xfrm>
      </p:grpSpPr>
      <p:sp>
        <p:nvSpPr>
          <p:cNvPr id="13" name="Colour block light">
            <a:extLst>
              <a:ext uri="{FF2B5EF4-FFF2-40B4-BE49-F238E27FC236}">
                <a16:creationId xmlns:a16="http://schemas.microsoft.com/office/drawing/2014/main" id="{B40B7F21-6889-46F7-BB5C-8FDE3B947050}"/>
              </a:ext>
            </a:extLst>
          </p:cNvPr>
          <p:cNvSpPr/>
          <p:nvPr userDrawn="1"/>
        </p:nvSpPr>
        <p:spPr>
          <a:xfrm>
            <a:off x="0" y="0"/>
            <a:ext cx="7139587" cy="549851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a:solidFill>
                <a:srgbClr val="2F363B"/>
              </a:solidFill>
            </a:endParaRPr>
          </a:p>
        </p:txBody>
      </p:sp>
      <p:sp>
        <p:nvSpPr>
          <p:cNvPr id="10" name="Numbering">
            <a:extLst>
              <a:ext uri="{FF2B5EF4-FFF2-40B4-BE49-F238E27FC236}">
                <a16:creationId xmlns:a16="http://schemas.microsoft.com/office/drawing/2014/main" id="{1555505B-1F91-4451-A260-8CF1E3B4C29E}"/>
              </a:ext>
            </a:extLst>
          </p:cNvPr>
          <p:cNvSpPr>
            <a:spLocks noGrp="1"/>
          </p:cNvSpPr>
          <p:nvPr>
            <p:ph type="subTitle" idx="1" hasCustomPrompt="1"/>
          </p:nvPr>
        </p:nvSpPr>
        <p:spPr>
          <a:xfrm>
            <a:off x="269999" y="986400"/>
            <a:ext cx="5040000" cy="446400"/>
          </a:xfrm>
        </p:spPr>
        <p:txBody>
          <a:bodyPr rIns="0" anchor="b" anchorCtr="0"/>
          <a:lstStyle>
            <a:lvl1pPr marL="895350" indent="-895350" algn="l">
              <a:spcBef>
                <a:spcPts val="0"/>
              </a:spcBef>
              <a:buFontTx/>
              <a:buNone/>
              <a:tabLst>
                <a:tab pos="895350" algn="l"/>
              </a:tabLst>
              <a:defRPr sz="2800">
                <a:solidFill>
                  <a:srgbClr val="30373B"/>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a:t>01</a:t>
            </a:r>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269999" y="1637533"/>
            <a:ext cx="5040000" cy="3591668"/>
          </a:xfrm>
          <a:noFill/>
        </p:spPr>
        <p:txBody>
          <a:bodyPr vert="horz" lIns="0" tIns="0" rIns="0"/>
          <a:lstStyle>
            <a:lvl1pPr>
              <a:lnSpc>
                <a:spcPct val="80000"/>
              </a:lnSpc>
              <a:defRPr sz="7200" cap="all" baseline="0">
                <a:solidFill>
                  <a:srgbClr val="30373B"/>
                </a:solidFill>
                <a:latin typeface="Impact" panose="020B0806030902050204" pitchFamily="34" charset="0"/>
              </a:defRPr>
            </a:lvl1pPr>
          </a:lstStyle>
          <a:p>
            <a:r>
              <a:rPr lang="en-GB"/>
              <a:t>CLICK TO EDIT MASTER TITLE STYLE</a:t>
            </a:r>
          </a:p>
        </p:txBody>
      </p:sp>
      <p:sp>
        <p:nvSpPr>
          <p:cNvPr id="17" name="Picture">
            <a:extLst>
              <a:ext uri="{FF2B5EF4-FFF2-40B4-BE49-F238E27FC236}">
                <a16:creationId xmlns:a16="http://schemas.microsoft.com/office/drawing/2014/main" id="{F5AD96FF-17C8-40BB-95BD-16595A5E5474}"/>
              </a:ext>
            </a:extLst>
          </p:cNvPr>
          <p:cNvSpPr>
            <a:spLocks noGrp="1"/>
          </p:cNvSpPr>
          <p:nvPr>
            <p:ph type="pic" sz="quarter" idx="17"/>
          </p:nvPr>
        </p:nvSpPr>
        <p:spPr>
          <a:xfrm>
            <a:off x="5087936" y="3212975"/>
            <a:ext cx="4818064" cy="3645025"/>
          </a:xfrm>
          <a:custGeom>
            <a:avLst/>
            <a:gdLst>
              <a:gd name="connsiteX0" fmla="*/ 2051651 w 4818064"/>
              <a:gd name="connsiteY0" fmla="*/ 0 h 3645025"/>
              <a:gd name="connsiteX1" fmla="*/ 4818064 w 4818064"/>
              <a:gd name="connsiteY1" fmla="*/ 0 h 3645025"/>
              <a:gd name="connsiteX2" fmla="*/ 4818064 w 4818064"/>
              <a:gd name="connsiteY2" fmla="*/ 3645025 h 3645025"/>
              <a:gd name="connsiteX3" fmla="*/ 0 w 4818064"/>
              <a:gd name="connsiteY3" fmla="*/ 3645025 h 3645025"/>
              <a:gd name="connsiteX4" fmla="*/ 0 w 4818064"/>
              <a:gd name="connsiteY4" fmla="*/ 2285535 h 3645025"/>
              <a:gd name="connsiteX5" fmla="*/ 2051651 w 4818064"/>
              <a:gd name="connsiteY5" fmla="*/ 2285535 h 364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645025">
                <a:moveTo>
                  <a:pt x="2051651" y="0"/>
                </a:moveTo>
                <a:lnTo>
                  <a:pt x="4818064" y="0"/>
                </a:lnTo>
                <a:lnTo>
                  <a:pt x="4818064" y="3645025"/>
                </a:lnTo>
                <a:lnTo>
                  <a:pt x="0" y="3645025"/>
                </a:lnTo>
                <a:lnTo>
                  <a:pt x="0" y="2285535"/>
                </a:lnTo>
                <a:lnTo>
                  <a:pt x="2051651" y="2285535"/>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en-US"/>
              <a:t>Click icon to add picture</a:t>
            </a:r>
            <a:endParaRPr lang="en-GB"/>
          </a:p>
        </p:txBody>
      </p:sp>
      <p:sp>
        <p:nvSpPr>
          <p:cNvPr id="11" name="Notes">
            <a:extLst>
              <a:ext uri="{FF2B5EF4-FFF2-40B4-BE49-F238E27FC236}">
                <a16:creationId xmlns:a16="http://schemas.microsoft.com/office/drawing/2014/main" id="{2A57E2F6-7A9F-41E2-8D7F-40B6A933644F}"/>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9" name="Tracker">
            <a:extLst>
              <a:ext uri="{FF2B5EF4-FFF2-40B4-BE49-F238E27FC236}">
                <a16:creationId xmlns:a16="http://schemas.microsoft.com/office/drawing/2014/main" id="{DA498382-A780-4379-B988-F9A23B4581A4}"/>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2" name="Slide number">
            <a:extLst>
              <a:ext uri="{FF2B5EF4-FFF2-40B4-BE49-F238E27FC236}">
                <a16:creationId xmlns:a16="http://schemas.microsoft.com/office/drawing/2014/main" id="{40A051AF-44B5-466E-8AEF-F83825026EB3}"/>
              </a:ext>
            </a:extLst>
          </p:cNvPr>
          <p:cNvSpPr>
            <a:spLocks noGrp="1"/>
          </p:cNvSpPr>
          <p:nvPr>
            <p:ph type="body" sz="quarter" idx="18" hasCustomPrompt="1"/>
          </p:nvPr>
        </p:nvSpPr>
        <p:spPr>
          <a:xfrm>
            <a:off x="9378938" y="6491731"/>
            <a:ext cx="255600"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fld id="{24C8C45C-947F-4981-8B3F-4F32E973C901}" type="slidenum">
              <a:rPr lang="en-GB" sz="650" smtClean="0">
                <a:solidFill>
                  <a:srgbClr val="1F2023"/>
                </a:solidFill>
              </a:rPr>
              <a:pPr/>
              <a:t>‹#›</a:t>
            </a:fld>
            <a:endParaRPr lang="en-GB" sz="650">
              <a:solidFill>
                <a:srgbClr val="1F2023"/>
              </a:solidFill>
            </a:endParaRPr>
          </a:p>
        </p:txBody>
      </p:sp>
    </p:spTree>
    <p:extLst>
      <p:ext uri="{BB962C8B-B14F-4D97-AF65-F5344CB8AC3E}">
        <p14:creationId xmlns:p14="http://schemas.microsoft.com/office/powerpoint/2010/main" val="239035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47"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Yellow">
    <p:bg>
      <p:bgPr>
        <a:solidFill>
          <a:srgbClr val="E4B73B"/>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chemeClr val="tx1"/>
                </a:solidFill>
                <a:latin typeface="Impact" panose="020B0806030902050204" pitchFamily="34" charset="0"/>
              </a:defRPr>
            </a:lvl1pPr>
          </a:lstStyle>
          <a:p>
            <a:r>
              <a:rPr lang="en-GB"/>
              <a:t>CLICK TO EDIT MASTER TITLE STYLE</a:t>
            </a:r>
          </a:p>
        </p:txBody>
      </p:sp>
      <p:sp>
        <p:nvSpPr>
          <p:cNvPr id="10" name="Notes">
            <a:extLst>
              <a:ext uri="{FF2B5EF4-FFF2-40B4-BE49-F238E27FC236}">
                <a16:creationId xmlns:a16="http://schemas.microsoft.com/office/drawing/2014/main" id="{9D11359A-2F03-425D-806D-98BA9370D36F}"/>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73D51A2D-F0E1-4CE7-AFB4-409F72352804}"/>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88639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Bright Green">
    <p:bg>
      <p:bgPr>
        <a:solidFill>
          <a:srgbClr val="8AA299"/>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chemeClr val="tx1"/>
                </a:solidFill>
                <a:latin typeface="Impact" panose="020B0806030902050204" pitchFamily="34" charset="0"/>
              </a:defRPr>
            </a:lvl1pPr>
          </a:lstStyle>
          <a:p>
            <a:r>
              <a:rPr lang="en-GB"/>
              <a:t>CLICK TO EDIT MASTER TITLE STYLE</a:t>
            </a:r>
          </a:p>
        </p:txBody>
      </p:sp>
      <p:sp>
        <p:nvSpPr>
          <p:cNvPr id="10" name="Notes">
            <a:extLst>
              <a:ext uri="{FF2B5EF4-FFF2-40B4-BE49-F238E27FC236}">
                <a16:creationId xmlns:a16="http://schemas.microsoft.com/office/drawing/2014/main" id="{4A89760F-2178-49CC-BA2F-12208AE6FD19}"/>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BE9A5838-75E1-4C49-AAB8-A7B512D4EB0D}"/>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331263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ection Dark Green">
    <p:bg>
      <p:bgPr>
        <a:solidFill>
          <a:srgbClr val="40615F"/>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rgbClr val="F8F5E7"/>
                </a:solidFill>
                <a:latin typeface="Impact" panose="020B0806030902050204" pitchFamily="34" charset="0"/>
              </a:defRPr>
            </a:lvl1pPr>
          </a:lstStyle>
          <a:p>
            <a:r>
              <a:rPr lang="en-GB"/>
              <a:t>CLICK TO EDIT MASTER TITLE STYLE</a:t>
            </a:r>
          </a:p>
        </p:txBody>
      </p:sp>
      <p:sp>
        <p:nvSpPr>
          <p:cNvPr id="8" name="Notes">
            <a:extLst>
              <a:ext uri="{FF2B5EF4-FFF2-40B4-BE49-F238E27FC236}">
                <a16:creationId xmlns:a16="http://schemas.microsoft.com/office/drawing/2014/main" id="{33AEEFBF-8305-40CF-A329-17C2C3DF5173}"/>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9" name="Tracker">
            <a:extLst>
              <a:ext uri="{FF2B5EF4-FFF2-40B4-BE49-F238E27FC236}">
                <a16:creationId xmlns:a16="http://schemas.microsoft.com/office/drawing/2014/main" id="{470DFD11-5A11-49E0-BF7F-18AA2AB69FB5}"/>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F8F5E7"/>
                </a:solidFill>
              </a:defRPr>
            </a:lvl1pPr>
            <a:lvl2pPr>
              <a:defRPr sz="650"/>
            </a:lvl2pPr>
            <a:lvl3pPr>
              <a:defRPr sz="650"/>
            </a:lvl3pPr>
            <a:lvl4pPr>
              <a:defRPr sz="650"/>
            </a:lvl4pPr>
            <a:lvl5pPr>
              <a:defRPr sz="650"/>
            </a:lvl5pPr>
          </a:lstStyle>
          <a:p>
            <a:pPr lvl="0"/>
            <a:r>
              <a:rPr lang="en-GB"/>
              <a:t>Tracker</a:t>
            </a:r>
          </a:p>
        </p:txBody>
      </p:sp>
      <p:sp>
        <p:nvSpPr>
          <p:cNvPr id="23" name="Logo">
            <a:extLst>
              <a:ext uri="{FF2B5EF4-FFF2-40B4-BE49-F238E27FC236}">
                <a16:creationId xmlns:a16="http://schemas.microsoft.com/office/drawing/2014/main" id="{F1E411B7-9176-498E-B9E2-2DE05B18027B}"/>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14" name="Slide number">
            <a:extLst>
              <a:ext uri="{FF2B5EF4-FFF2-40B4-BE49-F238E27FC236}">
                <a16:creationId xmlns:a16="http://schemas.microsoft.com/office/drawing/2014/main" id="{8F64ED58-75C8-4179-A976-CDFC761EBBBD}"/>
              </a:ext>
            </a:extLst>
          </p:cNvPr>
          <p:cNvSpPr txBox="1">
            <a:spLocks/>
          </p:cNvSpPr>
          <p:nvPr userDrawn="1"/>
        </p:nvSpPr>
        <p:spPr>
          <a:xfrm>
            <a:off x="9378938" y="6489162"/>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F8F5E7"/>
                </a:solidFill>
              </a:rPr>
              <a:pPr/>
              <a:t>‹nr.›</a:t>
            </a:fld>
            <a:endParaRPr lang="en-GB" sz="650">
              <a:solidFill>
                <a:srgbClr val="F8F5E7"/>
              </a:solidFill>
            </a:endParaRPr>
          </a:p>
        </p:txBody>
      </p:sp>
    </p:spTree>
    <p:extLst>
      <p:ext uri="{BB962C8B-B14F-4D97-AF65-F5344CB8AC3E}">
        <p14:creationId xmlns:p14="http://schemas.microsoft.com/office/powerpoint/2010/main" val="408425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Wine Red">
    <p:bg>
      <p:bgPr>
        <a:solidFill>
          <a:srgbClr val="893E45"/>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rgbClr val="F8F5E7"/>
                </a:solidFill>
                <a:latin typeface="Impact" panose="020B0806030902050204" pitchFamily="34" charset="0"/>
              </a:defRPr>
            </a:lvl1pPr>
          </a:lstStyle>
          <a:p>
            <a:r>
              <a:rPr lang="en-GB"/>
              <a:t>CLICK TO EDIT MASTER TITLE STYLE</a:t>
            </a:r>
          </a:p>
        </p:txBody>
      </p:sp>
      <p:sp>
        <p:nvSpPr>
          <p:cNvPr id="8" name="Notes">
            <a:extLst>
              <a:ext uri="{FF2B5EF4-FFF2-40B4-BE49-F238E27FC236}">
                <a16:creationId xmlns:a16="http://schemas.microsoft.com/office/drawing/2014/main" id="{720BDB18-EB67-4D43-8C3C-178BCCC8682C}"/>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9" name="Tracker">
            <a:extLst>
              <a:ext uri="{FF2B5EF4-FFF2-40B4-BE49-F238E27FC236}">
                <a16:creationId xmlns:a16="http://schemas.microsoft.com/office/drawing/2014/main" id="{854F9984-6AD9-4261-8717-72825E84BB97}"/>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F8F5E7"/>
                </a:solidFill>
              </a:defRPr>
            </a:lvl1pPr>
            <a:lvl2pPr>
              <a:defRPr sz="650"/>
            </a:lvl2pPr>
            <a:lvl3pPr>
              <a:defRPr sz="650"/>
            </a:lvl3pPr>
            <a:lvl4pPr>
              <a:defRPr sz="650"/>
            </a:lvl4pPr>
            <a:lvl5pPr>
              <a:defRPr sz="650"/>
            </a:lvl5pPr>
          </a:lstStyle>
          <a:p>
            <a:pPr lvl="0"/>
            <a:r>
              <a:rPr lang="en-GB"/>
              <a:t>Tracker</a:t>
            </a:r>
          </a:p>
        </p:txBody>
      </p:sp>
      <p:sp>
        <p:nvSpPr>
          <p:cNvPr id="23" name="Logo">
            <a:extLst>
              <a:ext uri="{FF2B5EF4-FFF2-40B4-BE49-F238E27FC236}">
                <a16:creationId xmlns:a16="http://schemas.microsoft.com/office/drawing/2014/main" id="{F1E411B7-9176-498E-B9E2-2DE05B18027B}"/>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14" name="Slide number">
            <a:extLst>
              <a:ext uri="{FF2B5EF4-FFF2-40B4-BE49-F238E27FC236}">
                <a16:creationId xmlns:a16="http://schemas.microsoft.com/office/drawing/2014/main" id="{1315E193-46D2-488D-B396-4238AE56BC3F}"/>
              </a:ext>
            </a:extLst>
          </p:cNvPr>
          <p:cNvSpPr txBox="1">
            <a:spLocks/>
          </p:cNvSpPr>
          <p:nvPr userDrawn="1"/>
        </p:nvSpPr>
        <p:spPr>
          <a:xfrm>
            <a:off x="9378938" y="6489162"/>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F8F5E7"/>
                </a:solidFill>
              </a:rPr>
              <a:pPr/>
              <a:t>‹nr.›</a:t>
            </a:fld>
            <a:endParaRPr lang="en-GB" sz="650">
              <a:solidFill>
                <a:srgbClr val="F8F5E7"/>
              </a:solidFill>
            </a:endParaRPr>
          </a:p>
        </p:txBody>
      </p:sp>
    </p:spTree>
    <p:extLst>
      <p:ext uri="{BB962C8B-B14F-4D97-AF65-F5344CB8AC3E}">
        <p14:creationId xmlns:p14="http://schemas.microsoft.com/office/powerpoint/2010/main" val="133906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C">
    <p:spTree>
      <p:nvGrpSpPr>
        <p:cNvPr id="1" name=""/>
        <p:cNvGrpSpPr/>
        <p:nvPr/>
      </p:nvGrpSpPr>
      <p:grpSpPr>
        <a:xfrm>
          <a:off x="0" y="0"/>
          <a:ext cx="0" cy="0"/>
          <a:chOff x="0" y="0"/>
          <a:chExt cx="0" cy="0"/>
        </a:xfrm>
      </p:grpSpPr>
      <p:grpSp>
        <p:nvGrpSpPr>
          <p:cNvPr id="2" name="Background colour blocks">
            <a:extLst>
              <a:ext uri="{FF2B5EF4-FFF2-40B4-BE49-F238E27FC236}">
                <a16:creationId xmlns:a16="http://schemas.microsoft.com/office/drawing/2014/main" id="{67BF54CF-DC03-4D53-9511-AE81F08D9423}"/>
              </a:ext>
            </a:extLst>
          </p:cNvPr>
          <p:cNvGrpSpPr/>
          <p:nvPr userDrawn="1"/>
        </p:nvGrpSpPr>
        <p:grpSpPr>
          <a:xfrm>
            <a:off x="0" y="0"/>
            <a:ext cx="9906000" cy="6858000"/>
            <a:chOff x="-1" y="0"/>
            <a:chExt cx="9906000" cy="6858000"/>
          </a:xfrm>
        </p:grpSpPr>
        <p:sp>
          <p:nvSpPr>
            <p:cNvPr id="23" name="Yellow">
              <a:extLst>
                <a:ext uri="{FF2B5EF4-FFF2-40B4-BE49-F238E27FC236}">
                  <a16:creationId xmlns:a16="http://schemas.microsoft.com/office/drawing/2014/main" id="{A81EE220-AC53-4153-A0FE-1F2219FBF428}"/>
                </a:ext>
              </a:extLst>
            </p:cNvPr>
            <p:cNvSpPr/>
            <p:nvPr userDrawn="1"/>
          </p:nvSpPr>
          <p:spPr>
            <a:xfrm>
              <a:off x="7171530" y="0"/>
              <a:ext cx="2734469"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4B73B"/>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1F2023"/>
                </a:solidFill>
                <a:effectLst/>
                <a:uLnTx/>
                <a:uFillTx/>
              </a:endParaRPr>
            </a:p>
          </p:txBody>
        </p:sp>
        <p:sp>
          <p:nvSpPr>
            <p:cNvPr id="24" name="Egg">
              <a:extLst>
                <a:ext uri="{FF2B5EF4-FFF2-40B4-BE49-F238E27FC236}">
                  <a16:creationId xmlns:a16="http://schemas.microsoft.com/office/drawing/2014/main" id="{468EEBBF-213D-4D68-A9CE-7CE68854BF37}"/>
                </a:ext>
              </a:extLst>
            </p:cNvPr>
            <p:cNvSpPr/>
            <p:nvPr userDrawn="1"/>
          </p:nvSpPr>
          <p:spPr>
            <a:xfrm>
              <a:off x="-1" y="0"/>
              <a:ext cx="7171531" cy="1632813"/>
            </a:xfrm>
            <a:prstGeom prst="rect">
              <a:avLst/>
            </a:prstGeom>
            <a:solidFill>
              <a:srgbClr val="F8F5E7"/>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1F2023"/>
                </a:solidFill>
                <a:effectLst/>
                <a:uLnTx/>
                <a:uFillTx/>
                <a:latin typeface="Arial"/>
                <a:ea typeface="+mn-ea"/>
                <a:cs typeface="+mn-cs"/>
              </a:endParaRPr>
            </a:p>
          </p:txBody>
        </p:sp>
        <p:sp>
          <p:nvSpPr>
            <p:cNvPr id="25" name="Grey">
              <a:extLst>
                <a:ext uri="{FF2B5EF4-FFF2-40B4-BE49-F238E27FC236}">
                  <a16:creationId xmlns:a16="http://schemas.microsoft.com/office/drawing/2014/main" id="{2F8E5E3C-C8FF-4ABE-B0BE-21762DA69433}"/>
                </a:ext>
              </a:extLst>
            </p:cNvPr>
            <p:cNvSpPr/>
            <p:nvPr userDrawn="1"/>
          </p:nvSpPr>
          <p:spPr>
            <a:xfrm>
              <a:off x="0" y="1355724"/>
              <a:ext cx="8554911" cy="5502276"/>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E2DED9"/>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1F2023"/>
                </a:solidFill>
                <a:effectLst/>
                <a:uLnTx/>
                <a:uFillTx/>
              </a:endParaRPr>
            </a:p>
          </p:txBody>
        </p:sp>
      </p:grpSp>
      <p:sp>
        <p:nvSpPr>
          <p:cNvPr id="16" name="Title">
            <a:extLst>
              <a:ext uri="{FF2B5EF4-FFF2-40B4-BE49-F238E27FC236}">
                <a16:creationId xmlns:a16="http://schemas.microsoft.com/office/drawing/2014/main" id="{D4352087-9FC5-44CB-9335-2EEFDAC76577}"/>
              </a:ext>
            </a:extLst>
          </p:cNvPr>
          <p:cNvSpPr>
            <a:spLocks noGrp="1"/>
          </p:cNvSpPr>
          <p:nvPr>
            <p:ph type="ctrTitle"/>
          </p:nvPr>
        </p:nvSpPr>
        <p:spPr>
          <a:xfrm>
            <a:off x="270734" y="2138963"/>
            <a:ext cx="5842800" cy="2224886"/>
          </a:xfrm>
        </p:spPr>
        <p:txBody>
          <a:bodyPr vert="horz" anchor="t" anchorCtr="0">
            <a:noAutofit/>
          </a:bodyPr>
          <a:lstStyle>
            <a:lvl1pPr algn="l">
              <a:lnSpc>
                <a:spcPct val="83000"/>
              </a:lnSpc>
              <a:defRPr sz="6500" cap="all" baseline="0">
                <a:solidFill>
                  <a:srgbClr val="30373B"/>
                </a:solidFill>
                <a:latin typeface="Impact" panose="020B0806030902050204" pitchFamily="34" charset="0"/>
              </a:defRPr>
            </a:lvl1pPr>
          </a:lstStyle>
          <a:p>
            <a:r>
              <a:rPr lang="en-US"/>
              <a:t>Click to edit Master title style</a:t>
            </a:r>
            <a:endParaRPr lang="en-GB"/>
          </a:p>
        </p:txBody>
      </p:sp>
      <p:sp>
        <p:nvSpPr>
          <p:cNvPr id="21" name="Subtitle">
            <a:extLst>
              <a:ext uri="{FF2B5EF4-FFF2-40B4-BE49-F238E27FC236}">
                <a16:creationId xmlns:a16="http://schemas.microsoft.com/office/drawing/2014/main" id="{F4872442-83A2-43AD-891C-C24ABE274253}"/>
              </a:ext>
            </a:extLst>
          </p:cNvPr>
          <p:cNvSpPr>
            <a:spLocks noGrp="1"/>
          </p:cNvSpPr>
          <p:nvPr>
            <p:ph type="subTitle" idx="1"/>
          </p:nvPr>
        </p:nvSpPr>
        <p:spPr>
          <a:xfrm>
            <a:off x="269999" y="5463127"/>
            <a:ext cx="5842800" cy="863537"/>
          </a:xfrm>
        </p:spPr>
        <p:txBody>
          <a:bodyPr anchor="b" anchorCtr="0"/>
          <a:lstStyle>
            <a:lvl1pPr marL="0" indent="0" algn="l">
              <a:lnSpc>
                <a:spcPct val="90000"/>
              </a:lnSpc>
              <a:spcBef>
                <a:spcPts val="0"/>
              </a:spcBef>
              <a:buFont typeface="Arial" panose="020B0604020202020204" pitchFamily="34" charset="0"/>
              <a:buChar char="​"/>
              <a:defRPr sz="1100">
                <a:solidFill>
                  <a:srgbClr val="1F2023"/>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US"/>
              <a:t>Click to edit Master subtitle style</a:t>
            </a:r>
            <a:endParaRPr lang="en-GB"/>
          </a:p>
        </p:txBody>
      </p:sp>
      <p:sp>
        <p:nvSpPr>
          <p:cNvPr id="22" name="Date">
            <a:extLst>
              <a:ext uri="{FF2B5EF4-FFF2-40B4-BE49-F238E27FC236}">
                <a16:creationId xmlns:a16="http://schemas.microsoft.com/office/drawing/2014/main" id="{E1694F14-D4CB-400F-818F-B8F113DF8AE5}"/>
              </a:ext>
            </a:extLst>
          </p:cNvPr>
          <p:cNvSpPr>
            <a:spLocks noGrp="1"/>
          </p:cNvSpPr>
          <p:nvPr>
            <p:ph type="body" sz="quarter" idx="13" hasCustomPrompt="1"/>
          </p:nvPr>
        </p:nvSpPr>
        <p:spPr>
          <a:xfrm>
            <a:off x="269999" y="6387016"/>
            <a:ext cx="5842800" cy="210634"/>
          </a:xfrm>
        </p:spPr>
        <p:txBody>
          <a:bodyPr rIns="0" anchor="b" anchorCtr="0"/>
          <a:lstStyle>
            <a:lvl1pPr>
              <a:lnSpc>
                <a:spcPct val="90000"/>
              </a:lnSpc>
              <a:defRPr sz="900">
                <a:solidFill>
                  <a:srgbClr val="1F2023"/>
                </a:solidFill>
              </a:defRPr>
            </a:lvl1pPr>
            <a:lvl5pPr>
              <a:defRPr/>
            </a:lvl5pPr>
          </a:lstStyle>
          <a:p>
            <a:pPr lvl="0"/>
            <a:r>
              <a:rPr lang="en-GB"/>
              <a:t>Date</a:t>
            </a:r>
          </a:p>
        </p:txBody>
      </p:sp>
      <p:sp>
        <p:nvSpPr>
          <p:cNvPr id="10" name="Confidential">
            <a:extLst>
              <a:ext uri="{FF2B5EF4-FFF2-40B4-BE49-F238E27FC236}">
                <a16:creationId xmlns:a16="http://schemas.microsoft.com/office/drawing/2014/main" id="{E3C3862B-60F1-44D8-9107-89FD1C9A207D}"/>
              </a:ext>
            </a:extLst>
          </p:cNvPr>
          <p:cNvSpPr txBox="1"/>
          <p:nvPr userDrawn="1"/>
        </p:nvSpPr>
        <p:spPr>
          <a:xfrm>
            <a:off x="8925785" y="6485010"/>
            <a:ext cx="609141" cy="124650"/>
          </a:xfrm>
          <a:prstGeom prst="rect">
            <a:avLst/>
          </a:prstGeom>
          <a:noFill/>
          <a:ln w="6350">
            <a:noFill/>
            <a:prstDash val="sysDash"/>
          </a:ln>
        </p:spPr>
        <p:txBody>
          <a:bodyPr wrap="square" lIns="0" tIns="0" rIns="0" bIns="0" rtlCol="0">
            <a:spAutoFit/>
          </a:bodyPr>
          <a:lstStyle/>
          <a:p>
            <a:pPr algn="ctr"/>
            <a:r>
              <a:rPr lang="en-GB" sz="900">
                <a:solidFill>
                  <a:schemeClr val="tx1"/>
                </a:solidFill>
              </a:rPr>
              <a:t>Confidential</a:t>
            </a:r>
          </a:p>
        </p:txBody>
      </p:sp>
      <p:sp>
        <p:nvSpPr>
          <p:cNvPr id="12" name="Logotype">
            <a:extLst>
              <a:ext uri="{FF2B5EF4-FFF2-40B4-BE49-F238E27FC236}">
                <a16:creationId xmlns:a16="http://schemas.microsoft.com/office/drawing/2014/main" id="{4E4074B2-7DE7-48C5-B126-35D2D5B789C6}"/>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solidFill>
                  <a:srgbClr val="1F2023"/>
                </a:solidFill>
              </a:rPr>
              <a:t> </a:t>
            </a:r>
          </a:p>
        </p:txBody>
      </p:sp>
    </p:spTree>
    <p:extLst>
      <p:ext uri="{BB962C8B-B14F-4D97-AF65-F5344CB8AC3E}">
        <p14:creationId xmlns:p14="http://schemas.microsoft.com/office/powerpoint/2010/main" val="45308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Piggy">
    <p:bg>
      <p:bgPr>
        <a:solidFill>
          <a:srgbClr val="E0BCA6"/>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chemeClr val="tx1"/>
                </a:solidFill>
                <a:latin typeface="Impact" panose="020B0806030902050204" pitchFamily="34" charset="0"/>
              </a:defRPr>
            </a:lvl1pPr>
          </a:lstStyle>
          <a:p>
            <a:r>
              <a:rPr lang="en-GB"/>
              <a:t>CLICK TO EDIT MASTER TITLE STYLE</a:t>
            </a:r>
          </a:p>
        </p:txBody>
      </p:sp>
      <p:sp>
        <p:nvSpPr>
          <p:cNvPr id="10" name="Notes">
            <a:extLst>
              <a:ext uri="{FF2B5EF4-FFF2-40B4-BE49-F238E27FC236}">
                <a16:creationId xmlns:a16="http://schemas.microsoft.com/office/drawing/2014/main" id="{976BF999-3D87-4AFE-8EC3-810F0CE2B5E1}"/>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18C5995D-8DBF-45BE-B40F-D0B4E2A9229F}"/>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3792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Brown">
    <p:bg>
      <p:bgPr>
        <a:solidFill>
          <a:srgbClr val="9A6E3A"/>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chemeClr val="tx1"/>
                </a:solidFill>
                <a:latin typeface="Impact" panose="020B0806030902050204" pitchFamily="34" charset="0"/>
              </a:defRPr>
            </a:lvl1pPr>
          </a:lstStyle>
          <a:p>
            <a:r>
              <a:rPr lang="en-GB"/>
              <a:t>CLICK TO EDIT MASTER TITLE STYLE</a:t>
            </a:r>
          </a:p>
        </p:txBody>
      </p:sp>
      <p:sp>
        <p:nvSpPr>
          <p:cNvPr id="10" name="Notes">
            <a:extLst>
              <a:ext uri="{FF2B5EF4-FFF2-40B4-BE49-F238E27FC236}">
                <a16:creationId xmlns:a16="http://schemas.microsoft.com/office/drawing/2014/main" id="{CA2ECDF9-4C21-4142-B222-D7AE58F76AB0}"/>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157336CC-F872-47D1-AE5D-6DDEFBA20BF5}"/>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308589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Egg">
    <p:bg>
      <p:bgPr>
        <a:solidFill>
          <a:srgbClr val="F8F5E7"/>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chemeClr val="tx1"/>
                </a:solidFill>
                <a:latin typeface="Impact" panose="020B0806030902050204" pitchFamily="34" charset="0"/>
              </a:defRPr>
            </a:lvl1pPr>
          </a:lstStyle>
          <a:p>
            <a:r>
              <a:rPr lang="en-GB"/>
              <a:t>CLICK TO EDIT MASTER TITLE STYLE</a:t>
            </a:r>
          </a:p>
        </p:txBody>
      </p:sp>
      <p:sp>
        <p:nvSpPr>
          <p:cNvPr id="10" name="Notes">
            <a:extLst>
              <a:ext uri="{FF2B5EF4-FFF2-40B4-BE49-F238E27FC236}">
                <a16:creationId xmlns:a16="http://schemas.microsoft.com/office/drawing/2014/main" id="{CA2ECDF9-4C21-4142-B222-D7AE58F76AB0}"/>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157336CC-F872-47D1-AE5D-6DDEFBA20BF5}"/>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3004469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Grey">
    <p:bg>
      <p:bgPr>
        <a:solidFill>
          <a:srgbClr val="E2DED9"/>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chemeClr val="tx1"/>
                </a:solidFill>
                <a:latin typeface="Impact" panose="020B0806030902050204" pitchFamily="34" charset="0"/>
              </a:defRPr>
            </a:lvl1pPr>
          </a:lstStyle>
          <a:p>
            <a:r>
              <a:rPr lang="en-GB"/>
              <a:t>CLICK TO EDIT MASTER TITLE STYLE</a:t>
            </a:r>
          </a:p>
        </p:txBody>
      </p:sp>
      <p:sp>
        <p:nvSpPr>
          <p:cNvPr id="10" name="Notes">
            <a:extLst>
              <a:ext uri="{FF2B5EF4-FFF2-40B4-BE49-F238E27FC236}">
                <a16:creationId xmlns:a16="http://schemas.microsoft.com/office/drawing/2014/main" id="{CA2ECDF9-4C21-4142-B222-D7AE58F76AB0}"/>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157336CC-F872-47D1-AE5D-6DDEFBA20BF5}"/>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45558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chemeClr val="tx1"/>
                </a:solidFill>
                <a:latin typeface="Impact" panose="020B0806030902050204" pitchFamily="34" charset="0"/>
              </a:defRPr>
            </a:lvl1pPr>
          </a:lstStyle>
          <a:p>
            <a:r>
              <a:rPr lang="en-GB"/>
              <a:t>CLICK TO EDIT MASTER TITLE STYLE</a:t>
            </a:r>
          </a:p>
        </p:txBody>
      </p:sp>
      <p:sp>
        <p:nvSpPr>
          <p:cNvPr id="5" name="Notes">
            <a:extLst>
              <a:ext uri="{FF2B5EF4-FFF2-40B4-BE49-F238E27FC236}">
                <a16:creationId xmlns:a16="http://schemas.microsoft.com/office/drawing/2014/main" id="{DDEDA7C9-A1A9-417F-AEFB-A2B5400B672F}"/>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4AB762A1-326D-47B2-A400-9DF0AF7CC449}"/>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43864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Dark">
    <p:bg>
      <p:bgPr>
        <a:solidFill>
          <a:srgbClr val="30373B"/>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1097850" y="2228850"/>
            <a:ext cx="7710300" cy="2823894"/>
          </a:xfrm>
          <a:noFill/>
        </p:spPr>
        <p:txBody>
          <a:bodyPr vert="horz" lIns="0" tIns="0" rIns="0"/>
          <a:lstStyle>
            <a:lvl1pPr>
              <a:lnSpc>
                <a:spcPct val="83000"/>
              </a:lnSpc>
              <a:defRPr sz="5850" cap="all" baseline="0">
                <a:solidFill>
                  <a:srgbClr val="F8F5E7"/>
                </a:solidFill>
                <a:latin typeface="Impact" panose="020B0806030902050204" pitchFamily="34" charset="0"/>
              </a:defRPr>
            </a:lvl1pPr>
          </a:lstStyle>
          <a:p>
            <a:r>
              <a:rPr lang="en-GB"/>
              <a:t>CLICK TO EDIT MASTER TITLE STYLE</a:t>
            </a:r>
          </a:p>
        </p:txBody>
      </p:sp>
      <p:sp>
        <p:nvSpPr>
          <p:cNvPr id="11" name="Notes">
            <a:extLst>
              <a:ext uri="{FF2B5EF4-FFF2-40B4-BE49-F238E27FC236}">
                <a16:creationId xmlns:a16="http://schemas.microsoft.com/office/drawing/2014/main" id="{63D9665C-B7E6-4B35-A0AB-230AA73AD9C2}"/>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4528A11C-F941-4758-81D5-5F505B343818}"/>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F8F5E7"/>
                </a:solidFill>
              </a:defRPr>
            </a:lvl1pPr>
            <a:lvl2pPr>
              <a:defRPr sz="650"/>
            </a:lvl2pPr>
            <a:lvl3pPr>
              <a:defRPr sz="650"/>
            </a:lvl3pPr>
            <a:lvl4pPr>
              <a:defRPr sz="650"/>
            </a:lvl4pPr>
            <a:lvl5pPr>
              <a:defRPr sz="650"/>
            </a:lvl5pPr>
          </a:lstStyle>
          <a:p>
            <a:pPr lvl="0"/>
            <a:r>
              <a:rPr lang="en-GB"/>
              <a:t>Tracker</a:t>
            </a:r>
          </a:p>
        </p:txBody>
      </p:sp>
      <p:sp>
        <p:nvSpPr>
          <p:cNvPr id="23" name="Logo">
            <a:extLst>
              <a:ext uri="{FF2B5EF4-FFF2-40B4-BE49-F238E27FC236}">
                <a16:creationId xmlns:a16="http://schemas.microsoft.com/office/drawing/2014/main" id="{F1E411B7-9176-498E-B9E2-2DE05B18027B}"/>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9" name="Slide number">
            <a:extLst>
              <a:ext uri="{FF2B5EF4-FFF2-40B4-BE49-F238E27FC236}">
                <a16:creationId xmlns:a16="http://schemas.microsoft.com/office/drawing/2014/main" id="{43354BA6-FDD5-4221-BE74-6982B5FD9503}"/>
              </a:ext>
            </a:extLst>
          </p:cNvPr>
          <p:cNvSpPr txBox="1">
            <a:spLocks/>
          </p:cNvSpPr>
          <p:nvPr userDrawn="1"/>
        </p:nvSpPr>
        <p:spPr>
          <a:xfrm>
            <a:off x="9378938" y="6489162"/>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F8F5E7"/>
                </a:solidFill>
              </a:rPr>
              <a:pPr/>
              <a:t>‹nr.›</a:t>
            </a:fld>
            <a:endParaRPr lang="en-GB" sz="650">
              <a:solidFill>
                <a:srgbClr val="F8F5E7"/>
              </a:solidFill>
            </a:endParaRPr>
          </a:p>
        </p:txBody>
      </p:sp>
    </p:spTree>
    <p:extLst>
      <p:ext uri="{BB962C8B-B14F-4D97-AF65-F5344CB8AC3E}">
        <p14:creationId xmlns:p14="http://schemas.microsoft.com/office/powerpoint/2010/main" val="128855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Background Dark Text">
    <p:spTree>
      <p:nvGrpSpPr>
        <p:cNvPr id="1" name=""/>
        <p:cNvGrpSpPr/>
        <p:nvPr/>
      </p:nvGrpSpPr>
      <p:grpSpPr>
        <a:xfrm>
          <a:off x="0" y="0"/>
          <a:ext cx="0" cy="0"/>
          <a:chOff x="0" y="0"/>
          <a:chExt cx="0" cy="0"/>
        </a:xfrm>
      </p:grpSpPr>
      <p:sp>
        <p:nvSpPr>
          <p:cNvPr id="8" name="Picture">
            <a:extLst>
              <a:ext uri="{FF2B5EF4-FFF2-40B4-BE49-F238E27FC236}">
                <a16:creationId xmlns:a16="http://schemas.microsoft.com/office/drawing/2014/main" id="{C4CFC32D-2211-4E39-9B91-7B77BE0D1016}"/>
              </a:ext>
            </a:extLst>
          </p:cNvPr>
          <p:cNvSpPr>
            <a:spLocks noGrp="1"/>
          </p:cNvSpPr>
          <p:nvPr>
            <p:ph type="pic" sz="quarter" idx="15"/>
          </p:nvPr>
        </p:nvSpPr>
        <p:spPr>
          <a:xfrm>
            <a:off x="-1" y="0"/>
            <a:ext cx="9906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en-US"/>
              <a:t>Click icon to add picture</a:t>
            </a:r>
            <a:endParaRPr lang="en-GB"/>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272256" y="308592"/>
            <a:ext cx="8855590" cy="1912010"/>
          </a:xfrm>
          <a:noFill/>
        </p:spPr>
        <p:txBody>
          <a:bodyPr vert="horz" lIns="0" tIns="0" rIns="0"/>
          <a:lstStyle>
            <a:lvl1pPr>
              <a:lnSpc>
                <a:spcPct val="80000"/>
              </a:lnSpc>
              <a:spcBef>
                <a:spcPts val="0"/>
              </a:spcBef>
              <a:defRPr sz="7200" cap="all" baseline="0">
                <a:solidFill>
                  <a:srgbClr val="30373B"/>
                </a:solidFill>
                <a:latin typeface="Impact" panose="020B0806030902050204" pitchFamily="34" charset="0"/>
              </a:defRPr>
            </a:lvl1pPr>
          </a:lstStyle>
          <a:p>
            <a:r>
              <a:rPr lang="en-GB"/>
              <a:t>CLICK TO EDIT MASTER TITLE STYLE</a:t>
            </a:r>
          </a:p>
        </p:txBody>
      </p:sp>
      <p:sp>
        <p:nvSpPr>
          <p:cNvPr id="9" name="Notes">
            <a:extLst>
              <a:ext uri="{FF2B5EF4-FFF2-40B4-BE49-F238E27FC236}">
                <a16:creationId xmlns:a16="http://schemas.microsoft.com/office/drawing/2014/main" id="{A2E889C3-04FC-42E7-9F88-55398FDB0629}"/>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0" name="Tracker">
            <a:extLst>
              <a:ext uri="{FF2B5EF4-FFF2-40B4-BE49-F238E27FC236}">
                <a16:creationId xmlns:a16="http://schemas.microsoft.com/office/drawing/2014/main" id="{13AC9159-35F7-4923-8467-B4898888D530}"/>
              </a:ext>
            </a:extLst>
          </p:cNvPr>
          <p:cNvSpPr>
            <a:spLocks noGrp="1"/>
          </p:cNvSpPr>
          <p:nvPr>
            <p:ph type="body" sz="quarter" idx="17"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1" name="Logo">
            <a:extLst>
              <a:ext uri="{FF2B5EF4-FFF2-40B4-BE49-F238E27FC236}">
                <a16:creationId xmlns:a16="http://schemas.microsoft.com/office/drawing/2014/main" id="{B45C3F2C-0AAF-4C1C-82CA-594BFBB854DE}"/>
              </a:ext>
            </a:extLst>
          </p:cNvPr>
          <p:cNvSpPr>
            <a:spLocks noGrp="1"/>
          </p:cNvSpPr>
          <p:nvPr>
            <p:ph type="body" sz="quarter" idx="16" hasCustomPrompt="1"/>
          </p:nvPr>
        </p:nvSpPr>
        <p:spPr>
          <a:xfrm>
            <a:off x="9479736" y="303045"/>
            <a:ext cx="154800" cy="349200"/>
          </a:xfrm>
          <a:blipFill>
            <a:blip r:embed="rId2"/>
            <a:stretch>
              <a:fillRect/>
            </a:stretch>
          </a:blipFill>
        </p:spPr>
        <p:txBody>
          <a:bodyPr/>
          <a:lstStyle>
            <a:lvl1pPr>
              <a:defRPr sz="100">
                <a:noFill/>
              </a:defRPr>
            </a:lvl1pPr>
          </a:lstStyle>
          <a:p>
            <a:pPr lvl="0"/>
            <a:r>
              <a:rPr lang="en-GB"/>
              <a:t>.</a:t>
            </a:r>
          </a:p>
        </p:txBody>
      </p:sp>
      <p:sp>
        <p:nvSpPr>
          <p:cNvPr id="13" name="Slide number">
            <a:extLst>
              <a:ext uri="{FF2B5EF4-FFF2-40B4-BE49-F238E27FC236}">
                <a16:creationId xmlns:a16="http://schemas.microsoft.com/office/drawing/2014/main" id="{9ED6CA23-1485-48CA-9483-3C805EE2371E}"/>
              </a:ext>
            </a:extLst>
          </p:cNvPr>
          <p:cNvSpPr>
            <a:spLocks noGrp="1"/>
          </p:cNvSpPr>
          <p:nvPr>
            <p:ph type="body" sz="quarter" idx="18" hasCustomPrompt="1"/>
          </p:nvPr>
        </p:nvSpPr>
        <p:spPr>
          <a:xfrm>
            <a:off x="9378938" y="6491731"/>
            <a:ext cx="255600"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fld id="{24C8C45C-947F-4981-8B3F-4F32E973C901}" type="slidenum">
              <a:rPr lang="en-GB" sz="650" smtClean="0">
                <a:solidFill>
                  <a:srgbClr val="1F2023"/>
                </a:solidFill>
              </a:rPr>
              <a:pPr/>
              <a:t>‹#›</a:t>
            </a:fld>
            <a:endParaRPr lang="en-GB" sz="650">
              <a:solidFill>
                <a:srgbClr val="1F2023"/>
              </a:solidFill>
            </a:endParaRPr>
          </a:p>
        </p:txBody>
      </p:sp>
    </p:spTree>
    <p:extLst>
      <p:ext uri="{BB962C8B-B14F-4D97-AF65-F5344CB8AC3E}">
        <p14:creationId xmlns:p14="http://schemas.microsoft.com/office/powerpoint/2010/main" val="421440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Background Light Text">
    <p:spTree>
      <p:nvGrpSpPr>
        <p:cNvPr id="1" name=""/>
        <p:cNvGrpSpPr/>
        <p:nvPr/>
      </p:nvGrpSpPr>
      <p:grpSpPr>
        <a:xfrm>
          <a:off x="0" y="0"/>
          <a:ext cx="0" cy="0"/>
          <a:chOff x="0" y="0"/>
          <a:chExt cx="0" cy="0"/>
        </a:xfrm>
      </p:grpSpPr>
      <p:sp>
        <p:nvSpPr>
          <p:cNvPr id="8" name="Picture">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906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en-US"/>
              <a:t>Click icon to add picture</a:t>
            </a:r>
            <a:endParaRPr lang="en-GB"/>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272256" y="302941"/>
            <a:ext cx="8855590" cy="1912010"/>
          </a:xfrm>
          <a:noFill/>
        </p:spPr>
        <p:txBody>
          <a:bodyPr vert="horz" lIns="0" tIns="0" rIns="0"/>
          <a:lstStyle>
            <a:lvl1pPr>
              <a:lnSpc>
                <a:spcPct val="80000"/>
              </a:lnSpc>
              <a:defRPr sz="7200" cap="all" baseline="0">
                <a:solidFill>
                  <a:schemeClr val="bg1"/>
                </a:solidFill>
                <a:latin typeface="Impact" panose="020B0806030902050204" pitchFamily="34" charset="0"/>
              </a:defRPr>
            </a:lvl1pPr>
          </a:lstStyle>
          <a:p>
            <a:r>
              <a:rPr lang="en-GB"/>
              <a:t>CLICK TO EDIT MASTER TITLE STYLE</a:t>
            </a:r>
          </a:p>
        </p:txBody>
      </p:sp>
      <p:sp>
        <p:nvSpPr>
          <p:cNvPr id="9" name="Notes">
            <a:extLst>
              <a:ext uri="{FF2B5EF4-FFF2-40B4-BE49-F238E27FC236}">
                <a16:creationId xmlns:a16="http://schemas.microsoft.com/office/drawing/2014/main" id="{B0E5CE65-C7F7-444F-9BE6-F6063981EECD}"/>
              </a:ext>
            </a:extLst>
          </p:cNvPr>
          <p:cNvSpPr>
            <a:spLocks noGrp="1"/>
          </p:cNvSpPr>
          <p:nvPr>
            <p:ph type="body" sz="quarter" idx="13" hasCustomPrompt="1"/>
          </p:nvPr>
        </p:nvSpPr>
        <p:spPr>
          <a:xfrm>
            <a:off x="269874" y="6491543"/>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bg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0" name="Tracker">
            <a:extLst>
              <a:ext uri="{FF2B5EF4-FFF2-40B4-BE49-F238E27FC236}">
                <a16:creationId xmlns:a16="http://schemas.microsoft.com/office/drawing/2014/main" id="{1376889A-2280-45BA-B6CA-E1265B8E6AD4}"/>
              </a:ext>
            </a:extLst>
          </p:cNvPr>
          <p:cNvSpPr>
            <a:spLocks noGrp="1"/>
          </p:cNvSpPr>
          <p:nvPr>
            <p:ph type="body" sz="quarter" idx="17" hasCustomPrompt="1"/>
          </p:nvPr>
        </p:nvSpPr>
        <p:spPr>
          <a:xfrm>
            <a:off x="7221537" y="6491731"/>
            <a:ext cx="1966707" cy="106116"/>
          </a:xfrm>
        </p:spPr>
        <p:txBody>
          <a:bodyPr rIns="0" anchor="b"/>
          <a:lstStyle>
            <a:lvl1pPr algn="r">
              <a:spcAft>
                <a:spcPts val="0"/>
              </a:spcAft>
              <a:defRPr sz="650">
                <a:solidFill>
                  <a:schemeClr val="bg1"/>
                </a:solidFill>
              </a:defRPr>
            </a:lvl1pPr>
            <a:lvl2pPr>
              <a:defRPr sz="650"/>
            </a:lvl2pPr>
            <a:lvl3pPr>
              <a:defRPr sz="650"/>
            </a:lvl3pPr>
            <a:lvl4pPr>
              <a:defRPr sz="650"/>
            </a:lvl4pPr>
            <a:lvl5pPr>
              <a:defRPr sz="650"/>
            </a:lvl5pPr>
          </a:lstStyle>
          <a:p>
            <a:pPr lvl="0"/>
            <a:r>
              <a:rPr lang="en-GB"/>
              <a:t>Tracker</a:t>
            </a:r>
          </a:p>
        </p:txBody>
      </p:sp>
      <p:sp>
        <p:nvSpPr>
          <p:cNvPr id="11" name="Logo">
            <a:extLst>
              <a:ext uri="{FF2B5EF4-FFF2-40B4-BE49-F238E27FC236}">
                <a16:creationId xmlns:a16="http://schemas.microsoft.com/office/drawing/2014/main" id="{5A77E448-2BE3-48C5-ABC0-77F3894ECCFD}"/>
              </a:ext>
            </a:extLst>
          </p:cNvPr>
          <p:cNvSpPr>
            <a:spLocks noGrp="1"/>
          </p:cNvSpPr>
          <p:nvPr>
            <p:ph type="body" sz="quarter" idx="16" hasCustomPrompt="1"/>
          </p:nvPr>
        </p:nvSpPr>
        <p:spPr>
          <a:xfrm>
            <a:off x="9479736" y="303045"/>
            <a:ext cx="154800" cy="349200"/>
          </a:xfrm>
          <a:blipFill>
            <a:blip r:embed="rId2"/>
            <a:stretch>
              <a:fillRect/>
            </a:stretch>
          </a:blipFill>
        </p:spPr>
        <p:txBody>
          <a:bodyPr/>
          <a:lstStyle>
            <a:lvl1pPr>
              <a:defRPr sz="100">
                <a:noFill/>
              </a:defRPr>
            </a:lvl1pPr>
          </a:lstStyle>
          <a:p>
            <a:pPr lvl="0"/>
            <a:r>
              <a:rPr lang="en-GB"/>
              <a:t>.</a:t>
            </a:r>
          </a:p>
        </p:txBody>
      </p:sp>
      <p:sp>
        <p:nvSpPr>
          <p:cNvPr id="14" name="Slide number">
            <a:extLst>
              <a:ext uri="{FF2B5EF4-FFF2-40B4-BE49-F238E27FC236}">
                <a16:creationId xmlns:a16="http://schemas.microsoft.com/office/drawing/2014/main" id="{906E5A70-3AF9-453D-9010-464304248DD1}"/>
              </a:ext>
            </a:extLst>
          </p:cNvPr>
          <p:cNvSpPr>
            <a:spLocks noGrp="1"/>
          </p:cNvSpPr>
          <p:nvPr>
            <p:ph type="body" sz="quarter" idx="19" hasCustomPrompt="1"/>
          </p:nvPr>
        </p:nvSpPr>
        <p:spPr>
          <a:xfrm>
            <a:off x="9378938" y="6491731"/>
            <a:ext cx="255600" cy="106116"/>
          </a:xfrm>
        </p:spPr>
        <p:txBody>
          <a:bodyPr rIns="0" anchor="b"/>
          <a:lstStyle>
            <a:lvl1pPr algn="r">
              <a:spcAft>
                <a:spcPts val="0"/>
              </a:spcAft>
              <a:defRPr sz="650">
                <a:solidFill>
                  <a:schemeClr val="bg1"/>
                </a:solidFill>
              </a:defRPr>
            </a:lvl1pPr>
            <a:lvl2pPr>
              <a:defRPr sz="650"/>
            </a:lvl2pPr>
            <a:lvl3pPr>
              <a:defRPr sz="650"/>
            </a:lvl3pPr>
            <a:lvl4pPr>
              <a:defRPr sz="650"/>
            </a:lvl4pPr>
            <a:lvl5pPr>
              <a:defRPr sz="650"/>
            </a:lvl5pPr>
          </a:lstStyle>
          <a:p>
            <a:pPr lvl="0"/>
            <a:r>
              <a:rPr lang="en-GB"/>
              <a:t>‹#›</a:t>
            </a:r>
          </a:p>
        </p:txBody>
      </p:sp>
    </p:spTree>
    <p:extLst>
      <p:ext uri="{BB962C8B-B14F-4D97-AF65-F5344CB8AC3E}">
        <p14:creationId xmlns:p14="http://schemas.microsoft.com/office/powerpoint/2010/main" val="159196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ation Dark">
    <p:spTree>
      <p:nvGrpSpPr>
        <p:cNvPr id="1" name=""/>
        <p:cNvGrpSpPr/>
        <p:nvPr/>
      </p:nvGrpSpPr>
      <p:grpSpPr>
        <a:xfrm>
          <a:off x="0" y="0"/>
          <a:ext cx="0" cy="0"/>
          <a:chOff x="0" y="0"/>
          <a:chExt cx="0" cy="0"/>
        </a:xfrm>
      </p:grpSpPr>
      <p:sp>
        <p:nvSpPr>
          <p:cNvPr id="12" name="Colour block 1">
            <a:extLst>
              <a:ext uri="{FF2B5EF4-FFF2-40B4-BE49-F238E27FC236}">
                <a16:creationId xmlns:a16="http://schemas.microsoft.com/office/drawing/2014/main" id="{7E631477-0A36-48AD-8A86-6B33026F533B}"/>
              </a:ext>
            </a:extLst>
          </p:cNvPr>
          <p:cNvSpPr/>
          <p:nvPr userDrawn="1"/>
        </p:nvSpPr>
        <p:spPr>
          <a:xfrm>
            <a:off x="0" y="269875"/>
            <a:ext cx="6581868" cy="5148792"/>
          </a:xfrm>
          <a:prstGeom prst="rect">
            <a:avLst/>
          </a:prstGeom>
          <a:solidFill>
            <a:srgbClr val="303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3" name="Text content">
            <a:extLst>
              <a:ext uri="{FF2B5EF4-FFF2-40B4-BE49-F238E27FC236}">
                <a16:creationId xmlns:a16="http://schemas.microsoft.com/office/drawing/2014/main" id="{38767680-C6C8-4860-8F6A-B5FF8B3542D0}"/>
              </a:ext>
            </a:extLst>
          </p:cNvPr>
          <p:cNvSpPr>
            <a:spLocks noGrp="1"/>
          </p:cNvSpPr>
          <p:nvPr>
            <p:ph type="body" sz="quarter" idx="16" hasCustomPrompt="1"/>
          </p:nvPr>
        </p:nvSpPr>
        <p:spPr>
          <a:xfrm>
            <a:off x="271247" y="2092693"/>
            <a:ext cx="4551577" cy="2249014"/>
          </a:xfrm>
        </p:spPr>
        <p:txBody>
          <a:bodyPr/>
          <a:lstStyle>
            <a:lvl1pPr marL="0" indent="0">
              <a:spcBef>
                <a:spcPts val="0"/>
              </a:spcBef>
              <a:buFont typeface="Arial" panose="020B0604020202020204" pitchFamily="34" charset="0"/>
              <a:buChar char="​"/>
              <a:defRPr sz="2800">
                <a:solidFill>
                  <a:srgbClr val="F8F5E7"/>
                </a:solidFill>
              </a:defRPr>
            </a:lvl1pPr>
          </a:lstStyle>
          <a:p>
            <a:pPr lvl="0"/>
            <a:r>
              <a:rPr lang="en-GB"/>
              <a:t>Edit Master text styles</a:t>
            </a:r>
          </a:p>
        </p:txBody>
      </p:sp>
      <p:sp>
        <p:nvSpPr>
          <p:cNvPr id="18" name="Name">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69875" y="4611581"/>
            <a:ext cx="4551577" cy="555412"/>
          </a:xfrm>
        </p:spPr>
        <p:txBody>
          <a:bodyPr anchor="b" anchorCtr="0"/>
          <a:lstStyle>
            <a:lvl1pPr marL="0" indent="0">
              <a:spcBef>
                <a:spcPts val="0"/>
              </a:spcBef>
              <a:buFont typeface="Arial" panose="020B0604020202020204" pitchFamily="34" charset="0"/>
              <a:buChar char="​"/>
              <a:defRPr sz="1100">
                <a:solidFill>
                  <a:srgbClr val="F8F5E7"/>
                </a:solidFill>
              </a:defRPr>
            </a:lvl1pPr>
          </a:lstStyle>
          <a:p>
            <a:pPr lvl="0"/>
            <a:r>
              <a:rPr lang="en-GB"/>
              <a:t>Name</a:t>
            </a:r>
          </a:p>
        </p:txBody>
      </p:sp>
      <p:sp>
        <p:nvSpPr>
          <p:cNvPr id="4" name="Colour block 2">
            <a:extLst>
              <a:ext uri="{FF2B5EF4-FFF2-40B4-BE49-F238E27FC236}">
                <a16:creationId xmlns:a16="http://schemas.microsoft.com/office/drawing/2014/main" id="{2B2C56D2-784D-4432-A938-43418D6C4B85}"/>
              </a:ext>
            </a:extLst>
          </p:cNvPr>
          <p:cNvSpPr/>
          <p:nvPr userDrawn="1"/>
        </p:nvSpPr>
        <p:spPr>
          <a:xfrm>
            <a:off x="0" y="0"/>
            <a:ext cx="4816475" cy="1296785"/>
          </a:xfrm>
          <a:prstGeom prst="rect">
            <a:avLst/>
          </a:prstGeom>
          <a:solidFill>
            <a:srgbClr val="40615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buNone/>
            </a:pPr>
            <a:endParaRPr lang="en-GB" sz="1000" noProof="0">
              <a:solidFill>
                <a:srgbClr val="2F363B"/>
              </a:solidFill>
            </a:endParaRPr>
          </a:p>
        </p:txBody>
      </p:sp>
      <p:sp>
        <p:nvSpPr>
          <p:cNvPr id="3" name="Quote">
            <a:extLst>
              <a:ext uri="{FF2B5EF4-FFF2-40B4-BE49-F238E27FC236}">
                <a16:creationId xmlns:a16="http://schemas.microsoft.com/office/drawing/2014/main" id="{8EE78B38-E2FC-4D90-ABDF-B7665592C118}"/>
              </a:ext>
            </a:extLst>
          </p:cNvPr>
          <p:cNvSpPr txBox="1"/>
          <p:nvPr userDrawn="1"/>
        </p:nvSpPr>
        <p:spPr>
          <a:xfrm>
            <a:off x="246008" y="490564"/>
            <a:ext cx="2026391" cy="1329595"/>
          </a:xfrm>
          <a:prstGeom prst="rect">
            <a:avLst/>
          </a:prstGeom>
          <a:noFill/>
          <a:ln w="6350">
            <a:noFill/>
            <a:prstDash val="sysDash"/>
          </a:ln>
        </p:spPr>
        <p:txBody>
          <a:bodyPr wrap="square" lIns="0" tIns="0" rIns="0" bIns="0" rtlCol="0">
            <a:spAutoFit/>
          </a:bodyPr>
          <a:lstStyle/>
          <a:p>
            <a:pPr algn="l">
              <a:buFontTx/>
              <a:buNone/>
            </a:pPr>
            <a:r>
              <a:rPr lang="en-GB" sz="9600">
                <a:solidFill>
                  <a:srgbClr val="F8F5E7"/>
                </a:solidFill>
                <a:latin typeface="Impact" panose="020B0806030902050204" pitchFamily="34" charset="0"/>
              </a:rPr>
              <a:t>«</a:t>
            </a:r>
          </a:p>
        </p:txBody>
      </p:sp>
      <p:sp>
        <p:nvSpPr>
          <p:cNvPr id="15" name="Notes">
            <a:extLst>
              <a:ext uri="{FF2B5EF4-FFF2-40B4-BE49-F238E27FC236}">
                <a16:creationId xmlns:a16="http://schemas.microsoft.com/office/drawing/2014/main" id="{824DB0EB-3C91-4347-ADB0-707482766440}"/>
              </a:ext>
            </a:extLst>
          </p:cNvPr>
          <p:cNvSpPr>
            <a:spLocks noGrp="1"/>
          </p:cNvSpPr>
          <p:nvPr>
            <p:ph type="body" sz="quarter" idx="13" hasCustomPrompt="1"/>
          </p:nvPr>
        </p:nvSpPr>
        <p:spPr>
          <a:xfrm>
            <a:off x="269874" y="6491543"/>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9" name="Tracker">
            <a:extLst>
              <a:ext uri="{FF2B5EF4-FFF2-40B4-BE49-F238E27FC236}">
                <a16:creationId xmlns:a16="http://schemas.microsoft.com/office/drawing/2014/main" id="{6E75C8EB-6388-4918-95A6-C1AD08C956C5}"/>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9974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ation Light">
    <p:spTree>
      <p:nvGrpSpPr>
        <p:cNvPr id="1" name=""/>
        <p:cNvGrpSpPr/>
        <p:nvPr/>
      </p:nvGrpSpPr>
      <p:grpSpPr>
        <a:xfrm>
          <a:off x="0" y="0"/>
          <a:ext cx="0" cy="0"/>
          <a:chOff x="0" y="0"/>
          <a:chExt cx="0" cy="0"/>
        </a:xfrm>
      </p:grpSpPr>
      <p:sp>
        <p:nvSpPr>
          <p:cNvPr id="13" name="Text content">
            <a:extLst>
              <a:ext uri="{FF2B5EF4-FFF2-40B4-BE49-F238E27FC236}">
                <a16:creationId xmlns:a16="http://schemas.microsoft.com/office/drawing/2014/main" id="{38767680-C6C8-4860-8F6A-B5FF8B3542D0}"/>
              </a:ext>
            </a:extLst>
          </p:cNvPr>
          <p:cNvSpPr>
            <a:spLocks noGrp="1"/>
          </p:cNvSpPr>
          <p:nvPr>
            <p:ph type="body" sz="quarter" idx="16" hasCustomPrompt="1"/>
          </p:nvPr>
        </p:nvSpPr>
        <p:spPr>
          <a:xfrm>
            <a:off x="271247" y="2092693"/>
            <a:ext cx="4551577" cy="2249014"/>
          </a:xfrm>
        </p:spPr>
        <p:txBody>
          <a:bodyPr/>
          <a:lstStyle>
            <a:lvl1pPr marL="0" indent="0">
              <a:spcBef>
                <a:spcPts val="0"/>
              </a:spcBef>
              <a:buFont typeface="Arial" panose="020B0604020202020204" pitchFamily="34" charset="0"/>
              <a:buChar char="​"/>
              <a:defRPr sz="2800">
                <a:solidFill>
                  <a:srgbClr val="30373B"/>
                </a:solidFill>
              </a:defRPr>
            </a:lvl1pPr>
          </a:lstStyle>
          <a:p>
            <a:pPr lvl="0"/>
            <a:r>
              <a:rPr lang="en-GB"/>
              <a:t>Edit Master text styles</a:t>
            </a:r>
          </a:p>
        </p:txBody>
      </p:sp>
      <p:sp>
        <p:nvSpPr>
          <p:cNvPr id="18" name="Name">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69875" y="4611581"/>
            <a:ext cx="4551577" cy="555412"/>
          </a:xfrm>
        </p:spPr>
        <p:txBody>
          <a:bodyPr anchor="b" anchorCtr="0"/>
          <a:lstStyle>
            <a:lvl1pPr marL="0" indent="0">
              <a:spcBef>
                <a:spcPts val="0"/>
              </a:spcBef>
              <a:buFont typeface="Arial" panose="020B0604020202020204" pitchFamily="34" charset="0"/>
              <a:buChar char="​"/>
              <a:defRPr sz="1100">
                <a:solidFill>
                  <a:srgbClr val="30373B"/>
                </a:solidFill>
              </a:defRPr>
            </a:lvl1pPr>
          </a:lstStyle>
          <a:p>
            <a:pPr lvl="0"/>
            <a:r>
              <a:rPr lang="en-GB"/>
              <a:t>Name</a:t>
            </a:r>
          </a:p>
        </p:txBody>
      </p:sp>
      <p:sp>
        <p:nvSpPr>
          <p:cNvPr id="4" name="Colour block">
            <a:extLst>
              <a:ext uri="{FF2B5EF4-FFF2-40B4-BE49-F238E27FC236}">
                <a16:creationId xmlns:a16="http://schemas.microsoft.com/office/drawing/2014/main" id="{2B2C56D2-784D-4432-A938-43418D6C4B85}"/>
              </a:ext>
            </a:extLst>
          </p:cNvPr>
          <p:cNvSpPr/>
          <p:nvPr userDrawn="1"/>
        </p:nvSpPr>
        <p:spPr>
          <a:xfrm>
            <a:off x="0" y="0"/>
            <a:ext cx="4816475" cy="129678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buNone/>
            </a:pPr>
            <a:endParaRPr lang="en-GB" sz="1000" noProof="0">
              <a:solidFill>
                <a:srgbClr val="2F363B"/>
              </a:solidFill>
            </a:endParaRPr>
          </a:p>
        </p:txBody>
      </p:sp>
      <p:sp>
        <p:nvSpPr>
          <p:cNvPr id="3" name="Quote">
            <a:extLst>
              <a:ext uri="{FF2B5EF4-FFF2-40B4-BE49-F238E27FC236}">
                <a16:creationId xmlns:a16="http://schemas.microsoft.com/office/drawing/2014/main" id="{8EE78B38-E2FC-4D90-ABDF-B7665592C118}"/>
              </a:ext>
            </a:extLst>
          </p:cNvPr>
          <p:cNvSpPr txBox="1"/>
          <p:nvPr userDrawn="1"/>
        </p:nvSpPr>
        <p:spPr>
          <a:xfrm>
            <a:off x="246008" y="490564"/>
            <a:ext cx="2026391" cy="1329595"/>
          </a:xfrm>
          <a:prstGeom prst="rect">
            <a:avLst/>
          </a:prstGeom>
          <a:noFill/>
          <a:ln w="6350">
            <a:noFill/>
            <a:prstDash val="sysDash"/>
          </a:ln>
        </p:spPr>
        <p:txBody>
          <a:bodyPr wrap="square" lIns="0" tIns="0" rIns="0" bIns="0" rtlCol="0">
            <a:spAutoFit/>
          </a:bodyPr>
          <a:lstStyle/>
          <a:p>
            <a:pPr algn="l">
              <a:buFontTx/>
              <a:buNone/>
            </a:pPr>
            <a:r>
              <a:rPr lang="en-GB" sz="9600">
                <a:solidFill>
                  <a:srgbClr val="30373B"/>
                </a:solidFill>
                <a:latin typeface="Impact" panose="020B0806030902050204" pitchFamily="34" charset="0"/>
              </a:rPr>
              <a:t>«</a:t>
            </a:r>
          </a:p>
        </p:txBody>
      </p:sp>
      <p:sp>
        <p:nvSpPr>
          <p:cNvPr id="11" name="Notes">
            <a:extLst>
              <a:ext uri="{FF2B5EF4-FFF2-40B4-BE49-F238E27FC236}">
                <a16:creationId xmlns:a16="http://schemas.microsoft.com/office/drawing/2014/main" id="{1844B6E8-8E61-4F73-8ECC-3DB3BF126AC8}"/>
              </a:ext>
            </a:extLst>
          </p:cNvPr>
          <p:cNvSpPr>
            <a:spLocks noGrp="1"/>
          </p:cNvSpPr>
          <p:nvPr>
            <p:ph type="body" sz="quarter" idx="13" hasCustomPrompt="1"/>
          </p:nvPr>
        </p:nvSpPr>
        <p:spPr>
          <a:xfrm>
            <a:off x="269874" y="6491543"/>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A9B3A556-9B60-4020-B374-84A854724D1B}"/>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42372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Image A">
    <p:spTree>
      <p:nvGrpSpPr>
        <p:cNvPr id="1" name=""/>
        <p:cNvGrpSpPr/>
        <p:nvPr/>
      </p:nvGrpSpPr>
      <p:grpSpPr>
        <a:xfrm>
          <a:off x="0" y="0"/>
          <a:ext cx="0" cy="0"/>
          <a:chOff x="0" y="0"/>
          <a:chExt cx="0" cy="0"/>
        </a:xfrm>
      </p:grpSpPr>
      <p:grpSp>
        <p:nvGrpSpPr>
          <p:cNvPr id="2" name="Background colour blocks">
            <a:extLst>
              <a:ext uri="{FF2B5EF4-FFF2-40B4-BE49-F238E27FC236}">
                <a16:creationId xmlns:a16="http://schemas.microsoft.com/office/drawing/2014/main" id="{BBD247CD-F023-42A1-9AD8-148991E7F44F}"/>
              </a:ext>
            </a:extLst>
          </p:cNvPr>
          <p:cNvGrpSpPr/>
          <p:nvPr userDrawn="1"/>
        </p:nvGrpSpPr>
        <p:grpSpPr>
          <a:xfrm>
            <a:off x="0" y="0"/>
            <a:ext cx="9906000" cy="6858000"/>
            <a:chOff x="0" y="0"/>
            <a:chExt cx="9906000" cy="6858000"/>
          </a:xfrm>
        </p:grpSpPr>
        <p:sp>
          <p:nvSpPr>
            <p:cNvPr id="24" name="Grey">
              <a:extLst>
                <a:ext uri="{FF2B5EF4-FFF2-40B4-BE49-F238E27FC236}">
                  <a16:creationId xmlns:a16="http://schemas.microsoft.com/office/drawing/2014/main" id="{468EEBBF-213D-4D68-A9CE-7CE68854BF37}"/>
                </a:ext>
              </a:extLst>
            </p:cNvPr>
            <p:cNvSpPr/>
            <p:nvPr userDrawn="1"/>
          </p:nvSpPr>
          <p:spPr>
            <a:xfrm>
              <a:off x="2767292" y="0"/>
              <a:ext cx="7138708" cy="6858000"/>
            </a:xfrm>
            <a:prstGeom prst="rect">
              <a:avLst/>
            </a:prstGeom>
            <a:solidFill>
              <a:srgbClr val="E2DED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FFFFFF"/>
                </a:solidFill>
                <a:effectLst/>
                <a:uLnTx/>
                <a:uFillTx/>
                <a:latin typeface="Arial"/>
                <a:ea typeface="+mn-ea"/>
                <a:cs typeface="+mn-cs"/>
              </a:endParaRPr>
            </a:p>
          </p:txBody>
        </p:sp>
        <p:sp>
          <p:nvSpPr>
            <p:cNvPr id="17" name="Black">
              <a:extLst>
                <a:ext uri="{FF2B5EF4-FFF2-40B4-BE49-F238E27FC236}">
                  <a16:creationId xmlns:a16="http://schemas.microsoft.com/office/drawing/2014/main" id="{98929087-DD0C-46A9-A049-79CBB8A516FF}"/>
                </a:ext>
              </a:extLst>
            </p:cNvPr>
            <p:cNvSpPr/>
            <p:nvPr userDrawn="1"/>
          </p:nvSpPr>
          <p:spPr>
            <a:xfrm>
              <a:off x="0" y="1192710"/>
              <a:ext cx="8554911" cy="566529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en-GB" sz="1000" noProof="0">
                <a:solidFill>
                  <a:srgbClr val="2F363B"/>
                </a:solidFill>
              </a:endParaRPr>
            </a:p>
          </p:txBody>
        </p:sp>
      </p:grpSp>
      <p:sp>
        <p:nvSpPr>
          <p:cNvPr id="19" name="Title">
            <a:extLst>
              <a:ext uri="{FF2B5EF4-FFF2-40B4-BE49-F238E27FC236}">
                <a16:creationId xmlns:a16="http://schemas.microsoft.com/office/drawing/2014/main" id="{38211AF6-4BE0-4A99-8CF3-C8D588F5D8BD}"/>
              </a:ext>
            </a:extLst>
          </p:cNvPr>
          <p:cNvSpPr>
            <a:spLocks noGrp="1"/>
          </p:cNvSpPr>
          <p:nvPr>
            <p:ph type="ctrTitle"/>
          </p:nvPr>
        </p:nvSpPr>
        <p:spPr>
          <a:xfrm>
            <a:off x="272256" y="2114551"/>
            <a:ext cx="4818063" cy="2976366"/>
          </a:xfrm>
        </p:spPr>
        <p:txBody>
          <a:bodyPr vert="horz" anchor="t" anchorCtr="0">
            <a:noAutofit/>
          </a:bodyPr>
          <a:lstStyle>
            <a:lvl1pPr algn="l">
              <a:lnSpc>
                <a:spcPct val="83000"/>
              </a:lnSpc>
              <a:defRPr sz="6000" cap="all" baseline="0">
                <a:solidFill>
                  <a:srgbClr val="F8F5E7"/>
                </a:solidFill>
                <a:latin typeface="Impact" panose="020B0806030902050204" pitchFamily="34" charset="0"/>
              </a:defRPr>
            </a:lvl1pPr>
          </a:lstStyle>
          <a:p>
            <a:r>
              <a:rPr lang="en-US"/>
              <a:t>Click to edit Master title style</a:t>
            </a:r>
            <a:endParaRPr lang="en-GB"/>
          </a:p>
        </p:txBody>
      </p:sp>
      <p:sp>
        <p:nvSpPr>
          <p:cNvPr id="18" name="Subtitle">
            <a:extLst>
              <a:ext uri="{FF2B5EF4-FFF2-40B4-BE49-F238E27FC236}">
                <a16:creationId xmlns:a16="http://schemas.microsoft.com/office/drawing/2014/main" id="{28390A0B-0148-4E4A-997F-3FF133263F31}"/>
              </a:ext>
            </a:extLst>
          </p:cNvPr>
          <p:cNvSpPr>
            <a:spLocks noGrp="1"/>
          </p:cNvSpPr>
          <p:nvPr>
            <p:ph type="subTitle" idx="1"/>
          </p:nvPr>
        </p:nvSpPr>
        <p:spPr>
          <a:xfrm>
            <a:off x="269875" y="5359204"/>
            <a:ext cx="2816225" cy="970159"/>
          </a:xfrm>
        </p:spPr>
        <p:txBody>
          <a:bodyPr rIns="360000" anchor="t" anchorCtr="0"/>
          <a:lstStyle>
            <a:lvl1pPr marL="0" indent="0" algn="l">
              <a:lnSpc>
                <a:spcPct val="90000"/>
              </a:lnSpc>
              <a:spcBef>
                <a:spcPts val="0"/>
              </a:spcBef>
              <a:buFont typeface="Arial" panose="020B0604020202020204" pitchFamily="34" charset="0"/>
              <a:buChar char="​"/>
              <a:defRPr sz="1100">
                <a:solidFill>
                  <a:srgbClr val="F8F5E7"/>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US"/>
              <a:t>Click to edit Master subtitle style</a:t>
            </a:r>
            <a:endParaRPr lang="en-GB"/>
          </a:p>
        </p:txBody>
      </p:sp>
      <p:sp>
        <p:nvSpPr>
          <p:cNvPr id="16" name="Date">
            <a:extLst>
              <a:ext uri="{FF2B5EF4-FFF2-40B4-BE49-F238E27FC236}">
                <a16:creationId xmlns:a16="http://schemas.microsoft.com/office/drawing/2014/main" id="{F7B5D086-4293-476B-B8D0-257542C6E7E9}"/>
              </a:ext>
            </a:extLst>
          </p:cNvPr>
          <p:cNvSpPr>
            <a:spLocks noGrp="1"/>
          </p:cNvSpPr>
          <p:nvPr>
            <p:ph type="body" sz="quarter" idx="13" hasCustomPrompt="1"/>
          </p:nvPr>
        </p:nvSpPr>
        <p:spPr>
          <a:xfrm>
            <a:off x="269875" y="6329363"/>
            <a:ext cx="2816226" cy="268287"/>
          </a:xfrm>
        </p:spPr>
        <p:txBody>
          <a:bodyPr rIns="0" anchor="b" anchorCtr="0"/>
          <a:lstStyle>
            <a:lvl1pPr>
              <a:lnSpc>
                <a:spcPct val="90000"/>
              </a:lnSpc>
              <a:defRPr sz="900">
                <a:solidFill>
                  <a:srgbClr val="F8F5E7"/>
                </a:solidFill>
              </a:defRPr>
            </a:lvl1pPr>
            <a:lvl5pPr>
              <a:defRPr/>
            </a:lvl5pPr>
          </a:lstStyle>
          <a:p>
            <a:pPr lvl="0"/>
            <a:r>
              <a:rPr lang="en-GB"/>
              <a:t>Date</a:t>
            </a:r>
          </a:p>
        </p:txBody>
      </p:sp>
      <p:sp>
        <p:nvSpPr>
          <p:cNvPr id="13" name="Picture Placeholder">
            <a:extLst>
              <a:ext uri="{FF2B5EF4-FFF2-40B4-BE49-F238E27FC236}">
                <a16:creationId xmlns:a16="http://schemas.microsoft.com/office/drawing/2014/main" id="{32CBD7CE-0C91-4290-9606-0942684C4652}"/>
              </a:ext>
            </a:extLst>
          </p:cNvPr>
          <p:cNvSpPr>
            <a:spLocks noGrp="1"/>
          </p:cNvSpPr>
          <p:nvPr>
            <p:ph type="pic" sz="quarter" idx="15"/>
          </p:nvPr>
        </p:nvSpPr>
        <p:spPr>
          <a:xfrm>
            <a:off x="5583518" y="2114551"/>
            <a:ext cx="3493808" cy="4743450"/>
          </a:xfrm>
          <a:solidFill>
            <a:srgbClr val="F3F2F0"/>
          </a:solidFill>
        </p:spPr>
        <p:txBody>
          <a:bodyPr vert="horz" lIns="0" tIns="0" rIns="0" bIns="0" rtlCol="0" anchor="ctr" anchorCtr="0">
            <a:noAutofit/>
          </a:bodyPr>
          <a:lstStyle>
            <a:lvl1pPr algn="ctr">
              <a:defRPr lang="da-DK" dirty="0"/>
            </a:lvl1pPr>
          </a:lstStyle>
          <a:p>
            <a:pPr lvl="0" algn="ctr">
              <a:buNone/>
            </a:pPr>
            <a:r>
              <a:rPr lang="en-US"/>
              <a:t>Click icon to add picture</a:t>
            </a:r>
            <a:endParaRPr lang="en-GB"/>
          </a:p>
        </p:txBody>
      </p:sp>
      <p:sp>
        <p:nvSpPr>
          <p:cNvPr id="12" name="Logotype">
            <a:extLst>
              <a:ext uri="{FF2B5EF4-FFF2-40B4-BE49-F238E27FC236}">
                <a16:creationId xmlns:a16="http://schemas.microsoft.com/office/drawing/2014/main" id="{C4CB8047-8AE5-4556-9F42-1F69C5AB3EC2}"/>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t> </a:t>
            </a:r>
          </a:p>
        </p:txBody>
      </p:sp>
    </p:spTree>
    <p:extLst>
      <p:ext uri="{BB962C8B-B14F-4D97-AF65-F5344CB8AC3E}">
        <p14:creationId xmlns:p14="http://schemas.microsoft.com/office/powerpoint/2010/main" val="28367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Notes">
            <a:extLst>
              <a:ext uri="{FF2B5EF4-FFF2-40B4-BE49-F238E27FC236}">
                <a16:creationId xmlns:a16="http://schemas.microsoft.com/office/drawing/2014/main" id="{8D6D355F-17E4-46C1-8D5B-B53A3E5021ED}"/>
              </a:ext>
            </a:extLst>
          </p:cNvPr>
          <p:cNvSpPr>
            <a:spLocks noGrp="1"/>
          </p:cNvSpPr>
          <p:nvPr>
            <p:ph type="body" sz="quarter" idx="13" hasCustomPrompt="1"/>
          </p:nvPr>
        </p:nvSpPr>
        <p:spPr>
          <a:xfrm>
            <a:off x="269874" y="6491543"/>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4" name="Tracker">
            <a:extLst>
              <a:ext uri="{FF2B5EF4-FFF2-40B4-BE49-F238E27FC236}">
                <a16:creationId xmlns:a16="http://schemas.microsoft.com/office/drawing/2014/main" id="{878887BB-DE22-4FAA-A581-6EF1170040A7}"/>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284394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Grid">
    <p:spTree>
      <p:nvGrpSpPr>
        <p:cNvPr id="1" name=""/>
        <p:cNvGrpSpPr/>
        <p:nvPr/>
      </p:nvGrpSpPr>
      <p:grpSpPr>
        <a:xfrm>
          <a:off x="0" y="0"/>
          <a:ext cx="0" cy="0"/>
          <a:chOff x="0" y="0"/>
          <a:chExt cx="0" cy="0"/>
        </a:xfrm>
      </p:grpSpPr>
      <p:sp>
        <p:nvSpPr>
          <p:cNvPr id="7" name="Grid">
            <a:extLst>
              <a:ext uri="{FF2B5EF4-FFF2-40B4-BE49-F238E27FC236}">
                <a16:creationId xmlns:a16="http://schemas.microsoft.com/office/drawing/2014/main" id="{14CC84DE-7E96-42BC-842C-0FB1DFA971FA}"/>
              </a:ext>
            </a:extLst>
          </p:cNvPr>
          <p:cNvSpPr/>
          <p:nvPr userDrawn="1"/>
        </p:nvSpPr>
        <p:spPr>
          <a:xfrm>
            <a:off x="269874" y="280735"/>
            <a:ext cx="9364663" cy="6327775"/>
          </a:xfrm>
          <a:custGeom>
            <a:avLst/>
            <a:gdLst>
              <a:gd name="connsiteX0" fmla="*/ 2157895 w 9586368"/>
              <a:gd name="connsiteY0" fmla="*/ 6461491 h 6479439"/>
              <a:gd name="connsiteX1" fmla="*/ 2167802 w 9586368"/>
              <a:gd name="connsiteY1" fmla="*/ 6461491 h 6479439"/>
              <a:gd name="connsiteX2" fmla="*/ 2171820 w 9586368"/>
              <a:gd name="connsiteY2" fmla="*/ 6465529 h 6479439"/>
              <a:gd name="connsiteX3" fmla="*/ 2171820 w 9586368"/>
              <a:gd name="connsiteY3" fmla="*/ 6475400 h 6479439"/>
              <a:gd name="connsiteX4" fmla="*/ 2167802 w 9586368"/>
              <a:gd name="connsiteY4" fmla="*/ 6479439 h 6479439"/>
              <a:gd name="connsiteX5" fmla="*/ 2157895 w 9586368"/>
              <a:gd name="connsiteY5" fmla="*/ 6479439 h 6479439"/>
              <a:gd name="connsiteX6" fmla="*/ 2153871 w 9586368"/>
              <a:gd name="connsiteY6" fmla="*/ 6475400 h 6479439"/>
              <a:gd name="connsiteX7" fmla="*/ 2153871 w 9586368"/>
              <a:gd name="connsiteY7" fmla="*/ 6465529 h 6479439"/>
              <a:gd name="connsiteX8" fmla="*/ 1918509 w 9586368"/>
              <a:gd name="connsiteY8" fmla="*/ 6461491 h 6479439"/>
              <a:gd name="connsiteX9" fmla="*/ 1928419 w 9586368"/>
              <a:gd name="connsiteY9" fmla="*/ 6461491 h 6479439"/>
              <a:gd name="connsiteX10" fmla="*/ 1932437 w 9586368"/>
              <a:gd name="connsiteY10" fmla="*/ 6465529 h 6479439"/>
              <a:gd name="connsiteX11" fmla="*/ 1932437 w 9586368"/>
              <a:gd name="connsiteY11" fmla="*/ 6475400 h 6479439"/>
              <a:gd name="connsiteX12" fmla="*/ 1928419 w 9586368"/>
              <a:gd name="connsiteY12" fmla="*/ 6479439 h 6479439"/>
              <a:gd name="connsiteX13" fmla="*/ 1918509 w 9586368"/>
              <a:gd name="connsiteY13" fmla="*/ 6479439 h 6479439"/>
              <a:gd name="connsiteX14" fmla="*/ 1914490 w 9586368"/>
              <a:gd name="connsiteY14" fmla="*/ 6475400 h 6479439"/>
              <a:gd name="connsiteX15" fmla="*/ 1914490 w 9586368"/>
              <a:gd name="connsiteY15" fmla="*/ 6465529 h 6479439"/>
              <a:gd name="connsiteX16" fmla="*/ 1679200 w 9586368"/>
              <a:gd name="connsiteY16" fmla="*/ 6461491 h 6479439"/>
              <a:gd name="connsiteX17" fmla="*/ 1689110 w 9586368"/>
              <a:gd name="connsiteY17" fmla="*/ 6461491 h 6479439"/>
              <a:gd name="connsiteX18" fmla="*/ 1693128 w 9586368"/>
              <a:gd name="connsiteY18" fmla="*/ 6465529 h 6479439"/>
              <a:gd name="connsiteX19" fmla="*/ 1693128 w 9586368"/>
              <a:gd name="connsiteY19" fmla="*/ 6475400 h 6479439"/>
              <a:gd name="connsiteX20" fmla="*/ 1689110 w 9586368"/>
              <a:gd name="connsiteY20" fmla="*/ 6479439 h 6479439"/>
              <a:gd name="connsiteX21" fmla="*/ 1679200 w 9586368"/>
              <a:gd name="connsiteY21" fmla="*/ 6479439 h 6479439"/>
              <a:gd name="connsiteX22" fmla="*/ 1675180 w 9586368"/>
              <a:gd name="connsiteY22" fmla="*/ 6475400 h 6479439"/>
              <a:gd name="connsiteX23" fmla="*/ 1675180 w 9586368"/>
              <a:gd name="connsiteY23" fmla="*/ 6465529 h 6479439"/>
              <a:gd name="connsiteX24" fmla="*/ 1439885 w 9586368"/>
              <a:gd name="connsiteY24" fmla="*/ 6461491 h 6479439"/>
              <a:gd name="connsiteX25" fmla="*/ 1449795 w 9586368"/>
              <a:gd name="connsiteY25" fmla="*/ 6461491 h 6479439"/>
              <a:gd name="connsiteX26" fmla="*/ 1453813 w 9586368"/>
              <a:gd name="connsiteY26" fmla="*/ 6465529 h 6479439"/>
              <a:gd name="connsiteX27" fmla="*/ 1453813 w 9586368"/>
              <a:gd name="connsiteY27" fmla="*/ 6475400 h 6479439"/>
              <a:gd name="connsiteX28" fmla="*/ 1449795 w 9586368"/>
              <a:gd name="connsiteY28" fmla="*/ 6479439 h 6479439"/>
              <a:gd name="connsiteX29" fmla="*/ 1439885 w 9586368"/>
              <a:gd name="connsiteY29" fmla="*/ 6479439 h 6479439"/>
              <a:gd name="connsiteX30" fmla="*/ 1435865 w 9586368"/>
              <a:gd name="connsiteY30" fmla="*/ 6475400 h 6479439"/>
              <a:gd name="connsiteX31" fmla="*/ 1435865 w 9586368"/>
              <a:gd name="connsiteY31" fmla="*/ 6465529 h 6479439"/>
              <a:gd name="connsiteX32" fmla="*/ 1200570 w 9586368"/>
              <a:gd name="connsiteY32" fmla="*/ 6461491 h 6479439"/>
              <a:gd name="connsiteX33" fmla="*/ 1210480 w 9586368"/>
              <a:gd name="connsiteY33" fmla="*/ 6461491 h 6479439"/>
              <a:gd name="connsiteX34" fmla="*/ 1214498 w 9586368"/>
              <a:gd name="connsiteY34" fmla="*/ 6465529 h 6479439"/>
              <a:gd name="connsiteX35" fmla="*/ 1214498 w 9586368"/>
              <a:gd name="connsiteY35" fmla="*/ 6475400 h 6479439"/>
              <a:gd name="connsiteX36" fmla="*/ 1210480 w 9586368"/>
              <a:gd name="connsiteY36" fmla="*/ 6479439 h 6479439"/>
              <a:gd name="connsiteX37" fmla="*/ 1200570 w 9586368"/>
              <a:gd name="connsiteY37" fmla="*/ 6479439 h 6479439"/>
              <a:gd name="connsiteX38" fmla="*/ 1196551 w 9586368"/>
              <a:gd name="connsiteY38" fmla="*/ 6475400 h 6479439"/>
              <a:gd name="connsiteX39" fmla="*/ 1196551 w 9586368"/>
              <a:gd name="connsiteY39" fmla="*/ 6465529 h 6479439"/>
              <a:gd name="connsiteX40" fmla="*/ 961257 w 9586368"/>
              <a:gd name="connsiteY40" fmla="*/ 6461491 h 6479439"/>
              <a:gd name="connsiteX41" fmla="*/ 971167 w 9586368"/>
              <a:gd name="connsiteY41" fmla="*/ 6461491 h 6479439"/>
              <a:gd name="connsiteX42" fmla="*/ 975186 w 9586368"/>
              <a:gd name="connsiteY42" fmla="*/ 6465529 h 6479439"/>
              <a:gd name="connsiteX43" fmla="*/ 975186 w 9586368"/>
              <a:gd name="connsiteY43" fmla="*/ 6475400 h 6479439"/>
              <a:gd name="connsiteX44" fmla="*/ 971167 w 9586368"/>
              <a:gd name="connsiteY44" fmla="*/ 6479439 h 6479439"/>
              <a:gd name="connsiteX45" fmla="*/ 961257 w 9586368"/>
              <a:gd name="connsiteY45" fmla="*/ 6479439 h 6479439"/>
              <a:gd name="connsiteX46" fmla="*/ 957238 w 9586368"/>
              <a:gd name="connsiteY46" fmla="*/ 6475400 h 6479439"/>
              <a:gd name="connsiteX47" fmla="*/ 957238 w 9586368"/>
              <a:gd name="connsiteY47" fmla="*/ 6465529 h 6479439"/>
              <a:gd name="connsiteX48" fmla="*/ 9572438 w 9586368"/>
              <a:gd name="connsiteY48" fmla="*/ 6461440 h 6479439"/>
              <a:gd name="connsiteX49" fmla="*/ 9582349 w 9586368"/>
              <a:gd name="connsiteY49" fmla="*/ 6461440 h 6479439"/>
              <a:gd name="connsiteX50" fmla="*/ 9586368 w 9586368"/>
              <a:gd name="connsiteY50" fmla="*/ 6465478 h 6479439"/>
              <a:gd name="connsiteX51" fmla="*/ 9586368 w 9586368"/>
              <a:gd name="connsiteY51" fmla="*/ 6475349 h 6479439"/>
              <a:gd name="connsiteX52" fmla="*/ 9582349 w 9586368"/>
              <a:gd name="connsiteY52" fmla="*/ 6479388 h 6479439"/>
              <a:gd name="connsiteX53" fmla="*/ 9572438 w 9586368"/>
              <a:gd name="connsiteY53" fmla="*/ 6479388 h 6479439"/>
              <a:gd name="connsiteX54" fmla="*/ 9568419 w 9586368"/>
              <a:gd name="connsiteY54" fmla="*/ 6475349 h 6479439"/>
              <a:gd name="connsiteX55" fmla="*/ 9568419 w 9586368"/>
              <a:gd name="connsiteY55" fmla="*/ 6465478 h 6479439"/>
              <a:gd name="connsiteX56" fmla="*/ 9333125 w 9586368"/>
              <a:gd name="connsiteY56" fmla="*/ 6461440 h 6479439"/>
              <a:gd name="connsiteX57" fmla="*/ 9343036 w 9586368"/>
              <a:gd name="connsiteY57" fmla="*/ 6461440 h 6479439"/>
              <a:gd name="connsiteX58" fmla="*/ 9347055 w 9586368"/>
              <a:gd name="connsiteY58" fmla="*/ 6465478 h 6479439"/>
              <a:gd name="connsiteX59" fmla="*/ 9347055 w 9586368"/>
              <a:gd name="connsiteY59" fmla="*/ 6475349 h 6479439"/>
              <a:gd name="connsiteX60" fmla="*/ 9343036 w 9586368"/>
              <a:gd name="connsiteY60" fmla="*/ 6479388 h 6479439"/>
              <a:gd name="connsiteX61" fmla="*/ 9333125 w 9586368"/>
              <a:gd name="connsiteY61" fmla="*/ 6479388 h 6479439"/>
              <a:gd name="connsiteX62" fmla="*/ 9329106 w 9586368"/>
              <a:gd name="connsiteY62" fmla="*/ 6475349 h 6479439"/>
              <a:gd name="connsiteX63" fmla="*/ 9329106 w 9586368"/>
              <a:gd name="connsiteY63" fmla="*/ 6465478 h 6479439"/>
              <a:gd name="connsiteX64" fmla="*/ 9093811 w 9586368"/>
              <a:gd name="connsiteY64" fmla="*/ 6461440 h 6479439"/>
              <a:gd name="connsiteX65" fmla="*/ 9103722 w 9586368"/>
              <a:gd name="connsiteY65" fmla="*/ 6461440 h 6479439"/>
              <a:gd name="connsiteX66" fmla="*/ 9107741 w 9586368"/>
              <a:gd name="connsiteY66" fmla="*/ 6465478 h 6479439"/>
              <a:gd name="connsiteX67" fmla="*/ 9107741 w 9586368"/>
              <a:gd name="connsiteY67" fmla="*/ 6475349 h 6479439"/>
              <a:gd name="connsiteX68" fmla="*/ 9103722 w 9586368"/>
              <a:gd name="connsiteY68" fmla="*/ 6479388 h 6479439"/>
              <a:gd name="connsiteX69" fmla="*/ 9093811 w 9586368"/>
              <a:gd name="connsiteY69" fmla="*/ 6479388 h 6479439"/>
              <a:gd name="connsiteX70" fmla="*/ 9089792 w 9586368"/>
              <a:gd name="connsiteY70" fmla="*/ 6475349 h 6479439"/>
              <a:gd name="connsiteX71" fmla="*/ 9089792 w 9586368"/>
              <a:gd name="connsiteY71" fmla="*/ 6465478 h 6479439"/>
              <a:gd name="connsiteX72" fmla="*/ 8854496 w 9586368"/>
              <a:gd name="connsiteY72" fmla="*/ 6461440 h 6479439"/>
              <a:gd name="connsiteX73" fmla="*/ 8864407 w 9586368"/>
              <a:gd name="connsiteY73" fmla="*/ 6461440 h 6479439"/>
              <a:gd name="connsiteX74" fmla="*/ 8868426 w 9586368"/>
              <a:gd name="connsiteY74" fmla="*/ 6465478 h 6479439"/>
              <a:gd name="connsiteX75" fmla="*/ 8868426 w 9586368"/>
              <a:gd name="connsiteY75" fmla="*/ 6475349 h 6479439"/>
              <a:gd name="connsiteX76" fmla="*/ 8864407 w 9586368"/>
              <a:gd name="connsiteY76" fmla="*/ 6479388 h 6479439"/>
              <a:gd name="connsiteX77" fmla="*/ 8854496 w 9586368"/>
              <a:gd name="connsiteY77" fmla="*/ 6479388 h 6479439"/>
              <a:gd name="connsiteX78" fmla="*/ 8850477 w 9586368"/>
              <a:gd name="connsiteY78" fmla="*/ 6475349 h 6479439"/>
              <a:gd name="connsiteX79" fmla="*/ 8850477 w 9586368"/>
              <a:gd name="connsiteY79" fmla="*/ 6465478 h 6479439"/>
              <a:gd name="connsiteX80" fmla="*/ 8615184 w 9586368"/>
              <a:gd name="connsiteY80" fmla="*/ 6461440 h 6479439"/>
              <a:gd name="connsiteX81" fmla="*/ 8625095 w 9586368"/>
              <a:gd name="connsiteY81" fmla="*/ 6461440 h 6479439"/>
              <a:gd name="connsiteX82" fmla="*/ 8629114 w 9586368"/>
              <a:gd name="connsiteY82" fmla="*/ 6465478 h 6479439"/>
              <a:gd name="connsiteX83" fmla="*/ 8629114 w 9586368"/>
              <a:gd name="connsiteY83" fmla="*/ 6475349 h 6479439"/>
              <a:gd name="connsiteX84" fmla="*/ 8625095 w 9586368"/>
              <a:gd name="connsiteY84" fmla="*/ 6479388 h 6479439"/>
              <a:gd name="connsiteX85" fmla="*/ 8615184 w 9586368"/>
              <a:gd name="connsiteY85" fmla="*/ 6479388 h 6479439"/>
              <a:gd name="connsiteX86" fmla="*/ 8611165 w 9586368"/>
              <a:gd name="connsiteY86" fmla="*/ 6475349 h 6479439"/>
              <a:gd name="connsiteX87" fmla="*/ 8611165 w 9586368"/>
              <a:gd name="connsiteY87" fmla="*/ 6465478 h 6479439"/>
              <a:gd name="connsiteX88" fmla="*/ 8375869 w 9586368"/>
              <a:gd name="connsiteY88" fmla="*/ 6461440 h 6479439"/>
              <a:gd name="connsiteX89" fmla="*/ 8385779 w 9586368"/>
              <a:gd name="connsiteY89" fmla="*/ 6461440 h 6479439"/>
              <a:gd name="connsiteX90" fmla="*/ 8389799 w 9586368"/>
              <a:gd name="connsiteY90" fmla="*/ 6465478 h 6479439"/>
              <a:gd name="connsiteX91" fmla="*/ 8389799 w 9586368"/>
              <a:gd name="connsiteY91" fmla="*/ 6475349 h 6479439"/>
              <a:gd name="connsiteX92" fmla="*/ 8385779 w 9586368"/>
              <a:gd name="connsiteY92" fmla="*/ 6479388 h 6479439"/>
              <a:gd name="connsiteX93" fmla="*/ 8375869 w 9586368"/>
              <a:gd name="connsiteY93" fmla="*/ 6479388 h 6479439"/>
              <a:gd name="connsiteX94" fmla="*/ 8371850 w 9586368"/>
              <a:gd name="connsiteY94" fmla="*/ 6475349 h 6479439"/>
              <a:gd name="connsiteX95" fmla="*/ 8371850 w 9586368"/>
              <a:gd name="connsiteY95" fmla="*/ 6465478 h 6479439"/>
              <a:gd name="connsiteX96" fmla="*/ 8136553 w 9586368"/>
              <a:gd name="connsiteY96" fmla="*/ 6461440 h 6479439"/>
              <a:gd name="connsiteX97" fmla="*/ 8146464 w 9586368"/>
              <a:gd name="connsiteY97" fmla="*/ 6461440 h 6479439"/>
              <a:gd name="connsiteX98" fmla="*/ 8150483 w 9586368"/>
              <a:gd name="connsiteY98" fmla="*/ 6465478 h 6479439"/>
              <a:gd name="connsiteX99" fmla="*/ 8150483 w 9586368"/>
              <a:gd name="connsiteY99" fmla="*/ 6475349 h 6479439"/>
              <a:gd name="connsiteX100" fmla="*/ 8146464 w 9586368"/>
              <a:gd name="connsiteY100" fmla="*/ 6479388 h 6479439"/>
              <a:gd name="connsiteX101" fmla="*/ 8136553 w 9586368"/>
              <a:gd name="connsiteY101" fmla="*/ 6479388 h 6479439"/>
              <a:gd name="connsiteX102" fmla="*/ 8132534 w 9586368"/>
              <a:gd name="connsiteY102" fmla="*/ 6475349 h 6479439"/>
              <a:gd name="connsiteX103" fmla="*/ 8132534 w 9586368"/>
              <a:gd name="connsiteY103" fmla="*/ 6465478 h 6479439"/>
              <a:gd name="connsiteX104" fmla="*/ 7897241 w 9586368"/>
              <a:gd name="connsiteY104" fmla="*/ 6461440 h 6479439"/>
              <a:gd name="connsiteX105" fmla="*/ 7907151 w 9586368"/>
              <a:gd name="connsiteY105" fmla="*/ 6461440 h 6479439"/>
              <a:gd name="connsiteX106" fmla="*/ 7911170 w 9586368"/>
              <a:gd name="connsiteY106" fmla="*/ 6465478 h 6479439"/>
              <a:gd name="connsiteX107" fmla="*/ 7911170 w 9586368"/>
              <a:gd name="connsiteY107" fmla="*/ 6475349 h 6479439"/>
              <a:gd name="connsiteX108" fmla="*/ 7907151 w 9586368"/>
              <a:gd name="connsiteY108" fmla="*/ 6479388 h 6479439"/>
              <a:gd name="connsiteX109" fmla="*/ 7897241 w 9586368"/>
              <a:gd name="connsiteY109" fmla="*/ 6479388 h 6479439"/>
              <a:gd name="connsiteX110" fmla="*/ 7893222 w 9586368"/>
              <a:gd name="connsiteY110" fmla="*/ 6475349 h 6479439"/>
              <a:gd name="connsiteX111" fmla="*/ 7893222 w 9586368"/>
              <a:gd name="connsiteY111" fmla="*/ 6465478 h 6479439"/>
              <a:gd name="connsiteX112" fmla="*/ 7657926 w 9586368"/>
              <a:gd name="connsiteY112" fmla="*/ 6461440 h 6479439"/>
              <a:gd name="connsiteX113" fmla="*/ 7667836 w 9586368"/>
              <a:gd name="connsiteY113" fmla="*/ 6461440 h 6479439"/>
              <a:gd name="connsiteX114" fmla="*/ 7671855 w 9586368"/>
              <a:gd name="connsiteY114" fmla="*/ 6465478 h 6479439"/>
              <a:gd name="connsiteX115" fmla="*/ 7671855 w 9586368"/>
              <a:gd name="connsiteY115" fmla="*/ 6475349 h 6479439"/>
              <a:gd name="connsiteX116" fmla="*/ 7667836 w 9586368"/>
              <a:gd name="connsiteY116" fmla="*/ 6479388 h 6479439"/>
              <a:gd name="connsiteX117" fmla="*/ 7657926 w 9586368"/>
              <a:gd name="connsiteY117" fmla="*/ 6479388 h 6479439"/>
              <a:gd name="connsiteX118" fmla="*/ 7653906 w 9586368"/>
              <a:gd name="connsiteY118" fmla="*/ 6475349 h 6479439"/>
              <a:gd name="connsiteX119" fmla="*/ 7653906 w 9586368"/>
              <a:gd name="connsiteY119" fmla="*/ 6465478 h 6479439"/>
              <a:gd name="connsiteX120" fmla="*/ 7418611 w 9586368"/>
              <a:gd name="connsiteY120" fmla="*/ 6461440 h 6479439"/>
              <a:gd name="connsiteX121" fmla="*/ 7428521 w 9586368"/>
              <a:gd name="connsiteY121" fmla="*/ 6461440 h 6479439"/>
              <a:gd name="connsiteX122" fmla="*/ 7432540 w 9586368"/>
              <a:gd name="connsiteY122" fmla="*/ 6465478 h 6479439"/>
              <a:gd name="connsiteX123" fmla="*/ 7432540 w 9586368"/>
              <a:gd name="connsiteY123" fmla="*/ 6475349 h 6479439"/>
              <a:gd name="connsiteX124" fmla="*/ 7428521 w 9586368"/>
              <a:gd name="connsiteY124" fmla="*/ 6479388 h 6479439"/>
              <a:gd name="connsiteX125" fmla="*/ 7418611 w 9586368"/>
              <a:gd name="connsiteY125" fmla="*/ 6479388 h 6479439"/>
              <a:gd name="connsiteX126" fmla="*/ 7414592 w 9586368"/>
              <a:gd name="connsiteY126" fmla="*/ 6475349 h 6479439"/>
              <a:gd name="connsiteX127" fmla="*/ 7414592 w 9586368"/>
              <a:gd name="connsiteY127" fmla="*/ 6465478 h 6479439"/>
              <a:gd name="connsiteX128" fmla="*/ 7179298 w 9586368"/>
              <a:gd name="connsiteY128" fmla="*/ 6461440 h 6479439"/>
              <a:gd name="connsiteX129" fmla="*/ 7189209 w 9586368"/>
              <a:gd name="connsiteY129" fmla="*/ 6461440 h 6479439"/>
              <a:gd name="connsiteX130" fmla="*/ 7193228 w 9586368"/>
              <a:gd name="connsiteY130" fmla="*/ 6465478 h 6479439"/>
              <a:gd name="connsiteX131" fmla="*/ 7193228 w 9586368"/>
              <a:gd name="connsiteY131" fmla="*/ 6475349 h 6479439"/>
              <a:gd name="connsiteX132" fmla="*/ 7189209 w 9586368"/>
              <a:gd name="connsiteY132" fmla="*/ 6479388 h 6479439"/>
              <a:gd name="connsiteX133" fmla="*/ 7179298 w 9586368"/>
              <a:gd name="connsiteY133" fmla="*/ 6479388 h 6479439"/>
              <a:gd name="connsiteX134" fmla="*/ 7175279 w 9586368"/>
              <a:gd name="connsiteY134" fmla="*/ 6475349 h 6479439"/>
              <a:gd name="connsiteX135" fmla="*/ 7175279 w 9586368"/>
              <a:gd name="connsiteY135" fmla="*/ 6465478 h 6479439"/>
              <a:gd name="connsiteX136" fmla="*/ 6939983 w 9586368"/>
              <a:gd name="connsiteY136" fmla="*/ 6461440 h 6479439"/>
              <a:gd name="connsiteX137" fmla="*/ 6949894 w 9586368"/>
              <a:gd name="connsiteY137" fmla="*/ 6461440 h 6479439"/>
              <a:gd name="connsiteX138" fmla="*/ 6953913 w 9586368"/>
              <a:gd name="connsiteY138" fmla="*/ 6465478 h 6479439"/>
              <a:gd name="connsiteX139" fmla="*/ 6953913 w 9586368"/>
              <a:gd name="connsiteY139" fmla="*/ 6475349 h 6479439"/>
              <a:gd name="connsiteX140" fmla="*/ 6949894 w 9586368"/>
              <a:gd name="connsiteY140" fmla="*/ 6479388 h 6479439"/>
              <a:gd name="connsiteX141" fmla="*/ 6939983 w 9586368"/>
              <a:gd name="connsiteY141" fmla="*/ 6479388 h 6479439"/>
              <a:gd name="connsiteX142" fmla="*/ 6935964 w 9586368"/>
              <a:gd name="connsiteY142" fmla="*/ 6475349 h 6479439"/>
              <a:gd name="connsiteX143" fmla="*/ 6935964 w 9586368"/>
              <a:gd name="connsiteY143" fmla="*/ 6465478 h 6479439"/>
              <a:gd name="connsiteX144" fmla="*/ 6700670 w 9586368"/>
              <a:gd name="connsiteY144" fmla="*/ 6461440 h 6479439"/>
              <a:gd name="connsiteX145" fmla="*/ 6710581 w 9586368"/>
              <a:gd name="connsiteY145" fmla="*/ 6461440 h 6479439"/>
              <a:gd name="connsiteX146" fmla="*/ 6714600 w 9586368"/>
              <a:gd name="connsiteY146" fmla="*/ 6465478 h 6479439"/>
              <a:gd name="connsiteX147" fmla="*/ 6714600 w 9586368"/>
              <a:gd name="connsiteY147" fmla="*/ 6475349 h 6479439"/>
              <a:gd name="connsiteX148" fmla="*/ 6710581 w 9586368"/>
              <a:gd name="connsiteY148" fmla="*/ 6479388 h 6479439"/>
              <a:gd name="connsiteX149" fmla="*/ 6700670 w 9586368"/>
              <a:gd name="connsiteY149" fmla="*/ 6479388 h 6479439"/>
              <a:gd name="connsiteX150" fmla="*/ 6696651 w 9586368"/>
              <a:gd name="connsiteY150" fmla="*/ 6475349 h 6479439"/>
              <a:gd name="connsiteX151" fmla="*/ 6696651 w 9586368"/>
              <a:gd name="connsiteY151" fmla="*/ 6465478 h 6479439"/>
              <a:gd name="connsiteX152" fmla="*/ 6461356 w 9586368"/>
              <a:gd name="connsiteY152" fmla="*/ 6461440 h 6479439"/>
              <a:gd name="connsiteX153" fmla="*/ 6471266 w 9586368"/>
              <a:gd name="connsiteY153" fmla="*/ 6461440 h 6479439"/>
              <a:gd name="connsiteX154" fmla="*/ 6475285 w 9586368"/>
              <a:gd name="connsiteY154" fmla="*/ 6465478 h 6479439"/>
              <a:gd name="connsiteX155" fmla="*/ 6475285 w 9586368"/>
              <a:gd name="connsiteY155" fmla="*/ 6475349 h 6479439"/>
              <a:gd name="connsiteX156" fmla="*/ 6471266 w 9586368"/>
              <a:gd name="connsiteY156" fmla="*/ 6479388 h 6479439"/>
              <a:gd name="connsiteX157" fmla="*/ 6461356 w 9586368"/>
              <a:gd name="connsiteY157" fmla="*/ 6479388 h 6479439"/>
              <a:gd name="connsiteX158" fmla="*/ 6457337 w 9586368"/>
              <a:gd name="connsiteY158" fmla="*/ 6475349 h 6479439"/>
              <a:gd name="connsiteX159" fmla="*/ 6457337 w 9586368"/>
              <a:gd name="connsiteY159" fmla="*/ 6465478 h 6479439"/>
              <a:gd name="connsiteX160" fmla="*/ 6222042 w 9586368"/>
              <a:gd name="connsiteY160" fmla="*/ 6461440 h 6479439"/>
              <a:gd name="connsiteX161" fmla="*/ 6231952 w 9586368"/>
              <a:gd name="connsiteY161" fmla="*/ 6461440 h 6479439"/>
              <a:gd name="connsiteX162" fmla="*/ 6235971 w 9586368"/>
              <a:gd name="connsiteY162" fmla="*/ 6465478 h 6479439"/>
              <a:gd name="connsiteX163" fmla="*/ 6235971 w 9586368"/>
              <a:gd name="connsiteY163" fmla="*/ 6475349 h 6479439"/>
              <a:gd name="connsiteX164" fmla="*/ 6231952 w 9586368"/>
              <a:gd name="connsiteY164" fmla="*/ 6479388 h 6479439"/>
              <a:gd name="connsiteX165" fmla="*/ 6222042 w 9586368"/>
              <a:gd name="connsiteY165" fmla="*/ 6479388 h 6479439"/>
              <a:gd name="connsiteX166" fmla="*/ 6218023 w 9586368"/>
              <a:gd name="connsiteY166" fmla="*/ 6475349 h 6479439"/>
              <a:gd name="connsiteX167" fmla="*/ 6218023 w 9586368"/>
              <a:gd name="connsiteY167" fmla="*/ 6465478 h 6479439"/>
              <a:gd name="connsiteX168" fmla="*/ 5982729 w 9586368"/>
              <a:gd name="connsiteY168" fmla="*/ 6461440 h 6479439"/>
              <a:gd name="connsiteX169" fmla="*/ 5992639 w 9586368"/>
              <a:gd name="connsiteY169" fmla="*/ 6461440 h 6479439"/>
              <a:gd name="connsiteX170" fmla="*/ 5996658 w 9586368"/>
              <a:gd name="connsiteY170" fmla="*/ 6465478 h 6479439"/>
              <a:gd name="connsiteX171" fmla="*/ 5996658 w 9586368"/>
              <a:gd name="connsiteY171" fmla="*/ 6475349 h 6479439"/>
              <a:gd name="connsiteX172" fmla="*/ 5992639 w 9586368"/>
              <a:gd name="connsiteY172" fmla="*/ 6479388 h 6479439"/>
              <a:gd name="connsiteX173" fmla="*/ 5982729 w 9586368"/>
              <a:gd name="connsiteY173" fmla="*/ 6479388 h 6479439"/>
              <a:gd name="connsiteX174" fmla="*/ 5978710 w 9586368"/>
              <a:gd name="connsiteY174" fmla="*/ 6475349 h 6479439"/>
              <a:gd name="connsiteX175" fmla="*/ 5978710 w 9586368"/>
              <a:gd name="connsiteY175" fmla="*/ 6465478 h 6479439"/>
              <a:gd name="connsiteX176" fmla="*/ 5743412 w 9586368"/>
              <a:gd name="connsiteY176" fmla="*/ 6461440 h 6479439"/>
              <a:gd name="connsiteX177" fmla="*/ 5753323 w 9586368"/>
              <a:gd name="connsiteY177" fmla="*/ 6461440 h 6479439"/>
              <a:gd name="connsiteX178" fmla="*/ 5757342 w 9586368"/>
              <a:gd name="connsiteY178" fmla="*/ 6465478 h 6479439"/>
              <a:gd name="connsiteX179" fmla="*/ 5757342 w 9586368"/>
              <a:gd name="connsiteY179" fmla="*/ 6475349 h 6479439"/>
              <a:gd name="connsiteX180" fmla="*/ 5753323 w 9586368"/>
              <a:gd name="connsiteY180" fmla="*/ 6479388 h 6479439"/>
              <a:gd name="connsiteX181" fmla="*/ 5743412 w 9586368"/>
              <a:gd name="connsiteY181" fmla="*/ 6479388 h 6479439"/>
              <a:gd name="connsiteX182" fmla="*/ 5739393 w 9586368"/>
              <a:gd name="connsiteY182" fmla="*/ 6475349 h 6479439"/>
              <a:gd name="connsiteX183" fmla="*/ 5739393 w 9586368"/>
              <a:gd name="connsiteY183" fmla="*/ 6465478 h 6479439"/>
              <a:gd name="connsiteX184" fmla="*/ 5504099 w 9586368"/>
              <a:gd name="connsiteY184" fmla="*/ 6461440 h 6479439"/>
              <a:gd name="connsiteX185" fmla="*/ 5514010 w 9586368"/>
              <a:gd name="connsiteY185" fmla="*/ 6461440 h 6479439"/>
              <a:gd name="connsiteX186" fmla="*/ 5518029 w 9586368"/>
              <a:gd name="connsiteY186" fmla="*/ 6465478 h 6479439"/>
              <a:gd name="connsiteX187" fmla="*/ 5518029 w 9586368"/>
              <a:gd name="connsiteY187" fmla="*/ 6475349 h 6479439"/>
              <a:gd name="connsiteX188" fmla="*/ 5514010 w 9586368"/>
              <a:gd name="connsiteY188" fmla="*/ 6479388 h 6479439"/>
              <a:gd name="connsiteX189" fmla="*/ 5504099 w 9586368"/>
              <a:gd name="connsiteY189" fmla="*/ 6479388 h 6479439"/>
              <a:gd name="connsiteX190" fmla="*/ 5500080 w 9586368"/>
              <a:gd name="connsiteY190" fmla="*/ 6475349 h 6479439"/>
              <a:gd name="connsiteX191" fmla="*/ 5500080 w 9586368"/>
              <a:gd name="connsiteY191" fmla="*/ 6465478 h 6479439"/>
              <a:gd name="connsiteX192" fmla="*/ 5264784 w 9586368"/>
              <a:gd name="connsiteY192" fmla="*/ 6461440 h 6479439"/>
              <a:gd name="connsiteX193" fmla="*/ 5274694 w 9586368"/>
              <a:gd name="connsiteY193" fmla="*/ 6461440 h 6479439"/>
              <a:gd name="connsiteX194" fmla="*/ 5278713 w 9586368"/>
              <a:gd name="connsiteY194" fmla="*/ 6465478 h 6479439"/>
              <a:gd name="connsiteX195" fmla="*/ 5278713 w 9586368"/>
              <a:gd name="connsiteY195" fmla="*/ 6475349 h 6479439"/>
              <a:gd name="connsiteX196" fmla="*/ 5274694 w 9586368"/>
              <a:gd name="connsiteY196" fmla="*/ 6479388 h 6479439"/>
              <a:gd name="connsiteX197" fmla="*/ 5264784 w 9586368"/>
              <a:gd name="connsiteY197" fmla="*/ 6479388 h 6479439"/>
              <a:gd name="connsiteX198" fmla="*/ 5260765 w 9586368"/>
              <a:gd name="connsiteY198" fmla="*/ 6475349 h 6479439"/>
              <a:gd name="connsiteX199" fmla="*/ 5260765 w 9586368"/>
              <a:gd name="connsiteY199" fmla="*/ 6465478 h 6479439"/>
              <a:gd name="connsiteX200" fmla="*/ 5025470 w 9586368"/>
              <a:gd name="connsiteY200" fmla="*/ 6461440 h 6479439"/>
              <a:gd name="connsiteX201" fmla="*/ 5035381 w 9586368"/>
              <a:gd name="connsiteY201" fmla="*/ 6461440 h 6479439"/>
              <a:gd name="connsiteX202" fmla="*/ 5039400 w 9586368"/>
              <a:gd name="connsiteY202" fmla="*/ 6465478 h 6479439"/>
              <a:gd name="connsiteX203" fmla="*/ 5039400 w 9586368"/>
              <a:gd name="connsiteY203" fmla="*/ 6475349 h 6479439"/>
              <a:gd name="connsiteX204" fmla="*/ 5035381 w 9586368"/>
              <a:gd name="connsiteY204" fmla="*/ 6479388 h 6479439"/>
              <a:gd name="connsiteX205" fmla="*/ 5025470 w 9586368"/>
              <a:gd name="connsiteY205" fmla="*/ 6479388 h 6479439"/>
              <a:gd name="connsiteX206" fmla="*/ 5021451 w 9586368"/>
              <a:gd name="connsiteY206" fmla="*/ 6475349 h 6479439"/>
              <a:gd name="connsiteX207" fmla="*/ 5021451 w 9586368"/>
              <a:gd name="connsiteY207" fmla="*/ 6465478 h 6479439"/>
              <a:gd name="connsiteX208" fmla="*/ 4786241 w 9586368"/>
              <a:gd name="connsiteY208" fmla="*/ 6461440 h 6479439"/>
              <a:gd name="connsiteX209" fmla="*/ 4796152 w 9586368"/>
              <a:gd name="connsiteY209" fmla="*/ 6461440 h 6479439"/>
              <a:gd name="connsiteX210" fmla="*/ 4800171 w 9586368"/>
              <a:gd name="connsiteY210" fmla="*/ 6465478 h 6479439"/>
              <a:gd name="connsiteX211" fmla="*/ 4800171 w 9586368"/>
              <a:gd name="connsiteY211" fmla="*/ 6475349 h 6479439"/>
              <a:gd name="connsiteX212" fmla="*/ 4796152 w 9586368"/>
              <a:gd name="connsiteY212" fmla="*/ 6479388 h 6479439"/>
              <a:gd name="connsiteX213" fmla="*/ 4786241 w 9586368"/>
              <a:gd name="connsiteY213" fmla="*/ 6479388 h 6479439"/>
              <a:gd name="connsiteX214" fmla="*/ 4782224 w 9586368"/>
              <a:gd name="connsiteY214" fmla="*/ 6475349 h 6479439"/>
              <a:gd name="connsiteX215" fmla="*/ 4782224 w 9586368"/>
              <a:gd name="connsiteY215" fmla="*/ 6465478 h 6479439"/>
              <a:gd name="connsiteX216" fmla="*/ 4546929 w 9586368"/>
              <a:gd name="connsiteY216" fmla="*/ 6461440 h 6479439"/>
              <a:gd name="connsiteX217" fmla="*/ 4556840 w 9586368"/>
              <a:gd name="connsiteY217" fmla="*/ 6461440 h 6479439"/>
              <a:gd name="connsiteX218" fmla="*/ 4560859 w 9586368"/>
              <a:gd name="connsiteY218" fmla="*/ 6465478 h 6479439"/>
              <a:gd name="connsiteX219" fmla="*/ 4560859 w 9586368"/>
              <a:gd name="connsiteY219" fmla="*/ 6475349 h 6479439"/>
              <a:gd name="connsiteX220" fmla="*/ 4556840 w 9586368"/>
              <a:gd name="connsiteY220" fmla="*/ 6479388 h 6479439"/>
              <a:gd name="connsiteX221" fmla="*/ 4546929 w 9586368"/>
              <a:gd name="connsiteY221" fmla="*/ 6479388 h 6479439"/>
              <a:gd name="connsiteX222" fmla="*/ 4542910 w 9586368"/>
              <a:gd name="connsiteY222" fmla="*/ 6475349 h 6479439"/>
              <a:gd name="connsiteX223" fmla="*/ 4542910 w 9586368"/>
              <a:gd name="connsiteY223" fmla="*/ 6465478 h 6479439"/>
              <a:gd name="connsiteX224" fmla="*/ 4307612 w 9586368"/>
              <a:gd name="connsiteY224" fmla="*/ 6461440 h 6479439"/>
              <a:gd name="connsiteX225" fmla="*/ 4317523 w 9586368"/>
              <a:gd name="connsiteY225" fmla="*/ 6461440 h 6479439"/>
              <a:gd name="connsiteX226" fmla="*/ 4321543 w 9586368"/>
              <a:gd name="connsiteY226" fmla="*/ 6465478 h 6479439"/>
              <a:gd name="connsiteX227" fmla="*/ 4321543 w 9586368"/>
              <a:gd name="connsiteY227" fmla="*/ 6475349 h 6479439"/>
              <a:gd name="connsiteX228" fmla="*/ 4317523 w 9586368"/>
              <a:gd name="connsiteY228" fmla="*/ 6479388 h 6479439"/>
              <a:gd name="connsiteX229" fmla="*/ 4307612 w 9586368"/>
              <a:gd name="connsiteY229" fmla="*/ 6479388 h 6479439"/>
              <a:gd name="connsiteX230" fmla="*/ 4303595 w 9586368"/>
              <a:gd name="connsiteY230" fmla="*/ 6475349 h 6479439"/>
              <a:gd name="connsiteX231" fmla="*/ 4303595 w 9586368"/>
              <a:gd name="connsiteY231" fmla="*/ 6465478 h 6479439"/>
              <a:gd name="connsiteX232" fmla="*/ 4068297 w 9586368"/>
              <a:gd name="connsiteY232" fmla="*/ 6461440 h 6479439"/>
              <a:gd name="connsiteX233" fmla="*/ 4078210 w 9586368"/>
              <a:gd name="connsiteY233" fmla="*/ 6461440 h 6479439"/>
              <a:gd name="connsiteX234" fmla="*/ 4082229 w 9586368"/>
              <a:gd name="connsiteY234" fmla="*/ 6465478 h 6479439"/>
              <a:gd name="connsiteX235" fmla="*/ 4082229 w 9586368"/>
              <a:gd name="connsiteY235" fmla="*/ 6475349 h 6479439"/>
              <a:gd name="connsiteX236" fmla="*/ 4078210 w 9586368"/>
              <a:gd name="connsiteY236" fmla="*/ 6479388 h 6479439"/>
              <a:gd name="connsiteX237" fmla="*/ 4068297 w 9586368"/>
              <a:gd name="connsiteY237" fmla="*/ 6479388 h 6479439"/>
              <a:gd name="connsiteX238" fmla="*/ 4064278 w 9586368"/>
              <a:gd name="connsiteY238" fmla="*/ 6475349 h 6479439"/>
              <a:gd name="connsiteX239" fmla="*/ 4064278 w 9586368"/>
              <a:gd name="connsiteY239" fmla="*/ 6465478 h 6479439"/>
              <a:gd name="connsiteX240" fmla="*/ 3828990 w 9586368"/>
              <a:gd name="connsiteY240" fmla="*/ 6461440 h 6479439"/>
              <a:gd name="connsiteX241" fmla="*/ 3838899 w 9586368"/>
              <a:gd name="connsiteY241" fmla="*/ 6461440 h 6479439"/>
              <a:gd name="connsiteX242" fmla="*/ 3842917 w 9586368"/>
              <a:gd name="connsiteY242" fmla="*/ 6465478 h 6479439"/>
              <a:gd name="connsiteX243" fmla="*/ 3842917 w 9586368"/>
              <a:gd name="connsiteY243" fmla="*/ 6475349 h 6479439"/>
              <a:gd name="connsiteX244" fmla="*/ 3838899 w 9586368"/>
              <a:gd name="connsiteY244" fmla="*/ 6479388 h 6479439"/>
              <a:gd name="connsiteX245" fmla="*/ 3828990 w 9586368"/>
              <a:gd name="connsiteY245" fmla="*/ 6479388 h 6479439"/>
              <a:gd name="connsiteX246" fmla="*/ 3824971 w 9586368"/>
              <a:gd name="connsiteY246" fmla="*/ 6475349 h 6479439"/>
              <a:gd name="connsiteX247" fmla="*/ 3824971 w 9586368"/>
              <a:gd name="connsiteY247" fmla="*/ 6465478 h 6479439"/>
              <a:gd name="connsiteX248" fmla="*/ 3589676 w 9586368"/>
              <a:gd name="connsiteY248" fmla="*/ 6461440 h 6479439"/>
              <a:gd name="connsiteX249" fmla="*/ 3599585 w 9586368"/>
              <a:gd name="connsiteY249" fmla="*/ 6461440 h 6479439"/>
              <a:gd name="connsiteX250" fmla="*/ 3603604 w 9586368"/>
              <a:gd name="connsiteY250" fmla="*/ 6465478 h 6479439"/>
              <a:gd name="connsiteX251" fmla="*/ 3603604 w 9586368"/>
              <a:gd name="connsiteY251" fmla="*/ 6475349 h 6479439"/>
              <a:gd name="connsiteX252" fmla="*/ 3599585 w 9586368"/>
              <a:gd name="connsiteY252" fmla="*/ 6479388 h 6479439"/>
              <a:gd name="connsiteX253" fmla="*/ 3589676 w 9586368"/>
              <a:gd name="connsiteY253" fmla="*/ 6479388 h 6479439"/>
              <a:gd name="connsiteX254" fmla="*/ 3585657 w 9586368"/>
              <a:gd name="connsiteY254" fmla="*/ 6475349 h 6479439"/>
              <a:gd name="connsiteX255" fmla="*/ 3585657 w 9586368"/>
              <a:gd name="connsiteY255" fmla="*/ 6465478 h 6479439"/>
              <a:gd name="connsiteX256" fmla="*/ 3350359 w 9586368"/>
              <a:gd name="connsiteY256" fmla="*/ 6461440 h 6479439"/>
              <a:gd name="connsiteX257" fmla="*/ 3360268 w 9586368"/>
              <a:gd name="connsiteY257" fmla="*/ 6461440 h 6479439"/>
              <a:gd name="connsiteX258" fmla="*/ 3364287 w 9586368"/>
              <a:gd name="connsiteY258" fmla="*/ 6465478 h 6479439"/>
              <a:gd name="connsiteX259" fmla="*/ 3364287 w 9586368"/>
              <a:gd name="connsiteY259" fmla="*/ 6475349 h 6479439"/>
              <a:gd name="connsiteX260" fmla="*/ 3360268 w 9586368"/>
              <a:gd name="connsiteY260" fmla="*/ 6479388 h 6479439"/>
              <a:gd name="connsiteX261" fmla="*/ 3350359 w 9586368"/>
              <a:gd name="connsiteY261" fmla="*/ 6479388 h 6479439"/>
              <a:gd name="connsiteX262" fmla="*/ 3346340 w 9586368"/>
              <a:gd name="connsiteY262" fmla="*/ 6475349 h 6479439"/>
              <a:gd name="connsiteX263" fmla="*/ 3346340 w 9586368"/>
              <a:gd name="connsiteY263" fmla="*/ 6465478 h 6479439"/>
              <a:gd name="connsiteX264" fmla="*/ 3111048 w 9586368"/>
              <a:gd name="connsiteY264" fmla="*/ 6461440 h 6479439"/>
              <a:gd name="connsiteX265" fmla="*/ 3120959 w 9586368"/>
              <a:gd name="connsiteY265" fmla="*/ 6461440 h 6479439"/>
              <a:gd name="connsiteX266" fmla="*/ 3124977 w 9586368"/>
              <a:gd name="connsiteY266" fmla="*/ 6465478 h 6479439"/>
              <a:gd name="connsiteX267" fmla="*/ 3124977 w 9586368"/>
              <a:gd name="connsiteY267" fmla="*/ 6475349 h 6479439"/>
              <a:gd name="connsiteX268" fmla="*/ 3120959 w 9586368"/>
              <a:gd name="connsiteY268" fmla="*/ 6479388 h 6479439"/>
              <a:gd name="connsiteX269" fmla="*/ 3111048 w 9586368"/>
              <a:gd name="connsiteY269" fmla="*/ 6479388 h 6479439"/>
              <a:gd name="connsiteX270" fmla="*/ 3107029 w 9586368"/>
              <a:gd name="connsiteY270" fmla="*/ 6475349 h 6479439"/>
              <a:gd name="connsiteX271" fmla="*/ 3107029 w 9586368"/>
              <a:gd name="connsiteY271" fmla="*/ 6465478 h 6479439"/>
              <a:gd name="connsiteX272" fmla="*/ 2871737 w 9586368"/>
              <a:gd name="connsiteY272" fmla="*/ 6461440 h 6479439"/>
              <a:gd name="connsiteX273" fmla="*/ 2881646 w 9586368"/>
              <a:gd name="connsiteY273" fmla="*/ 6461440 h 6479439"/>
              <a:gd name="connsiteX274" fmla="*/ 2885666 w 9586368"/>
              <a:gd name="connsiteY274" fmla="*/ 6465478 h 6479439"/>
              <a:gd name="connsiteX275" fmla="*/ 2885666 w 9586368"/>
              <a:gd name="connsiteY275" fmla="*/ 6475349 h 6479439"/>
              <a:gd name="connsiteX276" fmla="*/ 2881646 w 9586368"/>
              <a:gd name="connsiteY276" fmla="*/ 6479388 h 6479439"/>
              <a:gd name="connsiteX277" fmla="*/ 2871737 w 9586368"/>
              <a:gd name="connsiteY277" fmla="*/ 6479388 h 6479439"/>
              <a:gd name="connsiteX278" fmla="*/ 2867717 w 9586368"/>
              <a:gd name="connsiteY278" fmla="*/ 6475349 h 6479439"/>
              <a:gd name="connsiteX279" fmla="*/ 2867717 w 9586368"/>
              <a:gd name="connsiteY279" fmla="*/ 6465478 h 6479439"/>
              <a:gd name="connsiteX280" fmla="*/ 2632423 w 9586368"/>
              <a:gd name="connsiteY280" fmla="*/ 6461440 h 6479439"/>
              <a:gd name="connsiteX281" fmla="*/ 2642334 w 9586368"/>
              <a:gd name="connsiteY281" fmla="*/ 6461440 h 6479439"/>
              <a:gd name="connsiteX282" fmla="*/ 2646352 w 9586368"/>
              <a:gd name="connsiteY282" fmla="*/ 6465478 h 6479439"/>
              <a:gd name="connsiteX283" fmla="*/ 2646352 w 9586368"/>
              <a:gd name="connsiteY283" fmla="*/ 6475349 h 6479439"/>
              <a:gd name="connsiteX284" fmla="*/ 2642334 w 9586368"/>
              <a:gd name="connsiteY284" fmla="*/ 6479388 h 6479439"/>
              <a:gd name="connsiteX285" fmla="*/ 2632423 w 9586368"/>
              <a:gd name="connsiteY285" fmla="*/ 6479388 h 6479439"/>
              <a:gd name="connsiteX286" fmla="*/ 2628404 w 9586368"/>
              <a:gd name="connsiteY286" fmla="*/ 6475349 h 6479439"/>
              <a:gd name="connsiteX287" fmla="*/ 2628404 w 9586368"/>
              <a:gd name="connsiteY287" fmla="*/ 6465478 h 6479439"/>
              <a:gd name="connsiteX288" fmla="*/ 2393104 w 9586368"/>
              <a:gd name="connsiteY288" fmla="*/ 6461440 h 6479439"/>
              <a:gd name="connsiteX289" fmla="*/ 2403015 w 9586368"/>
              <a:gd name="connsiteY289" fmla="*/ 6461440 h 6479439"/>
              <a:gd name="connsiteX290" fmla="*/ 2407034 w 9586368"/>
              <a:gd name="connsiteY290" fmla="*/ 6465478 h 6479439"/>
              <a:gd name="connsiteX291" fmla="*/ 2407034 w 9586368"/>
              <a:gd name="connsiteY291" fmla="*/ 6475349 h 6479439"/>
              <a:gd name="connsiteX292" fmla="*/ 2403015 w 9586368"/>
              <a:gd name="connsiteY292" fmla="*/ 6479388 h 6479439"/>
              <a:gd name="connsiteX293" fmla="*/ 2393104 w 9586368"/>
              <a:gd name="connsiteY293" fmla="*/ 6479388 h 6479439"/>
              <a:gd name="connsiteX294" fmla="*/ 2389087 w 9586368"/>
              <a:gd name="connsiteY294" fmla="*/ 6475349 h 6479439"/>
              <a:gd name="connsiteX295" fmla="*/ 2389087 w 9586368"/>
              <a:gd name="connsiteY295" fmla="*/ 6465478 h 6479439"/>
              <a:gd name="connsiteX296" fmla="*/ 721958 w 9586368"/>
              <a:gd name="connsiteY296" fmla="*/ 6461440 h 6479439"/>
              <a:gd name="connsiteX297" fmla="*/ 731868 w 9586368"/>
              <a:gd name="connsiteY297" fmla="*/ 6461440 h 6479439"/>
              <a:gd name="connsiteX298" fmla="*/ 735887 w 9586368"/>
              <a:gd name="connsiteY298" fmla="*/ 6465478 h 6479439"/>
              <a:gd name="connsiteX299" fmla="*/ 735887 w 9586368"/>
              <a:gd name="connsiteY299" fmla="*/ 6475349 h 6479439"/>
              <a:gd name="connsiteX300" fmla="*/ 731868 w 9586368"/>
              <a:gd name="connsiteY300" fmla="*/ 6479388 h 6479439"/>
              <a:gd name="connsiteX301" fmla="*/ 721958 w 9586368"/>
              <a:gd name="connsiteY301" fmla="*/ 6479388 h 6479439"/>
              <a:gd name="connsiteX302" fmla="*/ 717939 w 9586368"/>
              <a:gd name="connsiteY302" fmla="*/ 6475349 h 6479439"/>
              <a:gd name="connsiteX303" fmla="*/ 717939 w 9586368"/>
              <a:gd name="connsiteY303" fmla="*/ 6465478 h 6479439"/>
              <a:gd name="connsiteX304" fmla="*/ 482646 w 9586368"/>
              <a:gd name="connsiteY304" fmla="*/ 6461440 h 6479439"/>
              <a:gd name="connsiteX305" fmla="*/ 492556 w 9586368"/>
              <a:gd name="connsiteY305" fmla="*/ 6461440 h 6479439"/>
              <a:gd name="connsiteX306" fmla="*/ 496575 w 9586368"/>
              <a:gd name="connsiteY306" fmla="*/ 6465478 h 6479439"/>
              <a:gd name="connsiteX307" fmla="*/ 496575 w 9586368"/>
              <a:gd name="connsiteY307" fmla="*/ 6475349 h 6479439"/>
              <a:gd name="connsiteX308" fmla="*/ 492556 w 9586368"/>
              <a:gd name="connsiteY308" fmla="*/ 6479388 h 6479439"/>
              <a:gd name="connsiteX309" fmla="*/ 482646 w 9586368"/>
              <a:gd name="connsiteY309" fmla="*/ 6479388 h 6479439"/>
              <a:gd name="connsiteX310" fmla="*/ 478627 w 9586368"/>
              <a:gd name="connsiteY310" fmla="*/ 6475349 h 6479439"/>
              <a:gd name="connsiteX311" fmla="*/ 478627 w 9586368"/>
              <a:gd name="connsiteY311" fmla="*/ 6465478 h 6479439"/>
              <a:gd name="connsiteX312" fmla="*/ 243332 w 9586368"/>
              <a:gd name="connsiteY312" fmla="*/ 6461440 h 6479439"/>
              <a:gd name="connsiteX313" fmla="*/ 253242 w 9586368"/>
              <a:gd name="connsiteY313" fmla="*/ 6461440 h 6479439"/>
              <a:gd name="connsiteX314" fmla="*/ 257261 w 9586368"/>
              <a:gd name="connsiteY314" fmla="*/ 6465478 h 6479439"/>
              <a:gd name="connsiteX315" fmla="*/ 257261 w 9586368"/>
              <a:gd name="connsiteY315" fmla="*/ 6475349 h 6479439"/>
              <a:gd name="connsiteX316" fmla="*/ 253242 w 9586368"/>
              <a:gd name="connsiteY316" fmla="*/ 6479388 h 6479439"/>
              <a:gd name="connsiteX317" fmla="*/ 243332 w 9586368"/>
              <a:gd name="connsiteY317" fmla="*/ 6479388 h 6479439"/>
              <a:gd name="connsiteX318" fmla="*/ 239313 w 9586368"/>
              <a:gd name="connsiteY318" fmla="*/ 6475349 h 6479439"/>
              <a:gd name="connsiteX319" fmla="*/ 239313 w 9586368"/>
              <a:gd name="connsiteY319" fmla="*/ 6465478 h 6479439"/>
              <a:gd name="connsiteX320" fmla="*/ 4019 w 9586368"/>
              <a:gd name="connsiteY320" fmla="*/ 6461440 h 6479439"/>
              <a:gd name="connsiteX321" fmla="*/ 13929 w 9586368"/>
              <a:gd name="connsiteY321" fmla="*/ 6461440 h 6479439"/>
              <a:gd name="connsiteX322" fmla="*/ 17949 w 9586368"/>
              <a:gd name="connsiteY322" fmla="*/ 6465478 h 6479439"/>
              <a:gd name="connsiteX323" fmla="*/ 17949 w 9586368"/>
              <a:gd name="connsiteY323" fmla="*/ 6475349 h 6479439"/>
              <a:gd name="connsiteX324" fmla="*/ 13929 w 9586368"/>
              <a:gd name="connsiteY324" fmla="*/ 6479388 h 6479439"/>
              <a:gd name="connsiteX325" fmla="*/ 4019 w 9586368"/>
              <a:gd name="connsiteY325" fmla="*/ 6479388 h 6479439"/>
              <a:gd name="connsiteX326" fmla="*/ 0 w 9586368"/>
              <a:gd name="connsiteY326" fmla="*/ 6475349 h 6479439"/>
              <a:gd name="connsiteX327" fmla="*/ 0 w 9586368"/>
              <a:gd name="connsiteY327" fmla="*/ 6465478 h 6479439"/>
              <a:gd name="connsiteX328" fmla="*/ 9572438 w 9586368"/>
              <a:gd name="connsiteY328" fmla="*/ 6222160 h 6479439"/>
              <a:gd name="connsiteX329" fmla="*/ 9582349 w 9586368"/>
              <a:gd name="connsiteY329" fmla="*/ 6222160 h 6479439"/>
              <a:gd name="connsiteX330" fmla="*/ 9586368 w 9586368"/>
              <a:gd name="connsiteY330" fmla="*/ 6226198 h 6479439"/>
              <a:gd name="connsiteX331" fmla="*/ 9586368 w 9586368"/>
              <a:gd name="connsiteY331" fmla="*/ 6236069 h 6479439"/>
              <a:gd name="connsiteX332" fmla="*/ 9582349 w 9586368"/>
              <a:gd name="connsiteY332" fmla="*/ 6240109 h 6479439"/>
              <a:gd name="connsiteX333" fmla="*/ 9572438 w 9586368"/>
              <a:gd name="connsiteY333" fmla="*/ 6240109 h 6479439"/>
              <a:gd name="connsiteX334" fmla="*/ 9568419 w 9586368"/>
              <a:gd name="connsiteY334" fmla="*/ 6236069 h 6479439"/>
              <a:gd name="connsiteX335" fmla="*/ 9568419 w 9586368"/>
              <a:gd name="connsiteY335" fmla="*/ 6226198 h 6479439"/>
              <a:gd name="connsiteX336" fmla="*/ 9333125 w 9586368"/>
              <a:gd name="connsiteY336" fmla="*/ 6222160 h 6479439"/>
              <a:gd name="connsiteX337" fmla="*/ 9343036 w 9586368"/>
              <a:gd name="connsiteY337" fmla="*/ 6222160 h 6479439"/>
              <a:gd name="connsiteX338" fmla="*/ 9347055 w 9586368"/>
              <a:gd name="connsiteY338" fmla="*/ 6226198 h 6479439"/>
              <a:gd name="connsiteX339" fmla="*/ 9347055 w 9586368"/>
              <a:gd name="connsiteY339" fmla="*/ 6236069 h 6479439"/>
              <a:gd name="connsiteX340" fmla="*/ 9343036 w 9586368"/>
              <a:gd name="connsiteY340" fmla="*/ 6240109 h 6479439"/>
              <a:gd name="connsiteX341" fmla="*/ 9333125 w 9586368"/>
              <a:gd name="connsiteY341" fmla="*/ 6240109 h 6479439"/>
              <a:gd name="connsiteX342" fmla="*/ 9329106 w 9586368"/>
              <a:gd name="connsiteY342" fmla="*/ 6236069 h 6479439"/>
              <a:gd name="connsiteX343" fmla="*/ 9329106 w 9586368"/>
              <a:gd name="connsiteY343" fmla="*/ 6226198 h 6479439"/>
              <a:gd name="connsiteX344" fmla="*/ 9093811 w 9586368"/>
              <a:gd name="connsiteY344" fmla="*/ 6222160 h 6479439"/>
              <a:gd name="connsiteX345" fmla="*/ 9103722 w 9586368"/>
              <a:gd name="connsiteY345" fmla="*/ 6222160 h 6479439"/>
              <a:gd name="connsiteX346" fmla="*/ 9107741 w 9586368"/>
              <a:gd name="connsiteY346" fmla="*/ 6226198 h 6479439"/>
              <a:gd name="connsiteX347" fmla="*/ 9107741 w 9586368"/>
              <a:gd name="connsiteY347" fmla="*/ 6236069 h 6479439"/>
              <a:gd name="connsiteX348" fmla="*/ 9103722 w 9586368"/>
              <a:gd name="connsiteY348" fmla="*/ 6240109 h 6479439"/>
              <a:gd name="connsiteX349" fmla="*/ 9093811 w 9586368"/>
              <a:gd name="connsiteY349" fmla="*/ 6240109 h 6479439"/>
              <a:gd name="connsiteX350" fmla="*/ 9089792 w 9586368"/>
              <a:gd name="connsiteY350" fmla="*/ 6236069 h 6479439"/>
              <a:gd name="connsiteX351" fmla="*/ 9089792 w 9586368"/>
              <a:gd name="connsiteY351" fmla="*/ 6226198 h 6479439"/>
              <a:gd name="connsiteX352" fmla="*/ 8854496 w 9586368"/>
              <a:gd name="connsiteY352" fmla="*/ 6222160 h 6479439"/>
              <a:gd name="connsiteX353" fmla="*/ 8864407 w 9586368"/>
              <a:gd name="connsiteY353" fmla="*/ 6222160 h 6479439"/>
              <a:gd name="connsiteX354" fmla="*/ 8868426 w 9586368"/>
              <a:gd name="connsiteY354" fmla="*/ 6226198 h 6479439"/>
              <a:gd name="connsiteX355" fmla="*/ 8868426 w 9586368"/>
              <a:gd name="connsiteY355" fmla="*/ 6236069 h 6479439"/>
              <a:gd name="connsiteX356" fmla="*/ 8864407 w 9586368"/>
              <a:gd name="connsiteY356" fmla="*/ 6240109 h 6479439"/>
              <a:gd name="connsiteX357" fmla="*/ 8854496 w 9586368"/>
              <a:gd name="connsiteY357" fmla="*/ 6240109 h 6479439"/>
              <a:gd name="connsiteX358" fmla="*/ 8850477 w 9586368"/>
              <a:gd name="connsiteY358" fmla="*/ 6236069 h 6479439"/>
              <a:gd name="connsiteX359" fmla="*/ 8850477 w 9586368"/>
              <a:gd name="connsiteY359" fmla="*/ 6226198 h 6479439"/>
              <a:gd name="connsiteX360" fmla="*/ 8615184 w 9586368"/>
              <a:gd name="connsiteY360" fmla="*/ 6222160 h 6479439"/>
              <a:gd name="connsiteX361" fmla="*/ 8625095 w 9586368"/>
              <a:gd name="connsiteY361" fmla="*/ 6222160 h 6479439"/>
              <a:gd name="connsiteX362" fmla="*/ 8629114 w 9586368"/>
              <a:gd name="connsiteY362" fmla="*/ 6226198 h 6479439"/>
              <a:gd name="connsiteX363" fmla="*/ 8629114 w 9586368"/>
              <a:gd name="connsiteY363" fmla="*/ 6236069 h 6479439"/>
              <a:gd name="connsiteX364" fmla="*/ 8625095 w 9586368"/>
              <a:gd name="connsiteY364" fmla="*/ 6240109 h 6479439"/>
              <a:gd name="connsiteX365" fmla="*/ 8615184 w 9586368"/>
              <a:gd name="connsiteY365" fmla="*/ 6240109 h 6479439"/>
              <a:gd name="connsiteX366" fmla="*/ 8611165 w 9586368"/>
              <a:gd name="connsiteY366" fmla="*/ 6236069 h 6479439"/>
              <a:gd name="connsiteX367" fmla="*/ 8611165 w 9586368"/>
              <a:gd name="connsiteY367" fmla="*/ 6226198 h 6479439"/>
              <a:gd name="connsiteX368" fmla="*/ 8375869 w 9586368"/>
              <a:gd name="connsiteY368" fmla="*/ 6222160 h 6479439"/>
              <a:gd name="connsiteX369" fmla="*/ 8385779 w 9586368"/>
              <a:gd name="connsiteY369" fmla="*/ 6222160 h 6479439"/>
              <a:gd name="connsiteX370" fmla="*/ 8389799 w 9586368"/>
              <a:gd name="connsiteY370" fmla="*/ 6226198 h 6479439"/>
              <a:gd name="connsiteX371" fmla="*/ 8389799 w 9586368"/>
              <a:gd name="connsiteY371" fmla="*/ 6236069 h 6479439"/>
              <a:gd name="connsiteX372" fmla="*/ 8385779 w 9586368"/>
              <a:gd name="connsiteY372" fmla="*/ 6240109 h 6479439"/>
              <a:gd name="connsiteX373" fmla="*/ 8375869 w 9586368"/>
              <a:gd name="connsiteY373" fmla="*/ 6240109 h 6479439"/>
              <a:gd name="connsiteX374" fmla="*/ 8371850 w 9586368"/>
              <a:gd name="connsiteY374" fmla="*/ 6236069 h 6479439"/>
              <a:gd name="connsiteX375" fmla="*/ 8371850 w 9586368"/>
              <a:gd name="connsiteY375" fmla="*/ 6226198 h 6479439"/>
              <a:gd name="connsiteX376" fmla="*/ 8136553 w 9586368"/>
              <a:gd name="connsiteY376" fmla="*/ 6222160 h 6479439"/>
              <a:gd name="connsiteX377" fmla="*/ 8146464 w 9586368"/>
              <a:gd name="connsiteY377" fmla="*/ 6222160 h 6479439"/>
              <a:gd name="connsiteX378" fmla="*/ 8150483 w 9586368"/>
              <a:gd name="connsiteY378" fmla="*/ 6226198 h 6479439"/>
              <a:gd name="connsiteX379" fmla="*/ 8150483 w 9586368"/>
              <a:gd name="connsiteY379" fmla="*/ 6236069 h 6479439"/>
              <a:gd name="connsiteX380" fmla="*/ 8146464 w 9586368"/>
              <a:gd name="connsiteY380" fmla="*/ 6240109 h 6479439"/>
              <a:gd name="connsiteX381" fmla="*/ 8136553 w 9586368"/>
              <a:gd name="connsiteY381" fmla="*/ 6240109 h 6479439"/>
              <a:gd name="connsiteX382" fmla="*/ 8132534 w 9586368"/>
              <a:gd name="connsiteY382" fmla="*/ 6236069 h 6479439"/>
              <a:gd name="connsiteX383" fmla="*/ 8132534 w 9586368"/>
              <a:gd name="connsiteY383" fmla="*/ 6226198 h 6479439"/>
              <a:gd name="connsiteX384" fmla="*/ 7897241 w 9586368"/>
              <a:gd name="connsiteY384" fmla="*/ 6222160 h 6479439"/>
              <a:gd name="connsiteX385" fmla="*/ 7907151 w 9586368"/>
              <a:gd name="connsiteY385" fmla="*/ 6222160 h 6479439"/>
              <a:gd name="connsiteX386" fmla="*/ 7911170 w 9586368"/>
              <a:gd name="connsiteY386" fmla="*/ 6226198 h 6479439"/>
              <a:gd name="connsiteX387" fmla="*/ 7911170 w 9586368"/>
              <a:gd name="connsiteY387" fmla="*/ 6236069 h 6479439"/>
              <a:gd name="connsiteX388" fmla="*/ 7907151 w 9586368"/>
              <a:gd name="connsiteY388" fmla="*/ 6240109 h 6479439"/>
              <a:gd name="connsiteX389" fmla="*/ 7897241 w 9586368"/>
              <a:gd name="connsiteY389" fmla="*/ 6240109 h 6479439"/>
              <a:gd name="connsiteX390" fmla="*/ 7893222 w 9586368"/>
              <a:gd name="connsiteY390" fmla="*/ 6236069 h 6479439"/>
              <a:gd name="connsiteX391" fmla="*/ 7893222 w 9586368"/>
              <a:gd name="connsiteY391" fmla="*/ 6226198 h 6479439"/>
              <a:gd name="connsiteX392" fmla="*/ 7657926 w 9586368"/>
              <a:gd name="connsiteY392" fmla="*/ 6222160 h 6479439"/>
              <a:gd name="connsiteX393" fmla="*/ 7667836 w 9586368"/>
              <a:gd name="connsiteY393" fmla="*/ 6222160 h 6479439"/>
              <a:gd name="connsiteX394" fmla="*/ 7671855 w 9586368"/>
              <a:gd name="connsiteY394" fmla="*/ 6226198 h 6479439"/>
              <a:gd name="connsiteX395" fmla="*/ 7671855 w 9586368"/>
              <a:gd name="connsiteY395" fmla="*/ 6236069 h 6479439"/>
              <a:gd name="connsiteX396" fmla="*/ 7667836 w 9586368"/>
              <a:gd name="connsiteY396" fmla="*/ 6240109 h 6479439"/>
              <a:gd name="connsiteX397" fmla="*/ 7657926 w 9586368"/>
              <a:gd name="connsiteY397" fmla="*/ 6240109 h 6479439"/>
              <a:gd name="connsiteX398" fmla="*/ 7653906 w 9586368"/>
              <a:gd name="connsiteY398" fmla="*/ 6236069 h 6479439"/>
              <a:gd name="connsiteX399" fmla="*/ 7653906 w 9586368"/>
              <a:gd name="connsiteY399" fmla="*/ 6226198 h 6479439"/>
              <a:gd name="connsiteX400" fmla="*/ 7418611 w 9586368"/>
              <a:gd name="connsiteY400" fmla="*/ 6222160 h 6479439"/>
              <a:gd name="connsiteX401" fmla="*/ 7428521 w 9586368"/>
              <a:gd name="connsiteY401" fmla="*/ 6222160 h 6479439"/>
              <a:gd name="connsiteX402" fmla="*/ 7432540 w 9586368"/>
              <a:gd name="connsiteY402" fmla="*/ 6226198 h 6479439"/>
              <a:gd name="connsiteX403" fmla="*/ 7432540 w 9586368"/>
              <a:gd name="connsiteY403" fmla="*/ 6236069 h 6479439"/>
              <a:gd name="connsiteX404" fmla="*/ 7428521 w 9586368"/>
              <a:gd name="connsiteY404" fmla="*/ 6240109 h 6479439"/>
              <a:gd name="connsiteX405" fmla="*/ 7418611 w 9586368"/>
              <a:gd name="connsiteY405" fmla="*/ 6240109 h 6479439"/>
              <a:gd name="connsiteX406" fmla="*/ 7414592 w 9586368"/>
              <a:gd name="connsiteY406" fmla="*/ 6236069 h 6479439"/>
              <a:gd name="connsiteX407" fmla="*/ 7414592 w 9586368"/>
              <a:gd name="connsiteY407" fmla="*/ 6226198 h 6479439"/>
              <a:gd name="connsiteX408" fmla="*/ 7179298 w 9586368"/>
              <a:gd name="connsiteY408" fmla="*/ 6222160 h 6479439"/>
              <a:gd name="connsiteX409" fmla="*/ 7189209 w 9586368"/>
              <a:gd name="connsiteY409" fmla="*/ 6222160 h 6479439"/>
              <a:gd name="connsiteX410" fmla="*/ 7193228 w 9586368"/>
              <a:gd name="connsiteY410" fmla="*/ 6226198 h 6479439"/>
              <a:gd name="connsiteX411" fmla="*/ 7193228 w 9586368"/>
              <a:gd name="connsiteY411" fmla="*/ 6236069 h 6479439"/>
              <a:gd name="connsiteX412" fmla="*/ 7189209 w 9586368"/>
              <a:gd name="connsiteY412" fmla="*/ 6240109 h 6479439"/>
              <a:gd name="connsiteX413" fmla="*/ 7179298 w 9586368"/>
              <a:gd name="connsiteY413" fmla="*/ 6240109 h 6479439"/>
              <a:gd name="connsiteX414" fmla="*/ 7175279 w 9586368"/>
              <a:gd name="connsiteY414" fmla="*/ 6236069 h 6479439"/>
              <a:gd name="connsiteX415" fmla="*/ 7175279 w 9586368"/>
              <a:gd name="connsiteY415" fmla="*/ 6226198 h 6479439"/>
              <a:gd name="connsiteX416" fmla="*/ 6939983 w 9586368"/>
              <a:gd name="connsiteY416" fmla="*/ 6222160 h 6479439"/>
              <a:gd name="connsiteX417" fmla="*/ 6949894 w 9586368"/>
              <a:gd name="connsiteY417" fmla="*/ 6222160 h 6479439"/>
              <a:gd name="connsiteX418" fmla="*/ 6953913 w 9586368"/>
              <a:gd name="connsiteY418" fmla="*/ 6226198 h 6479439"/>
              <a:gd name="connsiteX419" fmla="*/ 6953913 w 9586368"/>
              <a:gd name="connsiteY419" fmla="*/ 6236069 h 6479439"/>
              <a:gd name="connsiteX420" fmla="*/ 6949894 w 9586368"/>
              <a:gd name="connsiteY420" fmla="*/ 6240109 h 6479439"/>
              <a:gd name="connsiteX421" fmla="*/ 6939983 w 9586368"/>
              <a:gd name="connsiteY421" fmla="*/ 6240109 h 6479439"/>
              <a:gd name="connsiteX422" fmla="*/ 6935964 w 9586368"/>
              <a:gd name="connsiteY422" fmla="*/ 6236069 h 6479439"/>
              <a:gd name="connsiteX423" fmla="*/ 6935964 w 9586368"/>
              <a:gd name="connsiteY423" fmla="*/ 6226198 h 6479439"/>
              <a:gd name="connsiteX424" fmla="*/ 6700670 w 9586368"/>
              <a:gd name="connsiteY424" fmla="*/ 6222160 h 6479439"/>
              <a:gd name="connsiteX425" fmla="*/ 6710581 w 9586368"/>
              <a:gd name="connsiteY425" fmla="*/ 6222160 h 6479439"/>
              <a:gd name="connsiteX426" fmla="*/ 6714600 w 9586368"/>
              <a:gd name="connsiteY426" fmla="*/ 6226198 h 6479439"/>
              <a:gd name="connsiteX427" fmla="*/ 6714600 w 9586368"/>
              <a:gd name="connsiteY427" fmla="*/ 6236069 h 6479439"/>
              <a:gd name="connsiteX428" fmla="*/ 6710581 w 9586368"/>
              <a:gd name="connsiteY428" fmla="*/ 6240109 h 6479439"/>
              <a:gd name="connsiteX429" fmla="*/ 6700670 w 9586368"/>
              <a:gd name="connsiteY429" fmla="*/ 6240109 h 6479439"/>
              <a:gd name="connsiteX430" fmla="*/ 6696651 w 9586368"/>
              <a:gd name="connsiteY430" fmla="*/ 6236069 h 6479439"/>
              <a:gd name="connsiteX431" fmla="*/ 6696651 w 9586368"/>
              <a:gd name="connsiteY431" fmla="*/ 6226198 h 6479439"/>
              <a:gd name="connsiteX432" fmla="*/ 6461356 w 9586368"/>
              <a:gd name="connsiteY432" fmla="*/ 6222160 h 6479439"/>
              <a:gd name="connsiteX433" fmla="*/ 6471266 w 9586368"/>
              <a:gd name="connsiteY433" fmla="*/ 6222160 h 6479439"/>
              <a:gd name="connsiteX434" fmla="*/ 6475285 w 9586368"/>
              <a:gd name="connsiteY434" fmla="*/ 6226198 h 6479439"/>
              <a:gd name="connsiteX435" fmla="*/ 6475285 w 9586368"/>
              <a:gd name="connsiteY435" fmla="*/ 6236069 h 6479439"/>
              <a:gd name="connsiteX436" fmla="*/ 6471266 w 9586368"/>
              <a:gd name="connsiteY436" fmla="*/ 6240109 h 6479439"/>
              <a:gd name="connsiteX437" fmla="*/ 6461356 w 9586368"/>
              <a:gd name="connsiteY437" fmla="*/ 6240109 h 6479439"/>
              <a:gd name="connsiteX438" fmla="*/ 6457337 w 9586368"/>
              <a:gd name="connsiteY438" fmla="*/ 6236069 h 6479439"/>
              <a:gd name="connsiteX439" fmla="*/ 6457337 w 9586368"/>
              <a:gd name="connsiteY439" fmla="*/ 6226198 h 6479439"/>
              <a:gd name="connsiteX440" fmla="*/ 6222042 w 9586368"/>
              <a:gd name="connsiteY440" fmla="*/ 6222160 h 6479439"/>
              <a:gd name="connsiteX441" fmla="*/ 6231952 w 9586368"/>
              <a:gd name="connsiteY441" fmla="*/ 6222160 h 6479439"/>
              <a:gd name="connsiteX442" fmla="*/ 6235971 w 9586368"/>
              <a:gd name="connsiteY442" fmla="*/ 6226198 h 6479439"/>
              <a:gd name="connsiteX443" fmla="*/ 6235971 w 9586368"/>
              <a:gd name="connsiteY443" fmla="*/ 6236069 h 6479439"/>
              <a:gd name="connsiteX444" fmla="*/ 6231952 w 9586368"/>
              <a:gd name="connsiteY444" fmla="*/ 6240109 h 6479439"/>
              <a:gd name="connsiteX445" fmla="*/ 6222042 w 9586368"/>
              <a:gd name="connsiteY445" fmla="*/ 6240109 h 6479439"/>
              <a:gd name="connsiteX446" fmla="*/ 6218023 w 9586368"/>
              <a:gd name="connsiteY446" fmla="*/ 6236069 h 6479439"/>
              <a:gd name="connsiteX447" fmla="*/ 6218023 w 9586368"/>
              <a:gd name="connsiteY447" fmla="*/ 6226198 h 6479439"/>
              <a:gd name="connsiteX448" fmla="*/ 5982729 w 9586368"/>
              <a:gd name="connsiteY448" fmla="*/ 6222160 h 6479439"/>
              <a:gd name="connsiteX449" fmla="*/ 5992639 w 9586368"/>
              <a:gd name="connsiteY449" fmla="*/ 6222160 h 6479439"/>
              <a:gd name="connsiteX450" fmla="*/ 5996658 w 9586368"/>
              <a:gd name="connsiteY450" fmla="*/ 6226198 h 6479439"/>
              <a:gd name="connsiteX451" fmla="*/ 5996658 w 9586368"/>
              <a:gd name="connsiteY451" fmla="*/ 6236069 h 6479439"/>
              <a:gd name="connsiteX452" fmla="*/ 5992639 w 9586368"/>
              <a:gd name="connsiteY452" fmla="*/ 6240109 h 6479439"/>
              <a:gd name="connsiteX453" fmla="*/ 5982729 w 9586368"/>
              <a:gd name="connsiteY453" fmla="*/ 6240109 h 6479439"/>
              <a:gd name="connsiteX454" fmla="*/ 5978710 w 9586368"/>
              <a:gd name="connsiteY454" fmla="*/ 6236069 h 6479439"/>
              <a:gd name="connsiteX455" fmla="*/ 5978710 w 9586368"/>
              <a:gd name="connsiteY455" fmla="*/ 6226198 h 6479439"/>
              <a:gd name="connsiteX456" fmla="*/ 5743412 w 9586368"/>
              <a:gd name="connsiteY456" fmla="*/ 6222160 h 6479439"/>
              <a:gd name="connsiteX457" fmla="*/ 5753323 w 9586368"/>
              <a:gd name="connsiteY457" fmla="*/ 6222160 h 6479439"/>
              <a:gd name="connsiteX458" fmla="*/ 5757342 w 9586368"/>
              <a:gd name="connsiteY458" fmla="*/ 6226198 h 6479439"/>
              <a:gd name="connsiteX459" fmla="*/ 5757342 w 9586368"/>
              <a:gd name="connsiteY459" fmla="*/ 6236069 h 6479439"/>
              <a:gd name="connsiteX460" fmla="*/ 5753323 w 9586368"/>
              <a:gd name="connsiteY460" fmla="*/ 6240109 h 6479439"/>
              <a:gd name="connsiteX461" fmla="*/ 5743412 w 9586368"/>
              <a:gd name="connsiteY461" fmla="*/ 6240109 h 6479439"/>
              <a:gd name="connsiteX462" fmla="*/ 5739393 w 9586368"/>
              <a:gd name="connsiteY462" fmla="*/ 6236069 h 6479439"/>
              <a:gd name="connsiteX463" fmla="*/ 5739393 w 9586368"/>
              <a:gd name="connsiteY463" fmla="*/ 6226198 h 6479439"/>
              <a:gd name="connsiteX464" fmla="*/ 5504099 w 9586368"/>
              <a:gd name="connsiteY464" fmla="*/ 6222160 h 6479439"/>
              <a:gd name="connsiteX465" fmla="*/ 5514010 w 9586368"/>
              <a:gd name="connsiteY465" fmla="*/ 6222160 h 6479439"/>
              <a:gd name="connsiteX466" fmla="*/ 5518029 w 9586368"/>
              <a:gd name="connsiteY466" fmla="*/ 6226198 h 6479439"/>
              <a:gd name="connsiteX467" fmla="*/ 5518029 w 9586368"/>
              <a:gd name="connsiteY467" fmla="*/ 6236069 h 6479439"/>
              <a:gd name="connsiteX468" fmla="*/ 5514010 w 9586368"/>
              <a:gd name="connsiteY468" fmla="*/ 6240109 h 6479439"/>
              <a:gd name="connsiteX469" fmla="*/ 5504099 w 9586368"/>
              <a:gd name="connsiteY469" fmla="*/ 6240109 h 6479439"/>
              <a:gd name="connsiteX470" fmla="*/ 5500080 w 9586368"/>
              <a:gd name="connsiteY470" fmla="*/ 6236069 h 6479439"/>
              <a:gd name="connsiteX471" fmla="*/ 5500080 w 9586368"/>
              <a:gd name="connsiteY471" fmla="*/ 6226198 h 6479439"/>
              <a:gd name="connsiteX472" fmla="*/ 5264784 w 9586368"/>
              <a:gd name="connsiteY472" fmla="*/ 6222160 h 6479439"/>
              <a:gd name="connsiteX473" fmla="*/ 5274694 w 9586368"/>
              <a:gd name="connsiteY473" fmla="*/ 6222160 h 6479439"/>
              <a:gd name="connsiteX474" fmla="*/ 5278713 w 9586368"/>
              <a:gd name="connsiteY474" fmla="*/ 6226198 h 6479439"/>
              <a:gd name="connsiteX475" fmla="*/ 5278713 w 9586368"/>
              <a:gd name="connsiteY475" fmla="*/ 6236069 h 6479439"/>
              <a:gd name="connsiteX476" fmla="*/ 5274694 w 9586368"/>
              <a:gd name="connsiteY476" fmla="*/ 6240109 h 6479439"/>
              <a:gd name="connsiteX477" fmla="*/ 5264784 w 9586368"/>
              <a:gd name="connsiteY477" fmla="*/ 6240109 h 6479439"/>
              <a:gd name="connsiteX478" fmla="*/ 5260765 w 9586368"/>
              <a:gd name="connsiteY478" fmla="*/ 6236069 h 6479439"/>
              <a:gd name="connsiteX479" fmla="*/ 5260765 w 9586368"/>
              <a:gd name="connsiteY479" fmla="*/ 6226198 h 6479439"/>
              <a:gd name="connsiteX480" fmla="*/ 5025470 w 9586368"/>
              <a:gd name="connsiteY480" fmla="*/ 6222160 h 6479439"/>
              <a:gd name="connsiteX481" fmla="*/ 5035381 w 9586368"/>
              <a:gd name="connsiteY481" fmla="*/ 6222160 h 6479439"/>
              <a:gd name="connsiteX482" fmla="*/ 5039400 w 9586368"/>
              <a:gd name="connsiteY482" fmla="*/ 6226198 h 6479439"/>
              <a:gd name="connsiteX483" fmla="*/ 5039400 w 9586368"/>
              <a:gd name="connsiteY483" fmla="*/ 6236069 h 6479439"/>
              <a:gd name="connsiteX484" fmla="*/ 5035381 w 9586368"/>
              <a:gd name="connsiteY484" fmla="*/ 6240109 h 6479439"/>
              <a:gd name="connsiteX485" fmla="*/ 5025470 w 9586368"/>
              <a:gd name="connsiteY485" fmla="*/ 6240109 h 6479439"/>
              <a:gd name="connsiteX486" fmla="*/ 5021451 w 9586368"/>
              <a:gd name="connsiteY486" fmla="*/ 6236069 h 6479439"/>
              <a:gd name="connsiteX487" fmla="*/ 5021451 w 9586368"/>
              <a:gd name="connsiteY487" fmla="*/ 6226198 h 6479439"/>
              <a:gd name="connsiteX488" fmla="*/ 4786241 w 9586368"/>
              <a:gd name="connsiteY488" fmla="*/ 6222160 h 6479439"/>
              <a:gd name="connsiteX489" fmla="*/ 4796152 w 9586368"/>
              <a:gd name="connsiteY489" fmla="*/ 6222160 h 6479439"/>
              <a:gd name="connsiteX490" fmla="*/ 4800171 w 9586368"/>
              <a:gd name="connsiteY490" fmla="*/ 6226198 h 6479439"/>
              <a:gd name="connsiteX491" fmla="*/ 4800171 w 9586368"/>
              <a:gd name="connsiteY491" fmla="*/ 6236069 h 6479439"/>
              <a:gd name="connsiteX492" fmla="*/ 4796152 w 9586368"/>
              <a:gd name="connsiteY492" fmla="*/ 6240109 h 6479439"/>
              <a:gd name="connsiteX493" fmla="*/ 4786241 w 9586368"/>
              <a:gd name="connsiteY493" fmla="*/ 6240109 h 6479439"/>
              <a:gd name="connsiteX494" fmla="*/ 4782224 w 9586368"/>
              <a:gd name="connsiteY494" fmla="*/ 6236069 h 6479439"/>
              <a:gd name="connsiteX495" fmla="*/ 4782224 w 9586368"/>
              <a:gd name="connsiteY495" fmla="*/ 6226198 h 6479439"/>
              <a:gd name="connsiteX496" fmla="*/ 4546929 w 9586368"/>
              <a:gd name="connsiteY496" fmla="*/ 6222160 h 6479439"/>
              <a:gd name="connsiteX497" fmla="*/ 4556840 w 9586368"/>
              <a:gd name="connsiteY497" fmla="*/ 6222160 h 6479439"/>
              <a:gd name="connsiteX498" fmla="*/ 4560859 w 9586368"/>
              <a:gd name="connsiteY498" fmla="*/ 6226198 h 6479439"/>
              <a:gd name="connsiteX499" fmla="*/ 4560859 w 9586368"/>
              <a:gd name="connsiteY499" fmla="*/ 6236069 h 6479439"/>
              <a:gd name="connsiteX500" fmla="*/ 4556840 w 9586368"/>
              <a:gd name="connsiteY500" fmla="*/ 6240109 h 6479439"/>
              <a:gd name="connsiteX501" fmla="*/ 4546929 w 9586368"/>
              <a:gd name="connsiteY501" fmla="*/ 6240109 h 6479439"/>
              <a:gd name="connsiteX502" fmla="*/ 4542910 w 9586368"/>
              <a:gd name="connsiteY502" fmla="*/ 6236069 h 6479439"/>
              <a:gd name="connsiteX503" fmla="*/ 4542910 w 9586368"/>
              <a:gd name="connsiteY503" fmla="*/ 6226198 h 6479439"/>
              <a:gd name="connsiteX504" fmla="*/ 4307612 w 9586368"/>
              <a:gd name="connsiteY504" fmla="*/ 6222160 h 6479439"/>
              <a:gd name="connsiteX505" fmla="*/ 4317523 w 9586368"/>
              <a:gd name="connsiteY505" fmla="*/ 6222160 h 6479439"/>
              <a:gd name="connsiteX506" fmla="*/ 4321543 w 9586368"/>
              <a:gd name="connsiteY506" fmla="*/ 6226198 h 6479439"/>
              <a:gd name="connsiteX507" fmla="*/ 4321543 w 9586368"/>
              <a:gd name="connsiteY507" fmla="*/ 6236069 h 6479439"/>
              <a:gd name="connsiteX508" fmla="*/ 4317523 w 9586368"/>
              <a:gd name="connsiteY508" fmla="*/ 6240109 h 6479439"/>
              <a:gd name="connsiteX509" fmla="*/ 4307612 w 9586368"/>
              <a:gd name="connsiteY509" fmla="*/ 6240109 h 6479439"/>
              <a:gd name="connsiteX510" fmla="*/ 4303595 w 9586368"/>
              <a:gd name="connsiteY510" fmla="*/ 6236069 h 6479439"/>
              <a:gd name="connsiteX511" fmla="*/ 4303595 w 9586368"/>
              <a:gd name="connsiteY511" fmla="*/ 6226198 h 6479439"/>
              <a:gd name="connsiteX512" fmla="*/ 4068297 w 9586368"/>
              <a:gd name="connsiteY512" fmla="*/ 6222160 h 6479439"/>
              <a:gd name="connsiteX513" fmla="*/ 4078210 w 9586368"/>
              <a:gd name="connsiteY513" fmla="*/ 6222160 h 6479439"/>
              <a:gd name="connsiteX514" fmla="*/ 4082229 w 9586368"/>
              <a:gd name="connsiteY514" fmla="*/ 6226198 h 6479439"/>
              <a:gd name="connsiteX515" fmla="*/ 4082229 w 9586368"/>
              <a:gd name="connsiteY515" fmla="*/ 6236069 h 6479439"/>
              <a:gd name="connsiteX516" fmla="*/ 4078210 w 9586368"/>
              <a:gd name="connsiteY516" fmla="*/ 6240109 h 6479439"/>
              <a:gd name="connsiteX517" fmla="*/ 4068297 w 9586368"/>
              <a:gd name="connsiteY517" fmla="*/ 6240109 h 6479439"/>
              <a:gd name="connsiteX518" fmla="*/ 4064278 w 9586368"/>
              <a:gd name="connsiteY518" fmla="*/ 6236069 h 6479439"/>
              <a:gd name="connsiteX519" fmla="*/ 4064278 w 9586368"/>
              <a:gd name="connsiteY519" fmla="*/ 6226198 h 6479439"/>
              <a:gd name="connsiteX520" fmla="*/ 3828990 w 9586368"/>
              <a:gd name="connsiteY520" fmla="*/ 6222160 h 6479439"/>
              <a:gd name="connsiteX521" fmla="*/ 3838899 w 9586368"/>
              <a:gd name="connsiteY521" fmla="*/ 6222160 h 6479439"/>
              <a:gd name="connsiteX522" fmla="*/ 3842917 w 9586368"/>
              <a:gd name="connsiteY522" fmla="*/ 6226198 h 6479439"/>
              <a:gd name="connsiteX523" fmla="*/ 3842917 w 9586368"/>
              <a:gd name="connsiteY523" fmla="*/ 6236069 h 6479439"/>
              <a:gd name="connsiteX524" fmla="*/ 3838899 w 9586368"/>
              <a:gd name="connsiteY524" fmla="*/ 6240109 h 6479439"/>
              <a:gd name="connsiteX525" fmla="*/ 3828990 w 9586368"/>
              <a:gd name="connsiteY525" fmla="*/ 6240109 h 6479439"/>
              <a:gd name="connsiteX526" fmla="*/ 3824971 w 9586368"/>
              <a:gd name="connsiteY526" fmla="*/ 6236069 h 6479439"/>
              <a:gd name="connsiteX527" fmla="*/ 3824971 w 9586368"/>
              <a:gd name="connsiteY527" fmla="*/ 6226198 h 6479439"/>
              <a:gd name="connsiteX528" fmla="*/ 3589676 w 9586368"/>
              <a:gd name="connsiteY528" fmla="*/ 6222160 h 6479439"/>
              <a:gd name="connsiteX529" fmla="*/ 3599585 w 9586368"/>
              <a:gd name="connsiteY529" fmla="*/ 6222160 h 6479439"/>
              <a:gd name="connsiteX530" fmla="*/ 3603604 w 9586368"/>
              <a:gd name="connsiteY530" fmla="*/ 6226198 h 6479439"/>
              <a:gd name="connsiteX531" fmla="*/ 3603604 w 9586368"/>
              <a:gd name="connsiteY531" fmla="*/ 6236069 h 6479439"/>
              <a:gd name="connsiteX532" fmla="*/ 3599585 w 9586368"/>
              <a:gd name="connsiteY532" fmla="*/ 6240109 h 6479439"/>
              <a:gd name="connsiteX533" fmla="*/ 3589676 w 9586368"/>
              <a:gd name="connsiteY533" fmla="*/ 6240109 h 6479439"/>
              <a:gd name="connsiteX534" fmla="*/ 3585657 w 9586368"/>
              <a:gd name="connsiteY534" fmla="*/ 6236069 h 6479439"/>
              <a:gd name="connsiteX535" fmla="*/ 3585657 w 9586368"/>
              <a:gd name="connsiteY535" fmla="*/ 6226198 h 6479439"/>
              <a:gd name="connsiteX536" fmla="*/ 3350359 w 9586368"/>
              <a:gd name="connsiteY536" fmla="*/ 6222160 h 6479439"/>
              <a:gd name="connsiteX537" fmla="*/ 3360268 w 9586368"/>
              <a:gd name="connsiteY537" fmla="*/ 6222160 h 6479439"/>
              <a:gd name="connsiteX538" fmla="*/ 3364287 w 9586368"/>
              <a:gd name="connsiteY538" fmla="*/ 6226198 h 6479439"/>
              <a:gd name="connsiteX539" fmla="*/ 3364287 w 9586368"/>
              <a:gd name="connsiteY539" fmla="*/ 6236069 h 6479439"/>
              <a:gd name="connsiteX540" fmla="*/ 3360268 w 9586368"/>
              <a:gd name="connsiteY540" fmla="*/ 6240109 h 6479439"/>
              <a:gd name="connsiteX541" fmla="*/ 3350359 w 9586368"/>
              <a:gd name="connsiteY541" fmla="*/ 6240109 h 6479439"/>
              <a:gd name="connsiteX542" fmla="*/ 3346340 w 9586368"/>
              <a:gd name="connsiteY542" fmla="*/ 6236069 h 6479439"/>
              <a:gd name="connsiteX543" fmla="*/ 3346340 w 9586368"/>
              <a:gd name="connsiteY543" fmla="*/ 6226198 h 6479439"/>
              <a:gd name="connsiteX544" fmla="*/ 3111048 w 9586368"/>
              <a:gd name="connsiteY544" fmla="*/ 6222160 h 6479439"/>
              <a:gd name="connsiteX545" fmla="*/ 3120959 w 9586368"/>
              <a:gd name="connsiteY545" fmla="*/ 6222160 h 6479439"/>
              <a:gd name="connsiteX546" fmla="*/ 3124977 w 9586368"/>
              <a:gd name="connsiteY546" fmla="*/ 6226198 h 6479439"/>
              <a:gd name="connsiteX547" fmla="*/ 3124977 w 9586368"/>
              <a:gd name="connsiteY547" fmla="*/ 6236069 h 6479439"/>
              <a:gd name="connsiteX548" fmla="*/ 3120959 w 9586368"/>
              <a:gd name="connsiteY548" fmla="*/ 6240109 h 6479439"/>
              <a:gd name="connsiteX549" fmla="*/ 3111048 w 9586368"/>
              <a:gd name="connsiteY549" fmla="*/ 6240109 h 6479439"/>
              <a:gd name="connsiteX550" fmla="*/ 3107029 w 9586368"/>
              <a:gd name="connsiteY550" fmla="*/ 6236069 h 6479439"/>
              <a:gd name="connsiteX551" fmla="*/ 3107029 w 9586368"/>
              <a:gd name="connsiteY551" fmla="*/ 6226198 h 6479439"/>
              <a:gd name="connsiteX552" fmla="*/ 2871737 w 9586368"/>
              <a:gd name="connsiteY552" fmla="*/ 6222160 h 6479439"/>
              <a:gd name="connsiteX553" fmla="*/ 2881646 w 9586368"/>
              <a:gd name="connsiteY553" fmla="*/ 6222160 h 6479439"/>
              <a:gd name="connsiteX554" fmla="*/ 2885666 w 9586368"/>
              <a:gd name="connsiteY554" fmla="*/ 6226198 h 6479439"/>
              <a:gd name="connsiteX555" fmla="*/ 2885666 w 9586368"/>
              <a:gd name="connsiteY555" fmla="*/ 6236069 h 6479439"/>
              <a:gd name="connsiteX556" fmla="*/ 2881646 w 9586368"/>
              <a:gd name="connsiteY556" fmla="*/ 6240109 h 6479439"/>
              <a:gd name="connsiteX557" fmla="*/ 2871737 w 9586368"/>
              <a:gd name="connsiteY557" fmla="*/ 6240109 h 6479439"/>
              <a:gd name="connsiteX558" fmla="*/ 2867717 w 9586368"/>
              <a:gd name="connsiteY558" fmla="*/ 6236069 h 6479439"/>
              <a:gd name="connsiteX559" fmla="*/ 2867717 w 9586368"/>
              <a:gd name="connsiteY559" fmla="*/ 6226198 h 6479439"/>
              <a:gd name="connsiteX560" fmla="*/ 2632423 w 9586368"/>
              <a:gd name="connsiteY560" fmla="*/ 6222160 h 6479439"/>
              <a:gd name="connsiteX561" fmla="*/ 2642334 w 9586368"/>
              <a:gd name="connsiteY561" fmla="*/ 6222160 h 6479439"/>
              <a:gd name="connsiteX562" fmla="*/ 2646352 w 9586368"/>
              <a:gd name="connsiteY562" fmla="*/ 6226198 h 6479439"/>
              <a:gd name="connsiteX563" fmla="*/ 2646352 w 9586368"/>
              <a:gd name="connsiteY563" fmla="*/ 6236069 h 6479439"/>
              <a:gd name="connsiteX564" fmla="*/ 2642334 w 9586368"/>
              <a:gd name="connsiteY564" fmla="*/ 6240109 h 6479439"/>
              <a:gd name="connsiteX565" fmla="*/ 2632423 w 9586368"/>
              <a:gd name="connsiteY565" fmla="*/ 6240109 h 6479439"/>
              <a:gd name="connsiteX566" fmla="*/ 2628404 w 9586368"/>
              <a:gd name="connsiteY566" fmla="*/ 6236069 h 6479439"/>
              <a:gd name="connsiteX567" fmla="*/ 2628404 w 9586368"/>
              <a:gd name="connsiteY567" fmla="*/ 6226198 h 6479439"/>
              <a:gd name="connsiteX568" fmla="*/ 2393104 w 9586368"/>
              <a:gd name="connsiteY568" fmla="*/ 6222160 h 6479439"/>
              <a:gd name="connsiteX569" fmla="*/ 2403015 w 9586368"/>
              <a:gd name="connsiteY569" fmla="*/ 6222160 h 6479439"/>
              <a:gd name="connsiteX570" fmla="*/ 2407034 w 9586368"/>
              <a:gd name="connsiteY570" fmla="*/ 6226198 h 6479439"/>
              <a:gd name="connsiteX571" fmla="*/ 2407034 w 9586368"/>
              <a:gd name="connsiteY571" fmla="*/ 6236069 h 6479439"/>
              <a:gd name="connsiteX572" fmla="*/ 2403015 w 9586368"/>
              <a:gd name="connsiteY572" fmla="*/ 6240109 h 6479439"/>
              <a:gd name="connsiteX573" fmla="*/ 2393104 w 9586368"/>
              <a:gd name="connsiteY573" fmla="*/ 6240109 h 6479439"/>
              <a:gd name="connsiteX574" fmla="*/ 2389087 w 9586368"/>
              <a:gd name="connsiteY574" fmla="*/ 6236069 h 6479439"/>
              <a:gd name="connsiteX575" fmla="*/ 2389087 w 9586368"/>
              <a:gd name="connsiteY575" fmla="*/ 6226198 h 6479439"/>
              <a:gd name="connsiteX576" fmla="*/ 2157818 w 9586368"/>
              <a:gd name="connsiteY576" fmla="*/ 6222160 h 6479439"/>
              <a:gd name="connsiteX577" fmla="*/ 2167728 w 9586368"/>
              <a:gd name="connsiteY577" fmla="*/ 6222160 h 6479439"/>
              <a:gd name="connsiteX578" fmla="*/ 2171746 w 9586368"/>
              <a:gd name="connsiteY578" fmla="*/ 6226198 h 6479439"/>
              <a:gd name="connsiteX579" fmla="*/ 2171746 w 9586368"/>
              <a:gd name="connsiteY579" fmla="*/ 6236069 h 6479439"/>
              <a:gd name="connsiteX580" fmla="*/ 2167728 w 9586368"/>
              <a:gd name="connsiteY580" fmla="*/ 6240109 h 6479439"/>
              <a:gd name="connsiteX581" fmla="*/ 2157818 w 9586368"/>
              <a:gd name="connsiteY581" fmla="*/ 6240109 h 6479439"/>
              <a:gd name="connsiteX582" fmla="*/ 2153799 w 9586368"/>
              <a:gd name="connsiteY582" fmla="*/ 6236069 h 6479439"/>
              <a:gd name="connsiteX583" fmla="*/ 2153799 w 9586368"/>
              <a:gd name="connsiteY583" fmla="*/ 6226198 h 6479439"/>
              <a:gd name="connsiteX584" fmla="*/ 1918509 w 9586368"/>
              <a:gd name="connsiteY584" fmla="*/ 6222160 h 6479439"/>
              <a:gd name="connsiteX585" fmla="*/ 1928419 w 9586368"/>
              <a:gd name="connsiteY585" fmla="*/ 6222160 h 6479439"/>
              <a:gd name="connsiteX586" fmla="*/ 1932438 w 9586368"/>
              <a:gd name="connsiteY586" fmla="*/ 6226198 h 6479439"/>
              <a:gd name="connsiteX587" fmla="*/ 1932438 w 9586368"/>
              <a:gd name="connsiteY587" fmla="*/ 6236069 h 6479439"/>
              <a:gd name="connsiteX588" fmla="*/ 1928419 w 9586368"/>
              <a:gd name="connsiteY588" fmla="*/ 6240109 h 6479439"/>
              <a:gd name="connsiteX589" fmla="*/ 1918509 w 9586368"/>
              <a:gd name="connsiteY589" fmla="*/ 6240109 h 6479439"/>
              <a:gd name="connsiteX590" fmla="*/ 1914490 w 9586368"/>
              <a:gd name="connsiteY590" fmla="*/ 6236069 h 6479439"/>
              <a:gd name="connsiteX591" fmla="*/ 1914490 w 9586368"/>
              <a:gd name="connsiteY591" fmla="*/ 6226198 h 6479439"/>
              <a:gd name="connsiteX592" fmla="*/ 1679200 w 9586368"/>
              <a:gd name="connsiteY592" fmla="*/ 6222160 h 6479439"/>
              <a:gd name="connsiteX593" fmla="*/ 1689110 w 9586368"/>
              <a:gd name="connsiteY593" fmla="*/ 6222160 h 6479439"/>
              <a:gd name="connsiteX594" fmla="*/ 1693129 w 9586368"/>
              <a:gd name="connsiteY594" fmla="*/ 6226198 h 6479439"/>
              <a:gd name="connsiteX595" fmla="*/ 1693129 w 9586368"/>
              <a:gd name="connsiteY595" fmla="*/ 6236069 h 6479439"/>
              <a:gd name="connsiteX596" fmla="*/ 1689110 w 9586368"/>
              <a:gd name="connsiteY596" fmla="*/ 6240109 h 6479439"/>
              <a:gd name="connsiteX597" fmla="*/ 1679200 w 9586368"/>
              <a:gd name="connsiteY597" fmla="*/ 6240109 h 6479439"/>
              <a:gd name="connsiteX598" fmla="*/ 1675182 w 9586368"/>
              <a:gd name="connsiteY598" fmla="*/ 6236069 h 6479439"/>
              <a:gd name="connsiteX599" fmla="*/ 1675182 w 9586368"/>
              <a:gd name="connsiteY599" fmla="*/ 6226198 h 6479439"/>
              <a:gd name="connsiteX600" fmla="*/ 1439885 w 9586368"/>
              <a:gd name="connsiteY600" fmla="*/ 6222160 h 6479439"/>
              <a:gd name="connsiteX601" fmla="*/ 1449795 w 9586368"/>
              <a:gd name="connsiteY601" fmla="*/ 6222160 h 6479439"/>
              <a:gd name="connsiteX602" fmla="*/ 1453814 w 9586368"/>
              <a:gd name="connsiteY602" fmla="*/ 6226198 h 6479439"/>
              <a:gd name="connsiteX603" fmla="*/ 1453814 w 9586368"/>
              <a:gd name="connsiteY603" fmla="*/ 6236069 h 6479439"/>
              <a:gd name="connsiteX604" fmla="*/ 1449795 w 9586368"/>
              <a:gd name="connsiteY604" fmla="*/ 6240109 h 6479439"/>
              <a:gd name="connsiteX605" fmla="*/ 1439885 w 9586368"/>
              <a:gd name="connsiteY605" fmla="*/ 6240109 h 6479439"/>
              <a:gd name="connsiteX606" fmla="*/ 1435866 w 9586368"/>
              <a:gd name="connsiteY606" fmla="*/ 6236069 h 6479439"/>
              <a:gd name="connsiteX607" fmla="*/ 1435866 w 9586368"/>
              <a:gd name="connsiteY607" fmla="*/ 6226198 h 6479439"/>
              <a:gd name="connsiteX608" fmla="*/ 1200570 w 9586368"/>
              <a:gd name="connsiteY608" fmla="*/ 6222160 h 6479439"/>
              <a:gd name="connsiteX609" fmla="*/ 1210481 w 9586368"/>
              <a:gd name="connsiteY609" fmla="*/ 6222160 h 6479439"/>
              <a:gd name="connsiteX610" fmla="*/ 1214499 w 9586368"/>
              <a:gd name="connsiteY610" fmla="*/ 6226198 h 6479439"/>
              <a:gd name="connsiteX611" fmla="*/ 1214499 w 9586368"/>
              <a:gd name="connsiteY611" fmla="*/ 6236069 h 6479439"/>
              <a:gd name="connsiteX612" fmla="*/ 1210481 w 9586368"/>
              <a:gd name="connsiteY612" fmla="*/ 6240109 h 6479439"/>
              <a:gd name="connsiteX613" fmla="*/ 1200570 w 9586368"/>
              <a:gd name="connsiteY613" fmla="*/ 6240109 h 6479439"/>
              <a:gd name="connsiteX614" fmla="*/ 1196551 w 9586368"/>
              <a:gd name="connsiteY614" fmla="*/ 6236069 h 6479439"/>
              <a:gd name="connsiteX615" fmla="*/ 1196551 w 9586368"/>
              <a:gd name="connsiteY615" fmla="*/ 6226198 h 6479439"/>
              <a:gd name="connsiteX616" fmla="*/ 961258 w 9586368"/>
              <a:gd name="connsiteY616" fmla="*/ 6222160 h 6479439"/>
              <a:gd name="connsiteX617" fmla="*/ 971167 w 9586368"/>
              <a:gd name="connsiteY617" fmla="*/ 6222160 h 6479439"/>
              <a:gd name="connsiteX618" fmla="*/ 975186 w 9586368"/>
              <a:gd name="connsiteY618" fmla="*/ 6226198 h 6479439"/>
              <a:gd name="connsiteX619" fmla="*/ 975186 w 9586368"/>
              <a:gd name="connsiteY619" fmla="*/ 6236069 h 6479439"/>
              <a:gd name="connsiteX620" fmla="*/ 971167 w 9586368"/>
              <a:gd name="connsiteY620" fmla="*/ 6240109 h 6479439"/>
              <a:gd name="connsiteX621" fmla="*/ 961258 w 9586368"/>
              <a:gd name="connsiteY621" fmla="*/ 6240109 h 6479439"/>
              <a:gd name="connsiteX622" fmla="*/ 957239 w 9586368"/>
              <a:gd name="connsiteY622" fmla="*/ 6236069 h 6479439"/>
              <a:gd name="connsiteX623" fmla="*/ 957239 w 9586368"/>
              <a:gd name="connsiteY623" fmla="*/ 6226198 h 6479439"/>
              <a:gd name="connsiteX624" fmla="*/ 721959 w 9586368"/>
              <a:gd name="connsiteY624" fmla="*/ 6222160 h 6479439"/>
              <a:gd name="connsiteX625" fmla="*/ 731869 w 9586368"/>
              <a:gd name="connsiteY625" fmla="*/ 6222160 h 6479439"/>
              <a:gd name="connsiteX626" fmla="*/ 735888 w 9586368"/>
              <a:gd name="connsiteY626" fmla="*/ 6226198 h 6479439"/>
              <a:gd name="connsiteX627" fmla="*/ 735888 w 9586368"/>
              <a:gd name="connsiteY627" fmla="*/ 6236069 h 6479439"/>
              <a:gd name="connsiteX628" fmla="*/ 731869 w 9586368"/>
              <a:gd name="connsiteY628" fmla="*/ 6240109 h 6479439"/>
              <a:gd name="connsiteX629" fmla="*/ 721959 w 9586368"/>
              <a:gd name="connsiteY629" fmla="*/ 6240109 h 6479439"/>
              <a:gd name="connsiteX630" fmla="*/ 717940 w 9586368"/>
              <a:gd name="connsiteY630" fmla="*/ 6236069 h 6479439"/>
              <a:gd name="connsiteX631" fmla="*/ 717940 w 9586368"/>
              <a:gd name="connsiteY631" fmla="*/ 6226198 h 6479439"/>
              <a:gd name="connsiteX632" fmla="*/ 482646 w 9586368"/>
              <a:gd name="connsiteY632" fmla="*/ 6222160 h 6479439"/>
              <a:gd name="connsiteX633" fmla="*/ 492557 w 9586368"/>
              <a:gd name="connsiteY633" fmla="*/ 6222160 h 6479439"/>
              <a:gd name="connsiteX634" fmla="*/ 496576 w 9586368"/>
              <a:gd name="connsiteY634" fmla="*/ 6226198 h 6479439"/>
              <a:gd name="connsiteX635" fmla="*/ 496576 w 9586368"/>
              <a:gd name="connsiteY635" fmla="*/ 6236069 h 6479439"/>
              <a:gd name="connsiteX636" fmla="*/ 492557 w 9586368"/>
              <a:gd name="connsiteY636" fmla="*/ 6240109 h 6479439"/>
              <a:gd name="connsiteX637" fmla="*/ 482646 w 9586368"/>
              <a:gd name="connsiteY637" fmla="*/ 6240109 h 6479439"/>
              <a:gd name="connsiteX638" fmla="*/ 478627 w 9586368"/>
              <a:gd name="connsiteY638" fmla="*/ 6236069 h 6479439"/>
              <a:gd name="connsiteX639" fmla="*/ 478627 w 9586368"/>
              <a:gd name="connsiteY639" fmla="*/ 6226198 h 6479439"/>
              <a:gd name="connsiteX640" fmla="*/ 243333 w 9586368"/>
              <a:gd name="connsiteY640" fmla="*/ 6222160 h 6479439"/>
              <a:gd name="connsiteX641" fmla="*/ 253243 w 9586368"/>
              <a:gd name="connsiteY641" fmla="*/ 6222160 h 6479439"/>
              <a:gd name="connsiteX642" fmla="*/ 257263 w 9586368"/>
              <a:gd name="connsiteY642" fmla="*/ 6226198 h 6479439"/>
              <a:gd name="connsiteX643" fmla="*/ 257263 w 9586368"/>
              <a:gd name="connsiteY643" fmla="*/ 6236069 h 6479439"/>
              <a:gd name="connsiteX644" fmla="*/ 253243 w 9586368"/>
              <a:gd name="connsiteY644" fmla="*/ 6240109 h 6479439"/>
              <a:gd name="connsiteX645" fmla="*/ 243333 w 9586368"/>
              <a:gd name="connsiteY645" fmla="*/ 6240109 h 6479439"/>
              <a:gd name="connsiteX646" fmla="*/ 239314 w 9586368"/>
              <a:gd name="connsiteY646" fmla="*/ 6236069 h 6479439"/>
              <a:gd name="connsiteX647" fmla="*/ 239314 w 9586368"/>
              <a:gd name="connsiteY647" fmla="*/ 6226198 h 6479439"/>
              <a:gd name="connsiteX648" fmla="*/ 4020 w 9586368"/>
              <a:gd name="connsiteY648" fmla="*/ 6222160 h 6479439"/>
              <a:gd name="connsiteX649" fmla="*/ 13930 w 9586368"/>
              <a:gd name="connsiteY649" fmla="*/ 6222160 h 6479439"/>
              <a:gd name="connsiteX650" fmla="*/ 17949 w 9586368"/>
              <a:gd name="connsiteY650" fmla="*/ 6226198 h 6479439"/>
              <a:gd name="connsiteX651" fmla="*/ 17949 w 9586368"/>
              <a:gd name="connsiteY651" fmla="*/ 6236069 h 6479439"/>
              <a:gd name="connsiteX652" fmla="*/ 13930 w 9586368"/>
              <a:gd name="connsiteY652" fmla="*/ 6240109 h 6479439"/>
              <a:gd name="connsiteX653" fmla="*/ 4020 w 9586368"/>
              <a:gd name="connsiteY653" fmla="*/ 6240109 h 6479439"/>
              <a:gd name="connsiteX654" fmla="*/ 1 w 9586368"/>
              <a:gd name="connsiteY654" fmla="*/ 6236069 h 6479439"/>
              <a:gd name="connsiteX655" fmla="*/ 1 w 9586368"/>
              <a:gd name="connsiteY655" fmla="*/ 6226198 h 6479439"/>
              <a:gd name="connsiteX656" fmla="*/ 2157818 w 9586368"/>
              <a:gd name="connsiteY656" fmla="*/ 5982881 h 6479439"/>
              <a:gd name="connsiteX657" fmla="*/ 2167728 w 9586368"/>
              <a:gd name="connsiteY657" fmla="*/ 5982881 h 6479439"/>
              <a:gd name="connsiteX658" fmla="*/ 2171747 w 9586368"/>
              <a:gd name="connsiteY658" fmla="*/ 5986919 h 6479439"/>
              <a:gd name="connsiteX659" fmla="*/ 2171747 w 9586368"/>
              <a:gd name="connsiteY659" fmla="*/ 5996790 h 6479439"/>
              <a:gd name="connsiteX660" fmla="*/ 2167728 w 9586368"/>
              <a:gd name="connsiteY660" fmla="*/ 6000829 h 6479439"/>
              <a:gd name="connsiteX661" fmla="*/ 2157818 w 9586368"/>
              <a:gd name="connsiteY661" fmla="*/ 6000829 h 6479439"/>
              <a:gd name="connsiteX662" fmla="*/ 2153799 w 9586368"/>
              <a:gd name="connsiteY662" fmla="*/ 5996790 h 6479439"/>
              <a:gd name="connsiteX663" fmla="*/ 2153799 w 9586368"/>
              <a:gd name="connsiteY663" fmla="*/ 5986919 h 6479439"/>
              <a:gd name="connsiteX664" fmla="*/ 1918509 w 9586368"/>
              <a:gd name="connsiteY664" fmla="*/ 5982881 h 6479439"/>
              <a:gd name="connsiteX665" fmla="*/ 1928420 w 9586368"/>
              <a:gd name="connsiteY665" fmla="*/ 5982881 h 6479439"/>
              <a:gd name="connsiteX666" fmla="*/ 1932438 w 9586368"/>
              <a:gd name="connsiteY666" fmla="*/ 5986919 h 6479439"/>
              <a:gd name="connsiteX667" fmla="*/ 1932438 w 9586368"/>
              <a:gd name="connsiteY667" fmla="*/ 5996790 h 6479439"/>
              <a:gd name="connsiteX668" fmla="*/ 1928420 w 9586368"/>
              <a:gd name="connsiteY668" fmla="*/ 6000829 h 6479439"/>
              <a:gd name="connsiteX669" fmla="*/ 1918509 w 9586368"/>
              <a:gd name="connsiteY669" fmla="*/ 6000829 h 6479439"/>
              <a:gd name="connsiteX670" fmla="*/ 1914490 w 9586368"/>
              <a:gd name="connsiteY670" fmla="*/ 5996790 h 6479439"/>
              <a:gd name="connsiteX671" fmla="*/ 1914490 w 9586368"/>
              <a:gd name="connsiteY671" fmla="*/ 5986919 h 6479439"/>
              <a:gd name="connsiteX672" fmla="*/ 1679201 w 9586368"/>
              <a:gd name="connsiteY672" fmla="*/ 5982881 h 6479439"/>
              <a:gd name="connsiteX673" fmla="*/ 1689111 w 9586368"/>
              <a:gd name="connsiteY673" fmla="*/ 5982881 h 6479439"/>
              <a:gd name="connsiteX674" fmla="*/ 1693129 w 9586368"/>
              <a:gd name="connsiteY674" fmla="*/ 5986919 h 6479439"/>
              <a:gd name="connsiteX675" fmla="*/ 1693129 w 9586368"/>
              <a:gd name="connsiteY675" fmla="*/ 5996790 h 6479439"/>
              <a:gd name="connsiteX676" fmla="*/ 1689111 w 9586368"/>
              <a:gd name="connsiteY676" fmla="*/ 6000829 h 6479439"/>
              <a:gd name="connsiteX677" fmla="*/ 1679201 w 9586368"/>
              <a:gd name="connsiteY677" fmla="*/ 6000829 h 6479439"/>
              <a:gd name="connsiteX678" fmla="*/ 1675182 w 9586368"/>
              <a:gd name="connsiteY678" fmla="*/ 5996790 h 6479439"/>
              <a:gd name="connsiteX679" fmla="*/ 1675182 w 9586368"/>
              <a:gd name="connsiteY679" fmla="*/ 5986919 h 6479439"/>
              <a:gd name="connsiteX680" fmla="*/ 1439886 w 9586368"/>
              <a:gd name="connsiteY680" fmla="*/ 5982881 h 6479439"/>
              <a:gd name="connsiteX681" fmla="*/ 1449796 w 9586368"/>
              <a:gd name="connsiteY681" fmla="*/ 5982881 h 6479439"/>
              <a:gd name="connsiteX682" fmla="*/ 1453814 w 9586368"/>
              <a:gd name="connsiteY682" fmla="*/ 5986919 h 6479439"/>
              <a:gd name="connsiteX683" fmla="*/ 1453814 w 9586368"/>
              <a:gd name="connsiteY683" fmla="*/ 5996790 h 6479439"/>
              <a:gd name="connsiteX684" fmla="*/ 1449796 w 9586368"/>
              <a:gd name="connsiteY684" fmla="*/ 6000829 h 6479439"/>
              <a:gd name="connsiteX685" fmla="*/ 1439886 w 9586368"/>
              <a:gd name="connsiteY685" fmla="*/ 6000829 h 6479439"/>
              <a:gd name="connsiteX686" fmla="*/ 1435866 w 9586368"/>
              <a:gd name="connsiteY686" fmla="*/ 5996790 h 6479439"/>
              <a:gd name="connsiteX687" fmla="*/ 1435866 w 9586368"/>
              <a:gd name="connsiteY687" fmla="*/ 5986919 h 6479439"/>
              <a:gd name="connsiteX688" fmla="*/ 1200571 w 9586368"/>
              <a:gd name="connsiteY688" fmla="*/ 5982881 h 6479439"/>
              <a:gd name="connsiteX689" fmla="*/ 1210481 w 9586368"/>
              <a:gd name="connsiteY689" fmla="*/ 5982881 h 6479439"/>
              <a:gd name="connsiteX690" fmla="*/ 1214500 w 9586368"/>
              <a:gd name="connsiteY690" fmla="*/ 5986919 h 6479439"/>
              <a:gd name="connsiteX691" fmla="*/ 1214500 w 9586368"/>
              <a:gd name="connsiteY691" fmla="*/ 5996790 h 6479439"/>
              <a:gd name="connsiteX692" fmla="*/ 1210481 w 9586368"/>
              <a:gd name="connsiteY692" fmla="*/ 6000829 h 6479439"/>
              <a:gd name="connsiteX693" fmla="*/ 1200571 w 9586368"/>
              <a:gd name="connsiteY693" fmla="*/ 6000829 h 6479439"/>
              <a:gd name="connsiteX694" fmla="*/ 1196553 w 9586368"/>
              <a:gd name="connsiteY694" fmla="*/ 5996790 h 6479439"/>
              <a:gd name="connsiteX695" fmla="*/ 1196553 w 9586368"/>
              <a:gd name="connsiteY695" fmla="*/ 5986919 h 6479439"/>
              <a:gd name="connsiteX696" fmla="*/ 961258 w 9586368"/>
              <a:gd name="connsiteY696" fmla="*/ 5982881 h 6479439"/>
              <a:gd name="connsiteX697" fmla="*/ 971168 w 9586368"/>
              <a:gd name="connsiteY697" fmla="*/ 5982881 h 6479439"/>
              <a:gd name="connsiteX698" fmla="*/ 975187 w 9586368"/>
              <a:gd name="connsiteY698" fmla="*/ 5986919 h 6479439"/>
              <a:gd name="connsiteX699" fmla="*/ 975187 w 9586368"/>
              <a:gd name="connsiteY699" fmla="*/ 5996790 h 6479439"/>
              <a:gd name="connsiteX700" fmla="*/ 971168 w 9586368"/>
              <a:gd name="connsiteY700" fmla="*/ 6000829 h 6479439"/>
              <a:gd name="connsiteX701" fmla="*/ 961258 w 9586368"/>
              <a:gd name="connsiteY701" fmla="*/ 6000829 h 6479439"/>
              <a:gd name="connsiteX702" fmla="*/ 957239 w 9586368"/>
              <a:gd name="connsiteY702" fmla="*/ 5996790 h 6479439"/>
              <a:gd name="connsiteX703" fmla="*/ 957239 w 9586368"/>
              <a:gd name="connsiteY703" fmla="*/ 5986919 h 6479439"/>
              <a:gd name="connsiteX704" fmla="*/ 9572438 w 9586368"/>
              <a:gd name="connsiteY704" fmla="*/ 5982829 h 6479439"/>
              <a:gd name="connsiteX705" fmla="*/ 9582349 w 9586368"/>
              <a:gd name="connsiteY705" fmla="*/ 5982829 h 6479439"/>
              <a:gd name="connsiteX706" fmla="*/ 9586368 w 9586368"/>
              <a:gd name="connsiteY706" fmla="*/ 5986868 h 6479439"/>
              <a:gd name="connsiteX707" fmla="*/ 9586368 w 9586368"/>
              <a:gd name="connsiteY707" fmla="*/ 5996739 h 6479439"/>
              <a:gd name="connsiteX708" fmla="*/ 9582349 w 9586368"/>
              <a:gd name="connsiteY708" fmla="*/ 6000778 h 6479439"/>
              <a:gd name="connsiteX709" fmla="*/ 9572438 w 9586368"/>
              <a:gd name="connsiteY709" fmla="*/ 6000778 h 6479439"/>
              <a:gd name="connsiteX710" fmla="*/ 9568419 w 9586368"/>
              <a:gd name="connsiteY710" fmla="*/ 5996739 h 6479439"/>
              <a:gd name="connsiteX711" fmla="*/ 9568419 w 9586368"/>
              <a:gd name="connsiteY711" fmla="*/ 5986868 h 6479439"/>
              <a:gd name="connsiteX712" fmla="*/ 9333125 w 9586368"/>
              <a:gd name="connsiteY712" fmla="*/ 5982829 h 6479439"/>
              <a:gd name="connsiteX713" fmla="*/ 9343036 w 9586368"/>
              <a:gd name="connsiteY713" fmla="*/ 5982829 h 6479439"/>
              <a:gd name="connsiteX714" fmla="*/ 9347055 w 9586368"/>
              <a:gd name="connsiteY714" fmla="*/ 5986868 h 6479439"/>
              <a:gd name="connsiteX715" fmla="*/ 9347055 w 9586368"/>
              <a:gd name="connsiteY715" fmla="*/ 5996739 h 6479439"/>
              <a:gd name="connsiteX716" fmla="*/ 9343036 w 9586368"/>
              <a:gd name="connsiteY716" fmla="*/ 6000778 h 6479439"/>
              <a:gd name="connsiteX717" fmla="*/ 9333125 w 9586368"/>
              <a:gd name="connsiteY717" fmla="*/ 6000778 h 6479439"/>
              <a:gd name="connsiteX718" fmla="*/ 9329106 w 9586368"/>
              <a:gd name="connsiteY718" fmla="*/ 5996739 h 6479439"/>
              <a:gd name="connsiteX719" fmla="*/ 9329106 w 9586368"/>
              <a:gd name="connsiteY719" fmla="*/ 5986868 h 6479439"/>
              <a:gd name="connsiteX720" fmla="*/ 9093811 w 9586368"/>
              <a:gd name="connsiteY720" fmla="*/ 5982829 h 6479439"/>
              <a:gd name="connsiteX721" fmla="*/ 9103722 w 9586368"/>
              <a:gd name="connsiteY721" fmla="*/ 5982829 h 6479439"/>
              <a:gd name="connsiteX722" fmla="*/ 9107741 w 9586368"/>
              <a:gd name="connsiteY722" fmla="*/ 5986868 h 6479439"/>
              <a:gd name="connsiteX723" fmla="*/ 9107741 w 9586368"/>
              <a:gd name="connsiteY723" fmla="*/ 5996739 h 6479439"/>
              <a:gd name="connsiteX724" fmla="*/ 9103722 w 9586368"/>
              <a:gd name="connsiteY724" fmla="*/ 6000778 h 6479439"/>
              <a:gd name="connsiteX725" fmla="*/ 9093811 w 9586368"/>
              <a:gd name="connsiteY725" fmla="*/ 6000778 h 6479439"/>
              <a:gd name="connsiteX726" fmla="*/ 9089792 w 9586368"/>
              <a:gd name="connsiteY726" fmla="*/ 5996739 h 6479439"/>
              <a:gd name="connsiteX727" fmla="*/ 9089792 w 9586368"/>
              <a:gd name="connsiteY727" fmla="*/ 5986868 h 6479439"/>
              <a:gd name="connsiteX728" fmla="*/ 8854496 w 9586368"/>
              <a:gd name="connsiteY728" fmla="*/ 5982829 h 6479439"/>
              <a:gd name="connsiteX729" fmla="*/ 8864407 w 9586368"/>
              <a:gd name="connsiteY729" fmla="*/ 5982829 h 6479439"/>
              <a:gd name="connsiteX730" fmla="*/ 8868426 w 9586368"/>
              <a:gd name="connsiteY730" fmla="*/ 5986868 h 6479439"/>
              <a:gd name="connsiteX731" fmla="*/ 8868426 w 9586368"/>
              <a:gd name="connsiteY731" fmla="*/ 5996739 h 6479439"/>
              <a:gd name="connsiteX732" fmla="*/ 8864407 w 9586368"/>
              <a:gd name="connsiteY732" fmla="*/ 6000778 h 6479439"/>
              <a:gd name="connsiteX733" fmla="*/ 8854496 w 9586368"/>
              <a:gd name="connsiteY733" fmla="*/ 6000778 h 6479439"/>
              <a:gd name="connsiteX734" fmla="*/ 8850477 w 9586368"/>
              <a:gd name="connsiteY734" fmla="*/ 5996739 h 6479439"/>
              <a:gd name="connsiteX735" fmla="*/ 8850477 w 9586368"/>
              <a:gd name="connsiteY735" fmla="*/ 5986868 h 6479439"/>
              <a:gd name="connsiteX736" fmla="*/ 8615184 w 9586368"/>
              <a:gd name="connsiteY736" fmla="*/ 5982829 h 6479439"/>
              <a:gd name="connsiteX737" fmla="*/ 8625095 w 9586368"/>
              <a:gd name="connsiteY737" fmla="*/ 5982829 h 6479439"/>
              <a:gd name="connsiteX738" fmla="*/ 8629114 w 9586368"/>
              <a:gd name="connsiteY738" fmla="*/ 5986868 h 6479439"/>
              <a:gd name="connsiteX739" fmla="*/ 8629114 w 9586368"/>
              <a:gd name="connsiteY739" fmla="*/ 5996739 h 6479439"/>
              <a:gd name="connsiteX740" fmla="*/ 8625095 w 9586368"/>
              <a:gd name="connsiteY740" fmla="*/ 6000778 h 6479439"/>
              <a:gd name="connsiteX741" fmla="*/ 8615184 w 9586368"/>
              <a:gd name="connsiteY741" fmla="*/ 6000778 h 6479439"/>
              <a:gd name="connsiteX742" fmla="*/ 8611165 w 9586368"/>
              <a:gd name="connsiteY742" fmla="*/ 5996739 h 6479439"/>
              <a:gd name="connsiteX743" fmla="*/ 8611165 w 9586368"/>
              <a:gd name="connsiteY743" fmla="*/ 5986868 h 6479439"/>
              <a:gd name="connsiteX744" fmla="*/ 8375869 w 9586368"/>
              <a:gd name="connsiteY744" fmla="*/ 5982829 h 6479439"/>
              <a:gd name="connsiteX745" fmla="*/ 8385779 w 9586368"/>
              <a:gd name="connsiteY745" fmla="*/ 5982829 h 6479439"/>
              <a:gd name="connsiteX746" fmla="*/ 8389799 w 9586368"/>
              <a:gd name="connsiteY746" fmla="*/ 5986868 h 6479439"/>
              <a:gd name="connsiteX747" fmla="*/ 8389799 w 9586368"/>
              <a:gd name="connsiteY747" fmla="*/ 5996739 h 6479439"/>
              <a:gd name="connsiteX748" fmla="*/ 8385779 w 9586368"/>
              <a:gd name="connsiteY748" fmla="*/ 6000778 h 6479439"/>
              <a:gd name="connsiteX749" fmla="*/ 8375869 w 9586368"/>
              <a:gd name="connsiteY749" fmla="*/ 6000778 h 6479439"/>
              <a:gd name="connsiteX750" fmla="*/ 8371850 w 9586368"/>
              <a:gd name="connsiteY750" fmla="*/ 5996739 h 6479439"/>
              <a:gd name="connsiteX751" fmla="*/ 8371850 w 9586368"/>
              <a:gd name="connsiteY751" fmla="*/ 5986868 h 6479439"/>
              <a:gd name="connsiteX752" fmla="*/ 8136553 w 9586368"/>
              <a:gd name="connsiteY752" fmla="*/ 5982829 h 6479439"/>
              <a:gd name="connsiteX753" fmla="*/ 8146464 w 9586368"/>
              <a:gd name="connsiteY753" fmla="*/ 5982829 h 6479439"/>
              <a:gd name="connsiteX754" fmla="*/ 8150483 w 9586368"/>
              <a:gd name="connsiteY754" fmla="*/ 5986868 h 6479439"/>
              <a:gd name="connsiteX755" fmla="*/ 8150483 w 9586368"/>
              <a:gd name="connsiteY755" fmla="*/ 5996739 h 6479439"/>
              <a:gd name="connsiteX756" fmla="*/ 8146464 w 9586368"/>
              <a:gd name="connsiteY756" fmla="*/ 6000778 h 6479439"/>
              <a:gd name="connsiteX757" fmla="*/ 8136553 w 9586368"/>
              <a:gd name="connsiteY757" fmla="*/ 6000778 h 6479439"/>
              <a:gd name="connsiteX758" fmla="*/ 8132534 w 9586368"/>
              <a:gd name="connsiteY758" fmla="*/ 5996739 h 6479439"/>
              <a:gd name="connsiteX759" fmla="*/ 8132534 w 9586368"/>
              <a:gd name="connsiteY759" fmla="*/ 5986868 h 6479439"/>
              <a:gd name="connsiteX760" fmla="*/ 7897241 w 9586368"/>
              <a:gd name="connsiteY760" fmla="*/ 5982829 h 6479439"/>
              <a:gd name="connsiteX761" fmla="*/ 7907151 w 9586368"/>
              <a:gd name="connsiteY761" fmla="*/ 5982829 h 6479439"/>
              <a:gd name="connsiteX762" fmla="*/ 7911170 w 9586368"/>
              <a:gd name="connsiteY762" fmla="*/ 5986868 h 6479439"/>
              <a:gd name="connsiteX763" fmla="*/ 7911170 w 9586368"/>
              <a:gd name="connsiteY763" fmla="*/ 5996739 h 6479439"/>
              <a:gd name="connsiteX764" fmla="*/ 7907151 w 9586368"/>
              <a:gd name="connsiteY764" fmla="*/ 6000778 h 6479439"/>
              <a:gd name="connsiteX765" fmla="*/ 7897241 w 9586368"/>
              <a:gd name="connsiteY765" fmla="*/ 6000778 h 6479439"/>
              <a:gd name="connsiteX766" fmla="*/ 7893222 w 9586368"/>
              <a:gd name="connsiteY766" fmla="*/ 5996739 h 6479439"/>
              <a:gd name="connsiteX767" fmla="*/ 7893222 w 9586368"/>
              <a:gd name="connsiteY767" fmla="*/ 5986868 h 6479439"/>
              <a:gd name="connsiteX768" fmla="*/ 7657926 w 9586368"/>
              <a:gd name="connsiteY768" fmla="*/ 5982829 h 6479439"/>
              <a:gd name="connsiteX769" fmla="*/ 7667836 w 9586368"/>
              <a:gd name="connsiteY769" fmla="*/ 5982829 h 6479439"/>
              <a:gd name="connsiteX770" fmla="*/ 7671855 w 9586368"/>
              <a:gd name="connsiteY770" fmla="*/ 5986868 h 6479439"/>
              <a:gd name="connsiteX771" fmla="*/ 7671855 w 9586368"/>
              <a:gd name="connsiteY771" fmla="*/ 5996739 h 6479439"/>
              <a:gd name="connsiteX772" fmla="*/ 7667836 w 9586368"/>
              <a:gd name="connsiteY772" fmla="*/ 6000778 h 6479439"/>
              <a:gd name="connsiteX773" fmla="*/ 7657926 w 9586368"/>
              <a:gd name="connsiteY773" fmla="*/ 6000778 h 6479439"/>
              <a:gd name="connsiteX774" fmla="*/ 7653906 w 9586368"/>
              <a:gd name="connsiteY774" fmla="*/ 5996739 h 6479439"/>
              <a:gd name="connsiteX775" fmla="*/ 7653906 w 9586368"/>
              <a:gd name="connsiteY775" fmla="*/ 5986868 h 6479439"/>
              <a:gd name="connsiteX776" fmla="*/ 7418611 w 9586368"/>
              <a:gd name="connsiteY776" fmla="*/ 5982829 h 6479439"/>
              <a:gd name="connsiteX777" fmla="*/ 7428521 w 9586368"/>
              <a:gd name="connsiteY777" fmla="*/ 5982829 h 6479439"/>
              <a:gd name="connsiteX778" fmla="*/ 7432540 w 9586368"/>
              <a:gd name="connsiteY778" fmla="*/ 5986868 h 6479439"/>
              <a:gd name="connsiteX779" fmla="*/ 7432540 w 9586368"/>
              <a:gd name="connsiteY779" fmla="*/ 5996739 h 6479439"/>
              <a:gd name="connsiteX780" fmla="*/ 7428521 w 9586368"/>
              <a:gd name="connsiteY780" fmla="*/ 6000778 h 6479439"/>
              <a:gd name="connsiteX781" fmla="*/ 7418611 w 9586368"/>
              <a:gd name="connsiteY781" fmla="*/ 6000778 h 6479439"/>
              <a:gd name="connsiteX782" fmla="*/ 7414592 w 9586368"/>
              <a:gd name="connsiteY782" fmla="*/ 5996739 h 6479439"/>
              <a:gd name="connsiteX783" fmla="*/ 7414592 w 9586368"/>
              <a:gd name="connsiteY783" fmla="*/ 5986868 h 6479439"/>
              <a:gd name="connsiteX784" fmla="*/ 7179298 w 9586368"/>
              <a:gd name="connsiteY784" fmla="*/ 5982829 h 6479439"/>
              <a:gd name="connsiteX785" fmla="*/ 7189209 w 9586368"/>
              <a:gd name="connsiteY785" fmla="*/ 5982829 h 6479439"/>
              <a:gd name="connsiteX786" fmla="*/ 7193228 w 9586368"/>
              <a:gd name="connsiteY786" fmla="*/ 5986868 h 6479439"/>
              <a:gd name="connsiteX787" fmla="*/ 7193228 w 9586368"/>
              <a:gd name="connsiteY787" fmla="*/ 5996739 h 6479439"/>
              <a:gd name="connsiteX788" fmla="*/ 7189209 w 9586368"/>
              <a:gd name="connsiteY788" fmla="*/ 6000778 h 6479439"/>
              <a:gd name="connsiteX789" fmla="*/ 7179298 w 9586368"/>
              <a:gd name="connsiteY789" fmla="*/ 6000778 h 6479439"/>
              <a:gd name="connsiteX790" fmla="*/ 7175279 w 9586368"/>
              <a:gd name="connsiteY790" fmla="*/ 5996739 h 6479439"/>
              <a:gd name="connsiteX791" fmla="*/ 7175279 w 9586368"/>
              <a:gd name="connsiteY791" fmla="*/ 5986868 h 6479439"/>
              <a:gd name="connsiteX792" fmla="*/ 6939983 w 9586368"/>
              <a:gd name="connsiteY792" fmla="*/ 5982829 h 6479439"/>
              <a:gd name="connsiteX793" fmla="*/ 6949894 w 9586368"/>
              <a:gd name="connsiteY793" fmla="*/ 5982829 h 6479439"/>
              <a:gd name="connsiteX794" fmla="*/ 6953913 w 9586368"/>
              <a:gd name="connsiteY794" fmla="*/ 5986868 h 6479439"/>
              <a:gd name="connsiteX795" fmla="*/ 6953913 w 9586368"/>
              <a:gd name="connsiteY795" fmla="*/ 5996739 h 6479439"/>
              <a:gd name="connsiteX796" fmla="*/ 6949894 w 9586368"/>
              <a:gd name="connsiteY796" fmla="*/ 6000778 h 6479439"/>
              <a:gd name="connsiteX797" fmla="*/ 6939983 w 9586368"/>
              <a:gd name="connsiteY797" fmla="*/ 6000778 h 6479439"/>
              <a:gd name="connsiteX798" fmla="*/ 6935964 w 9586368"/>
              <a:gd name="connsiteY798" fmla="*/ 5996739 h 6479439"/>
              <a:gd name="connsiteX799" fmla="*/ 6935964 w 9586368"/>
              <a:gd name="connsiteY799" fmla="*/ 5986868 h 6479439"/>
              <a:gd name="connsiteX800" fmla="*/ 6700670 w 9586368"/>
              <a:gd name="connsiteY800" fmla="*/ 5982829 h 6479439"/>
              <a:gd name="connsiteX801" fmla="*/ 6710581 w 9586368"/>
              <a:gd name="connsiteY801" fmla="*/ 5982829 h 6479439"/>
              <a:gd name="connsiteX802" fmla="*/ 6714600 w 9586368"/>
              <a:gd name="connsiteY802" fmla="*/ 5986868 h 6479439"/>
              <a:gd name="connsiteX803" fmla="*/ 6714600 w 9586368"/>
              <a:gd name="connsiteY803" fmla="*/ 5996739 h 6479439"/>
              <a:gd name="connsiteX804" fmla="*/ 6710581 w 9586368"/>
              <a:gd name="connsiteY804" fmla="*/ 6000778 h 6479439"/>
              <a:gd name="connsiteX805" fmla="*/ 6700670 w 9586368"/>
              <a:gd name="connsiteY805" fmla="*/ 6000778 h 6479439"/>
              <a:gd name="connsiteX806" fmla="*/ 6696651 w 9586368"/>
              <a:gd name="connsiteY806" fmla="*/ 5996739 h 6479439"/>
              <a:gd name="connsiteX807" fmla="*/ 6696651 w 9586368"/>
              <a:gd name="connsiteY807" fmla="*/ 5986868 h 6479439"/>
              <a:gd name="connsiteX808" fmla="*/ 6461356 w 9586368"/>
              <a:gd name="connsiteY808" fmla="*/ 5982829 h 6479439"/>
              <a:gd name="connsiteX809" fmla="*/ 6471266 w 9586368"/>
              <a:gd name="connsiteY809" fmla="*/ 5982829 h 6479439"/>
              <a:gd name="connsiteX810" fmla="*/ 6475285 w 9586368"/>
              <a:gd name="connsiteY810" fmla="*/ 5986868 h 6479439"/>
              <a:gd name="connsiteX811" fmla="*/ 6475285 w 9586368"/>
              <a:gd name="connsiteY811" fmla="*/ 5996739 h 6479439"/>
              <a:gd name="connsiteX812" fmla="*/ 6471266 w 9586368"/>
              <a:gd name="connsiteY812" fmla="*/ 6000778 h 6479439"/>
              <a:gd name="connsiteX813" fmla="*/ 6461356 w 9586368"/>
              <a:gd name="connsiteY813" fmla="*/ 6000778 h 6479439"/>
              <a:gd name="connsiteX814" fmla="*/ 6457337 w 9586368"/>
              <a:gd name="connsiteY814" fmla="*/ 5996739 h 6479439"/>
              <a:gd name="connsiteX815" fmla="*/ 6457337 w 9586368"/>
              <a:gd name="connsiteY815" fmla="*/ 5986868 h 6479439"/>
              <a:gd name="connsiteX816" fmla="*/ 6222042 w 9586368"/>
              <a:gd name="connsiteY816" fmla="*/ 5982829 h 6479439"/>
              <a:gd name="connsiteX817" fmla="*/ 6231952 w 9586368"/>
              <a:gd name="connsiteY817" fmla="*/ 5982829 h 6479439"/>
              <a:gd name="connsiteX818" fmla="*/ 6235971 w 9586368"/>
              <a:gd name="connsiteY818" fmla="*/ 5986868 h 6479439"/>
              <a:gd name="connsiteX819" fmla="*/ 6235971 w 9586368"/>
              <a:gd name="connsiteY819" fmla="*/ 5996739 h 6479439"/>
              <a:gd name="connsiteX820" fmla="*/ 6231952 w 9586368"/>
              <a:gd name="connsiteY820" fmla="*/ 6000778 h 6479439"/>
              <a:gd name="connsiteX821" fmla="*/ 6222042 w 9586368"/>
              <a:gd name="connsiteY821" fmla="*/ 6000778 h 6479439"/>
              <a:gd name="connsiteX822" fmla="*/ 6218023 w 9586368"/>
              <a:gd name="connsiteY822" fmla="*/ 5996739 h 6479439"/>
              <a:gd name="connsiteX823" fmla="*/ 6218023 w 9586368"/>
              <a:gd name="connsiteY823" fmla="*/ 5986868 h 6479439"/>
              <a:gd name="connsiteX824" fmla="*/ 5982729 w 9586368"/>
              <a:gd name="connsiteY824" fmla="*/ 5982829 h 6479439"/>
              <a:gd name="connsiteX825" fmla="*/ 5992639 w 9586368"/>
              <a:gd name="connsiteY825" fmla="*/ 5982829 h 6479439"/>
              <a:gd name="connsiteX826" fmla="*/ 5996658 w 9586368"/>
              <a:gd name="connsiteY826" fmla="*/ 5986868 h 6479439"/>
              <a:gd name="connsiteX827" fmla="*/ 5996658 w 9586368"/>
              <a:gd name="connsiteY827" fmla="*/ 5996739 h 6479439"/>
              <a:gd name="connsiteX828" fmla="*/ 5992639 w 9586368"/>
              <a:gd name="connsiteY828" fmla="*/ 6000778 h 6479439"/>
              <a:gd name="connsiteX829" fmla="*/ 5982729 w 9586368"/>
              <a:gd name="connsiteY829" fmla="*/ 6000778 h 6479439"/>
              <a:gd name="connsiteX830" fmla="*/ 5978710 w 9586368"/>
              <a:gd name="connsiteY830" fmla="*/ 5996739 h 6479439"/>
              <a:gd name="connsiteX831" fmla="*/ 5978710 w 9586368"/>
              <a:gd name="connsiteY831" fmla="*/ 5986868 h 6479439"/>
              <a:gd name="connsiteX832" fmla="*/ 5743412 w 9586368"/>
              <a:gd name="connsiteY832" fmla="*/ 5982829 h 6479439"/>
              <a:gd name="connsiteX833" fmla="*/ 5753323 w 9586368"/>
              <a:gd name="connsiteY833" fmla="*/ 5982829 h 6479439"/>
              <a:gd name="connsiteX834" fmla="*/ 5757342 w 9586368"/>
              <a:gd name="connsiteY834" fmla="*/ 5986868 h 6479439"/>
              <a:gd name="connsiteX835" fmla="*/ 5757342 w 9586368"/>
              <a:gd name="connsiteY835" fmla="*/ 5996739 h 6479439"/>
              <a:gd name="connsiteX836" fmla="*/ 5753323 w 9586368"/>
              <a:gd name="connsiteY836" fmla="*/ 6000778 h 6479439"/>
              <a:gd name="connsiteX837" fmla="*/ 5743412 w 9586368"/>
              <a:gd name="connsiteY837" fmla="*/ 6000778 h 6479439"/>
              <a:gd name="connsiteX838" fmla="*/ 5739393 w 9586368"/>
              <a:gd name="connsiteY838" fmla="*/ 5996739 h 6479439"/>
              <a:gd name="connsiteX839" fmla="*/ 5739393 w 9586368"/>
              <a:gd name="connsiteY839" fmla="*/ 5986868 h 6479439"/>
              <a:gd name="connsiteX840" fmla="*/ 5504099 w 9586368"/>
              <a:gd name="connsiteY840" fmla="*/ 5982829 h 6479439"/>
              <a:gd name="connsiteX841" fmla="*/ 5514010 w 9586368"/>
              <a:gd name="connsiteY841" fmla="*/ 5982829 h 6479439"/>
              <a:gd name="connsiteX842" fmla="*/ 5518029 w 9586368"/>
              <a:gd name="connsiteY842" fmla="*/ 5986868 h 6479439"/>
              <a:gd name="connsiteX843" fmla="*/ 5518029 w 9586368"/>
              <a:gd name="connsiteY843" fmla="*/ 5996739 h 6479439"/>
              <a:gd name="connsiteX844" fmla="*/ 5514010 w 9586368"/>
              <a:gd name="connsiteY844" fmla="*/ 6000778 h 6479439"/>
              <a:gd name="connsiteX845" fmla="*/ 5504099 w 9586368"/>
              <a:gd name="connsiteY845" fmla="*/ 6000778 h 6479439"/>
              <a:gd name="connsiteX846" fmla="*/ 5500080 w 9586368"/>
              <a:gd name="connsiteY846" fmla="*/ 5996739 h 6479439"/>
              <a:gd name="connsiteX847" fmla="*/ 5500080 w 9586368"/>
              <a:gd name="connsiteY847" fmla="*/ 5986868 h 6479439"/>
              <a:gd name="connsiteX848" fmla="*/ 5264784 w 9586368"/>
              <a:gd name="connsiteY848" fmla="*/ 5982829 h 6479439"/>
              <a:gd name="connsiteX849" fmla="*/ 5274694 w 9586368"/>
              <a:gd name="connsiteY849" fmla="*/ 5982829 h 6479439"/>
              <a:gd name="connsiteX850" fmla="*/ 5278713 w 9586368"/>
              <a:gd name="connsiteY850" fmla="*/ 5986868 h 6479439"/>
              <a:gd name="connsiteX851" fmla="*/ 5278713 w 9586368"/>
              <a:gd name="connsiteY851" fmla="*/ 5996739 h 6479439"/>
              <a:gd name="connsiteX852" fmla="*/ 5274694 w 9586368"/>
              <a:gd name="connsiteY852" fmla="*/ 6000778 h 6479439"/>
              <a:gd name="connsiteX853" fmla="*/ 5264784 w 9586368"/>
              <a:gd name="connsiteY853" fmla="*/ 6000778 h 6479439"/>
              <a:gd name="connsiteX854" fmla="*/ 5260765 w 9586368"/>
              <a:gd name="connsiteY854" fmla="*/ 5996739 h 6479439"/>
              <a:gd name="connsiteX855" fmla="*/ 5260765 w 9586368"/>
              <a:gd name="connsiteY855" fmla="*/ 5986868 h 6479439"/>
              <a:gd name="connsiteX856" fmla="*/ 5025470 w 9586368"/>
              <a:gd name="connsiteY856" fmla="*/ 5982829 h 6479439"/>
              <a:gd name="connsiteX857" fmla="*/ 5035381 w 9586368"/>
              <a:gd name="connsiteY857" fmla="*/ 5982829 h 6479439"/>
              <a:gd name="connsiteX858" fmla="*/ 5039400 w 9586368"/>
              <a:gd name="connsiteY858" fmla="*/ 5986868 h 6479439"/>
              <a:gd name="connsiteX859" fmla="*/ 5039400 w 9586368"/>
              <a:gd name="connsiteY859" fmla="*/ 5996739 h 6479439"/>
              <a:gd name="connsiteX860" fmla="*/ 5035381 w 9586368"/>
              <a:gd name="connsiteY860" fmla="*/ 6000778 h 6479439"/>
              <a:gd name="connsiteX861" fmla="*/ 5025470 w 9586368"/>
              <a:gd name="connsiteY861" fmla="*/ 6000778 h 6479439"/>
              <a:gd name="connsiteX862" fmla="*/ 5021451 w 9586368"/>
              <a:gd name="connsiteY862" fmla="*/ 5996739 h 6479439"/>
              <a:gd name="connsiteX863" fmla="*/ 5021451 w 9586368"/>
              <a:gd name="connsiteY863" fmla="*/ 5986868 h 6479439"/>
              <a:gd name="connsiteX864" fmla="*/ 4786241 w 9586368"/>
              <a:gd name="connsiteY864" fmla="*/ 5982829 h 6479439"/>
              <a:gd name="connsiteX865" fmla="*/ 4796152 w 9586368"/>
              <a:gd name="connsiteY865" fmla="*/ 5982829 h 6479439"/>
              <a:gd name="connsiteX866" fmla="*/ 4800171 w 9586368"/>
              <a:gd name="connsiteY866" fmla="*/ 5986868 h 6479439"/>
              <a:gd name="connsiteX867" fmla="*/ 4800171 w 9586368"/>
              <a:gd name="connsiteY867" fmla="*/ 5996739 h 6479439"/>
              <a:gd name="connsiteX868" fmla="*/ 4796152 w 9586368"/>
              <a:gd name="connsiteY868" fmla="*/ 6000778 h 6479439"/>
              <a:gd name="connsiteX869" fmla="*/ 4786241 w 9586368"/>
              <a:gd name="connsiteY869" fmla="*/ 6000778 h 6479439"/>
              <a:gd name="connsiteX870" fmla="*/ 4782224 w 9586368"/>
              <a:gd name="connsiteY870" fmla="*/ 5996739 h 6479439"/>
              <a:gd name="connsiteX871" fmla="*/ 4782224 w 9586368"/>
              <a:gd name="connsiteY871" fmla="*/ 5986868 h 6479439"/>
              <a:gd name="connsiteX872" fmla="*/ 4546929 w 9586368"/>
              <a:gd name="connsiteY872" fmla="*/ 5982829 h 6479439"/>
              <a:gd name="connsiteX873" fmla="*/ 4556840 w 9586368"/>
              <a:gd name="connsiteY873" fmla="*/ 5982829 h 6479439"/>
              <a:gd name="connsiteX874" fmla="*/ 4560859 w 9586368"/>
              <a:gd name="connsiteY874" fmla="*/ 5986868 h 6479439"/>
              <a:gd name="connsiteX875" fmla="*/ 4560859 w 9586368"/>
              <a:gd name="connsiteY875" fmla="*/ 5996739 h 6479439"/>
              <a:gd name="connsiteX876" fmla="*/ 4556840 w 9586368"/>
              <a:gd name="connsiteY876" fmla="*/ 6000778 h 6479439"/>
              <a:gd name="connsiteX877" fmla="*/ 4546929 w 9586368"/>
              <a:gd name="connsiteY877" fmla="*/ 6000778 h 6479439"/>
              <a:gd name="connsiteX878" fmla="*/ 4542910 w 9586368"/>
              <a:gd name="connsiteY878" fmla="*/ 5996739 h 6479439"/>
              <a:gd name="connsiteX879" fmla="*/ 4542910 w 9586368"/>
              <a:gd name="connsiteY879" fmla="*/ 5986868 h 6479439"/>
              <a:gd name="connsiteX880" fmla="*/ 4307612 w 9586368"/>
              <a:gd name="connsiteY880" fmla="*/ 5982829 h 6479439"/>
              <a:gd name="connsiteX881" fmla="*/ 4317523 w 9586368"/>
              <a:gd name="connsiteY881" fmla="*/ 5982829 h 6479439"/>
              <a:gd name="connsiteX882" fmla="*/ 4321543 w 9586368"/>
              <a:gd name="connsiteY882" fmla="*/ 5986868 h 6479439"/>
              <a:gd name="connsiteX883" fmla="*/ 4321543 w 9586368"/>
              <a:gd name="connsiteY883" fmla="*/ 5996739 h 6479439"/>
              <a:gd name="connsiteX884" fmla="*/ 4317523 w 9586368"/>
              <a:gd name="connsiteY884" fmla="*/ 6000778 h 6479439"/>
              <a:gd name="connsiteX885" fmla="*/ 4307612 w 9586368"/>
              <a:gd name="connsiteY885" fmla="*/ 6000778 h 6479439"/>
              <a:gd name="connsiteX886" fmla="*/ 4303595 w 9586368"/>
              <a:gd name="connsiteY886" fmla="*/ 5996739 h 6479439"/>
              <a:gd name="connsiteX887" fmla="*/ 4303595 w 9586368"/>
              <a:gd name="connsiteY887" fmla="*/ 5986868 h 6479439"/>
              <a:gd name="connsiteX888" fmla="*/ 4068297 w 9586368"/>
              <a:gd name="connsiteY888" fmla="*/ 5982829 h 6479439"/>
              <a:gd name="connsiteX889" fmla="*/ 4078210 w 9586368"/>
              <a:gd name="connsiteY889" fmla="*/ 5982829 h 6479439"/>
              <a:gd name="connsiteX890" fmla="*/ 4082229 w 9586368"/>
              <a:gd name="connsiteY890" fmla="*/ 5986868 h 6479439"/>
              <a:gd name="connsiteX891" fmla="*/ 4082229 w 9586368"/>
              <a:gd name="connsiteY891" fmla="*/ 5996739 h 6479439"/>
              <a:gd name="connsiteX892" fmla="*/ 4078210 w 9586368"/>
              <a:gd name="connsiteY892" fmla="*/ 6000778 h 6479439"/>
              <a:gd name="connsiteX893" fmla="*/ 4068297 w 9586368"/>
              <a:gd name="connsiteY893" fmla="*/ 6000778 h 6479439"/>
              <a:gd name="connsiteX894" fmla="*/ 4064278 w 9586368"/>
              <a:gd name="connsiteY894" fmla="*/ 5996739 h 6479439"/>
              <a:gd name="connsiteX895" fmla="*/ 4064278 w 9586368"/>
              <a:gd name="connsiteY895" fmla="*/ 5986868 h 6479439"/>
              <a:gd name="connsiteX896" fmla="*/ 3828990 w 9586368"/>
              <a:gd name="connsiteY896" fmla="*/ 5982829 h 6479439"/>
              <a:gd name="connsiteX897" fmla="*/ 3838899 w 9586368"/>
              <a:gd name="connsiteY897" fmla="*/ 5982829 h 6479439"/>
              <a:gd name="connsiteX898" fmla="*/ 3842917 w 9586368"/>
              <a:gd name="connsiteY898" fmla="*/ 5986868 h 6479439"/>
              <a:gd name="connsiteX899" fmla="*/ 3842917 w 9586368"/>
              <a:gd name="connsiteY899" fmla="*/ 5996739 h 6479439"/>
              <a:gd name="connsiteX900" fmla="*/ 3838899 w 9586368"/>
              <a:gd name="connsiteY900" fmla="*/ 6000778 h 6479439"/>
              <a:gd name="connsiteX901" fmla="*/ 3828990 w 9586368"/>
              <a:gd name="connsiteY901" fmla="*/ 6000778 h 6479439"/>
              <a:gd name="connsiteX902" fmla="*/ 3824971 w 9586368"/>
              <a:gd name="connsiteY902" fmla="*/ 5996739 h 6479439"/>
              <a:gd name="connsiteX903" fmla="*/ 3824971 w 9586368"/>
              <a:gd name="connsiteY903" fmla="*/ 5986868 h 6479439"/>
              <a:gd name="connsiteX904" fmla="*/ 3589676 w 9586368"/>
              <a:gd name="connsiteY904" fmla="*/ 5982829 h 6479439"/>
              <a:gd name="connsiteX905" fmla="*/ 3599585 w 9586368"/>
              <a:gd name="connsiteY905" fmla="*/ 5982829 h 6479439"/>
              <a:gd name="connsiteX906" fmla="*/ 3603604 w 9586368"/>
              <a:gd name="connsiteY906" fmla="*/ 5986868 h 6479439"/>
              <a:gd name="connsiteX907" fmla="*/ 3603604 w 9586368"/>
              <a:gd name="connsiteY907" fmla="*/ 5996739 h 6479439"/>
              <a:gd name="connsiteX908" fmla="*/ 3599585 w 9586368"/>
              <a:gd name="connsiteY908" fmla="*/ 6000778 h 6479439"/>
              <a:gd name="connsiteX909" fmla="*/ 3589676 w 9586368"/>
              <a:gd name="connsiteY909" fmla="*/ 6000778 h 6479439"/>
              <a:gd name="connsiteX910" fmla="*/ 3585657 w 9586368"/>
              <a:gd name="connsiteY910" fmla="*/ 5996739 h 6479439"/>
              <a:gd name="connsiteX911" fmla="*/ 3585657 w 9586368"/>
              <a:gd name="connsiteY911" fmla="*/ 5986868 h 6479439"/>
              <a:gd name="connsiteX912" fmla="*/ 3350359 w 9586368"/>
              <a:gd name="connsiteY912" fmla="*/ 5982829 h 6479439"/>
              <a:gd name="connsiteX913" fmla="*/ 3360268 w 9586368"/>
              <a:gd name="connsiteY913" fmla="*/ 5982829 h 6479439"/>
              <a:gd name="connsiteX914" fmla="*/ 3364287 w 9586368"/>
              <a:gd name="connsiteY914" fmla="*/ 5986868 h 6479439"/>
              <a:gd name="connsiteX915" fmla="*/ 3364287 w 9586368"/>
              <a:gd name="connsiteY915" fmla="*/ 5996739 h 6479439"/>
              <a:gd name="connsiteX916" fmla="*/ 3360268 w 9586368"/>
              <a:gd name="connsiteY916" fmla="*/ 6000778 h 6479439"/>
              <a:gd name="connsiteX917" fmla="*/ 3350359 w 9586368"/>
              <a:gd name="connsiteY917" fmla="*/ 6000778 h 6479439"/>
              <a:gd name="connsiteX918" fmla="*/ 3346340 w 9586368"/>
              <a:gd name="connsiteY918" fmla="*/ 5996739 h 6479439"/>
              <a:gd name="connsiteX919" fmla="*/ 3346340 w 9586368"/>
              <a:gd name="connsiteY919" fmla="*/ 5986868 h 6479439"/>
              <a:gd name="connsiteX920" fmla="*/ 3111048 w 9586368"/>
              <a:gd name="connsiteY920" fmla="*/ 5982829 h 6479439"/>
              <a:gd name="connsiteX921" fmla="*/ 3120959 w 9586368"/>
              <a:gd name="connsiteY921" fmla="*/ 5982829 h 6479439"/>
              <a:gd name="connsiteX922" fmla="*/ 3124977 w 9586368"/>
              <a:gd name="connsiteY922" fmla="*/ 5986868 h 6479439"/>
              <a:gd name="connsiteX923" fmla="*/ 3124977 w 9586368"/>
              <a:gd name="connsiteY923" fmla="*/ 5996739 h 6479439"/>
              <a:gd name="connsiteX924" fmla="*/ 3120959 w 9586368"/>
              <a:gd name="connsiteY924" fmla="*/ 6000778 h 6479439"/>
              <a:gd name="connsiteX925" fmla="*/ 3111048 w 9586368"/>
              <a:gd name="connsiteY925" fmla="*/ 6000778 h 6479439"/>
              <a:gd name="connsiteX926" fmla="*/ 3107029 w 9586368"/>
              <a:gd name="connsiteY926" fmla="*/ 5996739 h 6479439"/>
              <a:gd name="connsiteX927" fmla="*/ 3107029 w 9586368"/>
              <a:gd name="connsiteY927" fmla="*/ 5986868 h 6479439"/>
              <a:gd name="connsiteX928" fmla="*/ 2871737 w 9586368"/>
              <a:gd name="connsiteY928" fmla="*/ 5982829 h 6479439"/>
              <a:gd name="connsiteX929" fmla="*/ 2881646 w 9586368"/>
              <a:gd name="connsiteY929" fmla="*/ 5982829 h 6479439"/>
              <a:gd name="connsiteX930" fmla="*/ 2885666 w 9586368"/>
              <a:gd name="connsiteY930" fmla="*/ 5986868 h 6479439"/>
              <a:gd name="connsiteX931" fmla="*/ 2885666 w 9586368"/>
              <a:gd name="connsiteY931" fmla="*/ 5996739 h 6479439"/>
              <a:gd name="connsiteX932" fmla="*/ 2881646 w 9586368"/>
              <a:gd name="connsiteY932" fmla="*/ 6000778 h 6479439"/>
              <a:gd name="connsiteX933" fmla="*/ 2871737 w 9586368"/>
              <a:gd name="connsiteY933" fmla="*/ 6000778 h 6479439"/>
              <a:gd name="connsiteX934" fmla="*/ 2867717 w 9586368"/>
              <a:gd name="connsiteY934" fmla="*/ 5996739 h 6479439"/>
              <a:gd name="connsiteX935" fmla="*/ 2867717 w 9586368"/>
              <a:gd name="connsiteY935" fmla="*/ 5986868 h 6479439"/>
              <a:gd name="connsiteX936" fmla="*/ 2632423 w 9586368"/>
              <a:gd name="connsiteY936" fmla="*/ 5982829 h 6479439"/>
              <a:gd name="connsiteX937" fmla="*/ 2642334 w 9586368"/>
              <a:gd name="connsiteY937" fmla="*/ 5982829 h 6479439"/>
              <a:gd name="connsiteX938" fmla="*/ 2646352 w 9586368"/>
              <a:gd name="connsiteY938" fmla="*/ 5986868 h 6479439"/>
              <a:gd name="connsiteX939" fmla="*/ 2646352 w 9586368"/>
              <a:gd name="connsiteY939" fmla="*/ 5996739 h 6479439"/>
              <a:gd name="connsiteX940" fmla="*/ 2642334 w 9586368"/>
              <a:gd name="connsiteY940" fmla="*/ 6000778 h 6479439"/>
              <a:gd name="connsiteX941" fmla="*/ 2632423 w 9586368"/>
              <a:gd name="connsiteY941" fmla="*/ 6000778 h 6479439"/>
              <a:gd name="connsiteX942" fmla="*/ 2628404 w 9586368"/>
              <a:gd name="connsiteY942" fmla="*/ 5996739 h 6479439"/>
              <a:gd name="connsiteX943" fmla="*/ 2628404 w 9586368"/>
              <a:gd name="connsiteY943" fmla="*/ 5986868 h 6479439"/>
              <a:gd name="connsiteX944" fmla="*/ 2393104 w 9586368"/>
              <a:gd name="connsiteY944" fmla="*/ 5982829 h 6479439"/>
              <a:gd name="connsiteX945" fmla="*/ 2403015 w 9586368"/>
              <a:gd name="connsiteY945" fmla="*/ 5982829 h 6479439"/>
              <a:gd name="connsiteX946" fmla="*/ 2407034 w 9586368"/>
              <a:gd name="connsiteY946" fmla="*/ 5986868 h 6479439"/>
              <a:gd name="connsiteX947" fmla="*/ 2407034 w 9586368"/>
              <a:gd name="connsiteY947" fmla="*/ 5996739 h 6479439"/>
              <a:gd name="connsiteX948" fmla="*/ 2403015 w 9586368"/>
              <a:gd name="connsiteY948" fmla="*/ 6000778 h 6479439"/>
              <a:gd name="connsiteX949" fmla="*/ 2393104 w 9586368"/>
              <a:gd name="connsiteY949" fmla="*/ 6000778 h 6479439"/>
              <a:gd name="connsiteX950" fmla="*/ 2389087 w 9586368"/>
              <a:gd name="connsiteY950" fmla="*/ 5996739 h 6479439"/>
              <a:gd name="connsiteX951" fmla="*/ 2389087 w 9586368"/>
              <a:gd name="connsiteY951" fmla="*/ 5986868 h 6479439"/>
              <a:gd name="connsiteX952" fmla="*/ 721960 w 9586368"/>
              <a:gd name="connsiteY952" fmla="*/ 5982829 h 6479439"/>
              <a:gd name="connsiteX953" fmla="*/ 731869 w 9586368"/>
              <a:gd name="connsiteY953" fmla="*/ 5982829 h 6479439"/>
              <a:gd name="connsiteX954" fmla="*/ 735888 w 9586368"/>
              <a:gd name="connsiteY954" fmla="*/ 5986868 h 6479439"/>
              <a:gd name="connsiteX955" fmla="*/ 735888 w 9586368"/>
              <a:gd name="connsiteY955" fmla="*/ 5996739 h 6479439"/>
              <a:gd name="connsiteX956" fmla="*/ 731869 w 9586368"/>
              <a:gd name="connsiteY956" fmla="*/ 6000778 h 6479439"/>
              <a:gd name="connsiteX957" fmla="*/ 721960 w 9586368"/>
              <a:gd name="connsiteY957" fmla="*/ 6000778 h 6479439"/>
              <a:gd name="connsiteX958" fmla="*/ 717940 w 9586368"/>
              <a:gd name="connsiteY958" fmla="*/ 5996739 h 6479439"/>
              <a:gd name="connsiteX959" fmla="*/ 717940 w 9586368"/>
              <a:gd name="connsiteY959" fmla="*/ 5986868 h 6479439"/>
              <a:gd name="connsiteX960" fmla="*/ 482647 w 9586368"/>
              <a:gd name="connsiteY960" fmla="*/ 5982829 h 6479439"/>
              <a:gd name="connsiteX961" fmla="*/ 492557 w 9586368"/>
              <a:gd name="connsiteY961" fmla="*/ 5982829 h 6479439"/>
              <a:gd name="connsiteX962" fmla="*/ 496576 w 9586368"/>
              <a:gd name="connsiteY962" fmla="*/ 5986868 h 6479439"/>
              <a:gd name="connsiteX963" fmla="*/ 496576 w 9586368"/>
              <a:gd name="connsiteY963" fmla="*/ 5996739 h 6479439"/>
              <a:gd name="connsiteX964" fmla="*/ 492557 w 9586368"/>
              <a:gd name="connsiteY964" fmla="*/ 6000778 h 6479439"/>
              <a:gd name="connsiteX965" fmla="*/ 482647 w 9586368"/>
              <a:gd name="connsiteY965" fmla="*/ 6000778 h 6479439"/>
              <a:gd name="connsiteX966" fmla="*/ 478628 w 9586368"/>
              <a:gd name="connsiteY966" fmla="*/ 5996739 h 6479439"/>
              <a:gd name="connsiteX967" fmla="*/ 478628 w 9586368"/>
              <a:gd name="connsiteY967" fmla="*/ 5986868 h 6479439"/>
              <a:gd name="connsiteX968" fmla="*/ 243334 w 9586368"/>
              <a:gd name="connsiteY968" fmla="*/ 5982829 h 6479439"/>
              <a:gd name="connsiteX969" fmla="*/ 253244 w 9586368"/>
              <a:gd name="connsiteY969" fmla="*/ 5982829 h 6479439"/>
              <a:gd name="connsiteX970" fmla="*/ 257263 w 9586368"/>
              <a:gd name="connsiteY970" fmla="*/ 5986868 h 6479439"/>
              <a:gd name="connsiteX971" fmla="*/ 257263 w 9586368"/>
              <a:gd name="connsiteY971" fmla="*/ 5996739 h 6479439"/>
              <a:gd name="connsiteX972" fmla="*/ 253244 w 9586368"/>
              <a:gd name="connsiteY972" fmla="*/ 6000778 h 6479439"/>
              <a:gd name="connsiteX973" fmla="*/ 243334 w 9586368"/>
              <a:gd name="connsiteY973" fmla="*/ 6000778 h 6479439"/>
              <a:gd name="connsiteX974" fmla="*/ 239315 w 9586368"/>
              <a:gd name="connsiteY974" fmla="*/ 5996739 h 6479439"/>
              <a:gd name="connsiteX975" fmla="*/ 239315 w 9586368"/>
              <a:gd name="connsiteY975" fmla="*/ 5986868 h 6479439"/>
              <a:gd name="connsiteX976" fmla="*/ 4021 w 9586368"/>
              <a:gd name="connsiteY976" fmla="*/ 5982829 h 6479439"/>
              <a:gd name="connsiteX977" fmla="*/ 13931 w 9586368"/>
              <a:gd name="connsiteY977" fmla="*/ 5982829 h 6479439"/>
              <a:gd name="connsiteX978" fmla="*/ 17950 w 9586368"/>
              <a:gd name="connsiteY978" fmla="*/ 5986868 h 6479439"/>
              <a:gd name="connsiteX979" fmla="*/ 17950 w 9586368"/>
              <a:gd name="connsiteY979" fmla="*/ 5996739 h 6479439"/>
              <a:gd name="connsiteX980" fmla="*/ 13931 w 9586368"/>
              <a:gd name="connsiteY980" fmla="*/ 6000778 h 6479439"/>
              <a:gd name="connsiteX981" fmla="*/ 4021 w 9586368"/>
              <a:gd name="connsiteY981" fmla="*/ 6000778 h 6479439"/>
              <a:gd name="connsiteX982" fmla="*/ 1 w 9586368"/>
              <a:gd name="connsiteY982" fmla="*/ 5996739 h 6479439"/>
              <a:gd name="connsiteX983" fmla="*/ 1 w 9586368"/>
              <a:gd name="connsiteY983" fmla="*/ 5986868 h 6479439"/>
              <a:gd name="connsiteX984" fmla="*/ 2157818 w 9586368"/>
              <a:gd name="connsiteY984" fmla="*/ 5743551 h 6479439"/>
              <a:gd name="connsiteX985" fmla="*/ 2167728 w 9586368"/>
              <a:gd name="connsiteY985" fmla="*/ 5743551 h 6479439"/>
              <a:gd name="connsiteX986" fmla="*/ 2171747 w 9586368"/>
              <a:gd name="connsiteY986" fmla="*/ 5747589 h 6479439"/>
              <a:gd name="connsiteX987" fmla="*/ 2171747 w 9586368"/>
              <a:gd name="connsiteY987" fmla="*/ 5757460 h 6479439"/>
              <a:gd name="connsiteX988" fmla="*/ 2167728 w 9586368"/>
              <a:gd name="connsiteY988" fmla="*/ 5761499 h 6479439"/>
              <a:gd name="connsiteX989" fmla="*/ 2157818 w 9586368"/>
              <a:gd name="connsiteY989" fmla="*/ 5761499 h 6479439"/>
              <a:gd name="connsiteX990" fmla="*/ 2153799 w 9586368"/>
              <a:gd name="connsiteY990" fmla="*/ 5757460 h 6479439"/>
              <a:gd name="connsiteX991" fmla="*/ 2153799 w 9586368"/>
              <a:gd name="connsiteY991" fmla="*/ 5747589 h 6479439"/>
              <a:gd name="connsiteX992" fmla="*/ 1918510 w 9586368"/>
              <a:gd name="connsiteY992" fmla="*/ 5743551 h 6479439"/>
              <a:gd name="connsiteX993" fmla="*/ 1928420 w 9586368"/>
              <a:gd name="connsiteY993" fmla="*/ 5743551 h 6479439"/>
              <a:gd name="connsiteX994" fmla="*/ 1932438 w 9586368"/>
              <a:gd name="connsiteY994" fmla="*/ 5747589 h 6479439"/>
              <a:gd name="connsiteX995" fmla="*/ 1932438 w 9586368"/>
              <a:gd name="connsiteY995" fmla="*/ 5757460 h 6479439"/>
              <a:gd name="connsiteX996" fmla="*/ 1928420 w 9586368"/>
              <a:gd name="connsiteY996" fmla="*/ 5761499 h 6479439"/>
              <a:gd name="connsiteX997" fmla="*/ 1918510 w 9586368"/>
              <a:gd name="connsiteY997" fmla="*/ 5761499 h 6479439"/>
              <a:gd name="connsiteX998" fmla="*/ 1914490 w 9586368"/>
              <a:gd name="connsiteY998" fmla="*/ 5757460 h 6479439"/>
              <a:gd name="connsiteX999" fmla="*/ 1914490 w 9586368"/>
              <a:gd name="connsiteY999" fmla="*/ 5747589 h 6479439"/>
              <a:gd name="connsiteX1000" fmla="*/ 1679201 w 9586368"/>
              <a:gd name="connsiteY1000" fmla="*/ 5743551 h 6479439"/>
              <a:gd name="connsiteX1001" fmla="*/ 1689112 w 9586368"/>
              <a:gd name="connsiteY1001" fmla="*/ 5743551 h 6479439"/>
              <a:gd name="connsiteX1002" fmla="*/ 1693131 w 9586368"/>
              <a:gd name="connsiteY1002" fmla="*/ 5747589 h 6479439"/>
              <a:gd name="connsiteX1003" fmla="*/ 1693131 w 9586368"/>
              <a:gd name="connsiteY1003" fmla="*/ 5757460 h 6479439"/>
              <a:gd name="connsiteX1004" fmla="*/ 1689112 w 9586368"/>
              <a:gd name="connsiteY1004" fmla="*/ 5761499 h 6479439"/>
              <a:gd name="connsiteX1005" fmla="*/ 1679201 w 9586368"/>
              <a:gd name="connsiteY1005" fmla="*/ 5761499 h 6479439"/>
              <a:gd name="connsiteX1006" fmla="*/ 1675183 w 9586368"/>
              <a:gd name="connsiteY1006" fmla="*/ 5757460 h 6479439"/>
              <a:gd name="connsiteX1007" fmla="*/ 1675183 w 9586368"/>
              <a:gd name="connsiteY1007" fmla="*/ 5747589 h 6479439"/>
              <a:gd name="connsiteX1008" fmla="*/ 1439886 w 9586368"/>
              <a:gd name="connsiteY1008" fmla="*/ 5743551 h 6479439"/>
              <a:gd name="connsiteX1009" fmla="*/ 1449797 w 9586368"/>
              <a:gd name="connsiteY1009" fmla="*/ 5743551 h 6479439"/>
              <a:gd name="connsiteX1010" fmla="*/ 1453815 w 9586368"/>
              <a:gd name="connsiteY1010" fmla="*/ 5747589 h 6479439"/>
              <a:gd name="connsiteX1011" fmla="*/ 1453815 w 9586368"/>
              <a:gd name="connsiteY1011" fmla="*/ 5757460 h 6479439"/>
              <a:gd name="connsiteX1012" fmla="*/ 1449797 w 9586368"/>
              <a:gd name="connsiteY1012" fmla="*/ 5761499 h 6479439"/>
              <a:gd name="connsiteX1013" fmla="*/ 1439886 w 9586368"/>
              <a:gd name="connsiteY1013" fmla="*/ 5761499 h 6479439"/>
              <a:gd name="connsiteX1014" fmla="*/ 1435868 w 9586368"/>
              <a:gd name="connsiteY1014" fmla="*/ 5757460 h 6479439"/>
              <a:gd name="connsiteX1015" fmla="*/ 1435868 w 9586368"/>
              <a:gd name="connsiteY1015" fmla="*/ 5747589 h 6479439"/>
              <a:gd name="connsiteX1016" fmla="*/ 1200572 w 9586368"/>
              <a:gd name="connsiteY1016" fmla="*/ 5743551 h 6479439"/>
              <a:gd name="connsiteX1017" fmla="*/ 1210482 w 9586368"/>
              <a:gd name="connsiteY1017" fmla="*/ 5743551 h 6479439"/>
              <a:gd name="connsiteX1018" fmla="*/ 1214500 w 9586368"/>
              <a:gd name="connsiteY1018" fmla="*/ 5747589 h 6479439"/>
              <a:gd name="connsiteX1019" fmla="*/ 1214500 w 9586368"/>
              <a:gd name="connsiteY1019" fmla="*/ 5757460 h 6479439"/>
              <a:gd name="connsiteX1020" fmla="*/ 1210482 w 9586368"/>
              <a:gd name="connsiteY1020" fmla="*/ 5761499 h 6479439"/>
              <a:gd name="connsiteX1021" fmla="*/ 1200572 w 9586368"/>
              <a:gd name="connsiteY1021" fmla="*/ 5761499 h 6479439"/>
              <a:gd name="connsiteX1022" fmla="*/ 1196553 w 9586368"/>
              <a:gd name="connsiteY1022" fmla="*/ 5757460 h 6479439"/>
              <a:gd name="connsiteX1023" fmla="*/ 1196553 w 9586368"/>
              <a:gd name="connsiteY1023" fmla="*/ 5747589 h 6479439"/>
              <a:gd name="connsiteX1024" fmla="*/ 961259 w 9586368"/>
              <a:gd name="connsiteY1024" fmla="*/ 5743551 h 6479439"/>
              <a:gd name="connsiteX1025" fmla="*/ 971169 w 9586368"/>
              <a:gd name="connsiteY1025" fmla="*/ 5743551 h 6479439"/>
              <a:gd name="connsiteX1026" fmla="*/ 975188 w 9586368"/>
              <a:gd name="connsiteY1026" fmla="*/ 5747589 h 6479439"/>
              <a:gd name="connsiteX1027" fmla="*/ 975188 w 9586368"/>
              <a:gd name="connsiteY1027" fmla="*/ 5757460 h 6479439"/>
              <a:gd name="connsiteX1028" fmla="*/ 971169 w 9586368"/>
              <a:gd name="connsiteY1028" fmla="*/ 5761499 h 6479439"/>
              <a:gd name="connsiteX1029" fmla="*/ 961259 w 9586368"/>
              <a:gd name="connsiteY1029" fmla="*/ 5761499 h 6479439"/>
              <a:gd name="connsiteX1030" fmla="*/ 957240 w 9586368"/>
              <a:gd name="connsiteY1030" fmla="*/ 5757460 h 6479439"/>
              <a:gd name="connsiteX1031" fmla="*/ 957240 w 9586368"/>
              <a:gd name="connsiteY1031" fmla="*/ 5747589 h 6479439"/>
              <a:gd name="connsiteX1032" fmla="*/ 9572438 w 9586368"/>
              <a:gd name="connsiteY1032" fmla="*/ 5743499 h 6479439"/>
              <a:gd name="connsiteX1033" fmla="*/ 9582349 w 9586368"/>
              <a:gd name="connsiteY1033" fmla="*/ 5743499 h 6479439"/>
              <a:gd name="connsiteX1034" fmla="*/ 9586368 w 9586368"/>
              <a:gd name="connsiteY1034" fmla="*/ 5747537 h 6479439"/>
              <a:gd name="connsiteX1035" fmla="*/ 9586368 w 9586368"/>
              <a:gd name="connsiteY1035" fmla="*/ 5757408 h 6479439"/>
              <a:gd name="connsiteX1036" fmla="*/ 9582349 w 9586368"/>
              <a:gd name="connsiteY1036" fmla="*/ 5761447 h 6479439"/>
              <a:gd name="connsiteX1037" fmla="*/ 9572438 w 9586368"/>
              <a:gd name="connsiteY1037" fmla="*/ 5761447 h 6479439"/>
              <a:gd name="connsiteX1038" fmla="*/ 9568419 w 9586368"/>
              <a:gd name="connsiteY1038" fmla="*/ 5757408 h 6479439"/>
              <a:gd name="connsiteX1039" fmla="*/ 9568419 w 9586368"/>
              <a:gd name="connsiteY1039" fmla="*/ 5747537 h 6479439"/>
              <a:gd name="connsiteX1040" fmla="*/ 9333125 w 9586368"/>
              <a:gd name="connsiteY1040" fmla="*/ 5743499 h 6479439"/>
              <a:gd name="connsiteX1041" fmla="*/ 9343036 w 9586368"/>
              <a:gd name="connsiteY1041" fmla="*/ 5743499 h 6479439"/>
              <a:gd name="connsiteX1042" fmla="*/ 9347055 w 9586368"/>
              <a:gd name="connsiteY1042" fmla="*/ 5747537 h 6479439"/>
              <a:gd name="connsiteX1043" fmla="*/ 9347055 w 9586368"/>
              <a:gd name="connsiteY1043" fmla="*/ 5757408 h 6479439"/>
              <a:gd name="connsiteX1044" fmla="*/ 9343036 w 9586368"/>
              <a:gd name="connsiteY1044" fmla="*/ 5761447 h 6479439"/>
              <a:gd name="connsiteX1045" fmla="*/ 9333125 w 9586368"/>
              <a:gd name="connsiteY1045" fmla="*/ 5761447 h 6479439"/>
              <a:gd name="connsiteX1046" fmla="*/ 9329106 w 9586368"/>
              <a:gd name="connsiteY1046" fmla="*/ 5757408 h 6479439"/>
              <a:gd name="connsiteX1047" fmla="*/ 9329106 w 9586368"/>
              <a:gd name="connsiteY1047" fmla="*/ 5747537 h 6479439"/>
              <a:gd name="connsiteX1048" fmla="*/ 9093811 w 9586368"/>
              <a:gd name="connsiteY1048" fmla="*/ 5743499 h 6479439"/>
              <a:gd name="connsiteX1049" fmla="*/ 9103722 w 9586368"/>
              <a:gd name="connsiteY1049" fmla="*/ 5743499 h 6479439"/>
              <a:gd name="connsiteX1050" fmla="*/ 9107741 w 9586368"/>
              <a:gd name="connsiteY1050" fmla="*/ 5747537 h 6479439"/>
              <a:gd name="connsiteX1051" fmla="*/ 9107741 w 9586368"/>
              <a:gd name="connsiteY1051" fmla="*/ 5757408 h 6479439"/>
              <a:gd name="connsiteX1052" fmla="*/ 9103722 w 9586368"/>
              <a:gd name="connsiteY1052" fmla="*/ 5761447 h 6479439"/>
              <a:gd name="connsiteX1053" fmla="*/ 9093811 w 9586368"/>
              <a:gd name="connsiteY1053" fmla="*/ 5761447 h 6479439"/>
              <a:gd name="connsiteX1054" fmla="*/ 9089792 w 9586368"/>
              <a:gd name="connsiteY1054" fmla="*/ 5757408 h 6479439"/>
              <a:gd name="connsiteX1055" fmla="*/ 9089792 w 9586368"/>
              <a:gd name="connsiteY1055" fmla="*/ 5747537 h 6479439"/>
              <a:gd name="connsiteX1056" fmla="*/ 8854496 w 9586368"/>
              <a:gd name="connsiteY1056" fmla="*/ 5743499 h 6479439"/>
              <a:gd name="connsiteX1057" fmla="*/ 8864407 w 9586368"/>
              <a:gd name="connsiteY1057" fmla="*/ 5743499 h 6479439"/>
              <a:gd name="connsiteX1058" fmla="*/ 8868426 w 9586368"/>
              <a:gd name="connsiteY1058" fmla="*/ 5747537 h 6479439"/>
              <a:gd name="connsiteX1059" fmla="*/ 8868426 w 9586368"/>
              <a:gd name="connsiteY1059" fmla="*/ 5757408 h 6479439"/>
              <a:gd name="connsiteX1060" fmla="*/ 8864407 w 9586368"/>
              <a:gd name="connsiteY1060" fmla="*/ 5761447 h 6479439"/>
              <a:gd name="connsiteX1061" fmla="*/ 8854496 w 9586368"/>
              <a:gd name="connsiteY1061" fmla="*/ 5761447 h 6479439"/>
              <a:gd name="connsiteX1062" fmla="*/ 8850477 w 9586368"/>
              <a:gd name="connsiteY1062" fmla="*/ 5757408 h 6479439"/>
              <a:gd name="connsiteX1063" fmla="*/ 8850477 w 9586368"/>
              <a:gd name="connsiteY1063" fmla="*/ 5747537 h 6479439"/>
              <a:gd name="connsiteX1064" fmla="*/ 8615184 w 9586368"/>
              <a:gd name="connsiteY1064" fmla="*/ 5743499 h 6479439"/>
              <a:gd name="connsiteX1065" fmla="*/ 8625095 w 9586368"/>
              <a:gd name="connsiteY1065" fmla="*/ 5743499 h 6479439"/>
              <a:gd name="connsiteX1066" fmla="*/ 8629114 w 9586368"/>
              <a:gd name="connsiteY1066" fmla="*/ 5747537 h 6479439"/>
              <a:gd name="connsiteX1067" fmla="*/ 8629114 w 9586368"/>
              <a:gd name="connsiteY1067" fmla="*/ 5757408 h 6479439"/>
              <a:gd name="connsiteX1068" fmla="*/ 8625095 w 9586368"/>
              <a:gd name="connsiteY1068" fmla="*/ 5761447 h 6479439"/>
              <a:gd name="connsiteX1069" fmla="*/ 8615184 w 9586368"/>
              <a:gd name="connsiteY1069" fmla="*/ 5761447 h 6479439"/>
              <a:gd name="connsiteX1070" fmla="*/ 8611165 w 9586368"/>
              <a:gd name="connsiteY1070" fmla="*/ 5757408 h 6479439"/>
              <a:gd name="connsiteX1071" fmla="*/ 8611165 w 9586368"/>
              <a:gd name="connsiteY1071" fmla="*/ 5747537 h 6479439"/>
              <a:gd name="connsiteX1072" fmla="*/ 8375869 w 9586368"/>
              <a:gd name="connsiteY1072" fmla="*/ 5743499 h 6479439"/>
              <a:gd name="connsiteX1073" fmla="*/ 8385779 w 9586368"/>
              <a:gd name="connsiteY1073" fmla="*/ 5743499 h 6479439"/>
              <a:gd name="connsiteX1074" fmla="*/ 8389799 w 9586368"/>
              <a:gd name="connsiteY1074" fmla="*/ 5747537 h 6479439"/>
              <a:gd name="connsiteX1075" fmla="*/ 8389799 w 9586368"/>
              <a:gd name="connsiteY1075" fmla="*/ 5757408 h 6479439"/>
              <a:gd name="connsiteX1076" fmla="*/ 8385779 w 9586368"/>
              <a:gd name="connsiteY1076" fmla="*/ 5761447 h 6479439"/>
              <a:gd name="connsiteX1077" fmla="*/ 8375869 w 9586368"/>
              <a:gd name="connsiteY1077" fmla="*/ 5761447 h 6479439"/>
              <a:gd name="connsiteX1078" fmla="*/ 8371850 w 9586368"/>
              <a:gd name="connsiteY1078" fmla="*/ 5757408 h 6479439"/>
              <a:gd name="connsiteX1079" fmla="*/ 8371850 w 9586368"/>
              <a:gd name="connsiteY1079" fmla="*/ 5747537 h 6479439"/>
              <a:gd name="connsiteX1080" fmla="*/ 8136553 w 9586368"/>
              <a:gd name="connsiteY1080" fmla="*/ 5743499 h 6479439"/>
              <a:gd name="connsiteX1081" fmla="*/ 8146464 w 9586368"/>
              <a:gd name="connsiteY1081" fmla="*/ 5743499 h 6479439"/>
              <a:gd name="connsiteX1082" fmla="*/ 8150483 w 9586368"/>
              <a:gd name="connsiteY1082" fmla="*/ 5747537 h 6479439"/>
              <a:gd name="connsiteX1083" fmla="*/ 8150483 w 9586368"/>
              <a:gd name="connsiteY1083" fmla="*/ 5757408 h 6479439"/>
              <a:gd name="connsiteX1084" fmla="*/ 8146464 w 9586368"/>
              <a:gd name="connsiteY1084" fmla="*/ 5761447 h 6479439"/>
              <a:gd name="connsiteX1085" fmla="*/ 8136553 w 9586368"/>
              <a:gd name="connsiteY1085" fmla="*/ 5761447 h 6479439"/>
              <a:gd name="connsiteX1086" fmla="*/ 8132534 w 9586368"/>
              <a:gd name="connsiteY1086" fmla="*/ 5757408 h 6479439"/>
              <a:gd name="connsiteX1087" fmla="*/ 8132534 w 9586368"/>
              <a:gd name="connsiteY1087" fmla="*/ 5747537 h 6479439"/>
              <a:gd name="connsiteX1088" fmla="*/ 7897241 w 9586368"/>
              <a:gd name="connsiteY1088" fmla="*/ 5743499 h 6479439"/>
              <a:gd name="connsiteX1089" fmla="*/ 7907151 w 9586368"/>
              <a:gd name="connsiteY1089" fmla="*/ 5743499 h 6479439"/>
              <a:gd name="connsiteX1090" fmla="*/ 7911170 w 9586368"/>
              <a:gd name="connsiteY1090" fmla="*/ 5747537 h 6479439"/>
              <a:gd name="connsiteX1091" fmla="*/ 7911170 w 9586368"/>
              <a:gd name="connsiteY1091" fmla="*/ 5757408 h 6479439"/>
              <a:gd name="connsiteX1092" fmla="*/ 7907151 w 9586368"/>
              <a:gd name="connsiteY1092" fmla="*/ 5761447 h 6479439"/>
              <a:gd name="connsiteX1093" fmla="*/ 7897241 w 9586368"/>
              <a:gd name="connsiteY1093" fmla="*/ 5761447 h 6479439"/>
              <a:gd name="connsiteX1094" fmla="*/ 7893222 w 9586368"/>
              <a:gd name="connsiteY1094" fmla="*/ 5757408 h 6479439"/>
              <a:gd name="connsiteX1095" fmla="*/ 7893222 w 9586368"/>
              <a:gd name="connsiteY1095" fmla="*/ 5747537 h 6479439"/>
              <a:gd name="connsiteX1096" fmla="*/ 7657926 w 9586368"/>
              <a:gd name="connsiteY1096" fmla="*/ 5743499 h 6479439"/>
              <a:gd name="connsiteX1097" fmla="*/ 7667836 w 9586368"/>
              <a:gd name="connsiteY1097" fmla="*/ 5743499 h 6479439"/>
              <a:gd name="connsiteX1098" fmla="*/ 7671855 w 9586368"/>
              <a:gd name="connsiteY1098" fmla="*/ 5747537 h 6479439"/>
              <a:gd name="connsiteX1099" fmla="*/ 7671855 w 9586368"/>
              <a:gd name="connsiteY1099" fmla="*/ 5757408 h 6479439"/>
              <a:gd name="connsiteX1100" fmla="*/ 7667836 w 9586368"/>
              <a:gd name="connsiteY1100" fmla="*/ 5761447 h 6479439"/>
              <a:gd name="connsiteX1101" fmla="*/ 7657926 w 9586368"/>
              <a:gd name="connsiteY1101" fmla="*/ 5761447 h 6479439"/>
              <a:gd name="connsiteX1102" fmla="*/ 7653906 w 9586368"/>
              <a:gd name="connsiteY1102" fmla="*/ 5757408 h 6479439"/>
              <a:gd name="connsiteX1103" fmla="*/ 7653906 w 9586368"/>
              <a:gd name="connsiteY1103" fmla="*/ 5747537 h 6479439"/>
              <a:gd name="connsiteX1104" fmla="*/ 7418611 w 9586368"/>
              <a:gd name="connsiteY1104" fmla="*/ 5743499 h 6479439"/>
              <a:gd name="connsiteX1105" fmla="*/ 7428521 w 9586368"/>
              <a:gd name="connsiteY1105" fmla="*/ 5743499 h 6479439"/>
              <a:gd name="connsiteX1106" fmla="*/ 7432540 w 9586368"/>
              <a:gd name="connsiteY1106" fmla="*/ 5747537 h 6479439"/>
              <a:gd name="connsiteX1107" fmla="*/ 7432540 w 9586368"/>
              <a:gd name="connsiteY1107" fmla="*/ 5757408 h 6479439"/>
              <a:gd name="connsiteX1108" fmla="*/ 7428521 w 9586368"/>
              <a:gd name="connsiteY1108" fmla="*/ 5761447 h 6479439"/>
              <a:gd name="connsiteX1109" fmla="*/ 7418611 w 9586368"/>
              <a:gd name="connsiteY1109" fmla="*/ 5761447 h 6479439"/>
              <a:gd name="connsiteX1110" fmla="*/ 7414592 w 9586368"/>
              <a:gd name="connsiteY1110" fmla="*/ 5757408 h 6479439"/>
              <a:gd name="connsiteX1111" fmla="*/ 7414592 w 9586368"/>
              <a:gd name="connsiteY1111" fmla="*/ 5747537 h 6479439"/>
              <a:gd name="connsiteX1112" fmla="*/ 7179298 w 9586368"/>
              <a:gd name="connsiteY1112" fmla="*/ 5743499 h 6479439"/>
              <a:gd name="connsiteX1113" fmla="*/ 7189209 w 9586368"/>
              <a:gd name="connsiteY1113" fmla="*/ 5743499 h 6479439"/>
              <a:gd name="connsiteX1114" fmla="*/ 7193228 w 9586368"/>
              <a:gd name="connsiteY1114" fmla="*/ 5747537 h 6479439"/>
              <a:gd name="connsiteX1115" fmla="*/ 7193228 w 9586368"/>
              <a:gd name="connsiteY1115" fmla="*/ 5757408 h 6479439"/>
              <a:gd name="connsiteX1116" fmla="*/ 7189209 w 9586368"/>
              <a:gd name="connsiteY1116" fmla="*/ 5761447 h 6479439"/>
              <a:gd name="connsiteX1117" fmla="*/ 7179298 w 9586368"/>
              <a:gd name="connsiteY1117" fmla="*/ 5761447 h 6479439"/>
              <a:gd name="connsiteX1118" fmla="*/ 7175279 w 9586368"/>
              <a:gd name="connsiteY1118" fmla="*/ 5757408 h 6479439"/>
              <a:gd name="connsiteX1119" fmla="*/ 7175279 w 9586368"/>
              <a:gd name="connsiteY1119" fmla="*/ 5747537 h 6479439"/>
              <a:gd name="connsiteX1120" fmla="*/ 6939983 w 9586368"/>
              <a:gd name="connsiteY1120" fmla="*/ 5743499 h 6479439"/>
              <a:gd name="connsiteX1121" fmla="*/ 6949894 w 9586368"/>
              <a:gd name="connsiteY1121" fmla="*/ 5743499 h 6479439"/>
              <a:gd name="connsiteX1122" fmla="*/ 6953913 w 9586368"/>
              <a:gd name="connsiteY1122" fmla="*/ 5747537 h 6479439"/>
              <a:gd name="connsiteX1123" fmla="*/ 6953913 w 9586368"/>
              <a:gd name="connsiteY1123" fmla="*/ 5757408 h 6479439"/>
              <a:gd name="connsiteX1124" fmla="*/ 6949894 w 9586368"/>
              <a:gd name="connsiteY1124" fmla="*/ 5761447 h 6479439"/>
              <a:gd name="connsiteX1125" fmla="*/ 6939983 w 9586368"/>
              <a:gd name="connsiteY1125" fmla="*/ 5761447 h 6479439"/>
              <a:gd name="connsiteX1126" fmla="*/ 6935964 w 9586368"/>
              <a:gd name="connsiteY1126" fmla="*/ 5757408 h 6479439"/>
              <a:gd name="connsiteX1127" fmla="*/ 6935964 w 9586368"/>
              <a:gd name="connsiteY1127" fmla="*/ 5747537 h 6479439"/>
              <a:gd name="connsiteX1128" fmla="*/ 6700670 w 9586368"/>
              <a:gd name="connsiteY1128" fmla="*/ 5743499 h 6479439"/>
              <a:gd name="connsiteX1129" fmla="*/ 6710581 w 9586368"/>
              <a:gd name="connsiteY1129" fmla="*/ 5743499 h 6479439"/>
              <a:gd name="connsiteX1130" fmla="*/ 6714600 w 9586368"/>
              <a:gd name="connsiteY1130" fmla="*/ 5747537 h 6479439"/>
              <a:gd name="connsiteX1131" fmla="*/ 6714600 w 9586368"/>
              <a:gd name="connsiteY1131" fmla="*/ 5757408 h 6479439"/>
              <a:gd name="connsiteX1132" fmla="*/ 6710581 w 9586368"/>
              <a:gd name="connsiteY1132" fmla="*/ 5761447 h 6479439"/>
              <a:gd name="connsiteX1133" fmla="*/ 6700670 w 9586368"/>
              <a:gd name="connsiteY1133" fmla="*/ 5761447 h 6479439"/>
              <a:gd name="connsiteX1134" fmla="*/ 6696651 w 9586368"/>
              <a:gd name="connsiteY1134" fmla="*/ 5757408 h 6479439"/>
              <a:gd name="connsiteX1135" fmla="*/ 6696651 w 9586368"/>
              <a:gd name="connsiteY1135" fmla="*/ 5747537 h 6479439"/>
              <a:gd name="connsiteX1136" fmla="*/ 6461356 w 9586368"/>
              <a:gd name="connsiteY1136" fmla="*/ 5743499 h 6479439"/>
              <a:gd name="connsiteX1137" fmla="*/ 6471266 w 9586368"/>
              <a:gd name="connsiteY1137" fmla="*/ 5743499 h 6479439"/>
              <a:gd name="connsiteX1138" fmla="*/ 6475285 w 9586368"/>
              <a:gd name="connsiteY1138" fmla="*/ 5747537 h 6479439"/>
              <a:gd name="connsiteX1139" fmla="*/ 6475285 w 9586368"/>
              <a:gd name="connsiteY1139" fmla="*/ 5757408 h 6479439"/>
              <a:gd name="connsiteX1140" fmla="*/ 6471266 w 9586368"/>
              <a:gd name="connsiteY1140" fmla="*/ 5761447 h 6479439"/>
              <a:gd name="connsiteX1141" fmla="*/ 6461356 w 9586368"/>
              <a:gd name="connsiteY1141" fmla="*/ 5761447 h 6479439"/>
              <a:gd name="connsiteX1142" fmla="*/ 6457337 w 9586368"/>
              <a:gd name="connsiteY1142" fmla="*/ 5757408 h 6479439"/>
              <a:gd name="connsiteX1143" fmla="*/ 6457337 w 9586368"/>
              <a:gd name="connsiteY1143" fmla="*/ 5747537 h 6479439"/>
              <a:gd name="connsiteX1144" fmla="*/ 6222042 w 9586368"/>
              <a:gd name="connsiteY1144" fmla="*/ 5743499 h 6479439"/>
              <a:gd name="connsiteX1145" fmla="*/ 6231952 w 9586368"/>
              <a:gd name="connsiteY1145" fmla="*/ 5743499 h 6479439"/>
              <a:gd name="connsiteX1146" fmla="*/ 6235971 w 9586368"/>
              <a:gd name="connsiteY1146" fmla="*/ 5747537 h 6479439"/>
              <a:gd name="connsiteX1147" fmla="*/ 6235971 w 9586368"/>
              <a:gd name="connsiteY1147" fmla="*/ 5757408 h 6479439"/>
              <a:gd name="connsiteX1148" fmla="*/ 6231952 w 9586368"/>
              <a:gd name="connsiteY1148" fmla="*/ 5761447 h 6479439"/>
              <a:gd name="connsiteX1149" fmla="*/ 6222042 w 9586368"/>
              <a:gd name="connsiteY1149" fmla="*/ 5761447 h 6479439"/>
              <a:gd name="connsiteX1150" fmla="*/ 6218023 w 9586368"/>
              <a:gd name="connsiteY1150" fmla="*/ 5757408 h 6479439"/>
              <a:gd name="connsiteX1151" fmla="*/ 6218023 w 9586368"/>
              <a:gd name="connsiteY1151" fmla="*/ 5747537 h 6479439"/>
              <a:gd name="connsiteX1152" fmla="*/ 5982729 w 9586368"/>
              <a:gd name="connsiteY1152" fmla="*/ 5743499 h 6479439"/>
              <a:gd name="connsiteX1153" fmla="*/ 5992639 w 9586368"/>
              <a:gd name="connsiteY1153" fmla="*/ 5743499 h 6479439"/>
              <a:gd name="connsiteX1154" fmla="*/ 5996658 w 9586368"/>
              <a:gd name="connsiteY1154" fmla="*/ 5747537 h 6479439"/>
              <a:gd name="connsiteX1155" fmla="*/ 5996658 w 9586368"/>
              <a:gd name="connsiteY1155" fmla="*/ 5757408 h 6479439"/>
              <a:gd name="connsiteX1156" fmla="*/ 5992639 w 9586368"/>
              <a:gd name="connsiteY1156" fmla="*/ 5761447 h 6479439"/>
              <a:gd name="connsiteX1157" fmla="*/ 5982729 w 9586368"/>
              <a:gd name="connsiteY1157" fmla="*/ 5761447 h 6479439"/>
              <a:gd name="connsiteX1158" fmla="*/ 5978710 w 9586368"/>
              <a:gd name="connsiteY1158" fmla="*/ 5757408 h 6479439"/>
              <a:gd name="connsiteX1159" fmla="*/ 5978710 w 9586368"/>
              <a:gd name="connsiteY1159" fmla="*/ 5747537 h 6479439"/>
              <a:gd name="connsiteX1160" fmla="*/ 5743412 w 9586368"/>
              <a:gd name="connsiteY1160" fmla="*/ 5743499 h 6479439"/>
              <a:gd name="connsiteX1161" fmla="*/ 5753323 w 9586368"/>
              <a:gd name="connsiteY1161" fmla="*/ 5743499 h 6479439"/>
              <a:gd name="connsiteX1162" fmla="*/ 5757342 w 9586368"/>
              <a:gd name="connsiteY1162" fmla="*/ 5747537 h 6479439"/>
              <a:gd name="connsiteX1163" fmla="*/ 5757342 w 9586368"/>
              <a:gd name="connsiteY1163" fmla="*/ 5757408 h 6479439"/>
              <a:gd name="connsiteX1164" fmla="*/ 5753323 w 9586368"/>
              <a:gd name="connsiteY1164" fmla="*/ 5761447 h 6479439"/>
              <a:gd name="connsiteX1165" fmla="*/ 5743412 w 9586368"/>
              <a:gd name="connsiteY1165" fmla="*/ 5761447 h 6479439"/>
              <a:gd name="connsiteX1166" fmla="*/ 5739393 w 9586368"/>
              <a:gd name="connsiteY1166" fmla="*/ 5757408 h 6479439"/>
              <a:gd name="connsiteX1167" fmla="*/ 5739393 w 9586368"/>
              <a:gd name="connsiteY1167" fmla="*/ 5747537 h 6479439"/>
              <a:gd name="connsiteX1168" fmla="*/ 5504099 w 9586368"/>
              <a:gd name="connsiteY1168" fmla="*/ 5743499 h 6479439"/>
              <a:gd name="connsiteX1169" fmla="*/ 5514010 w 9586368"/>
              <a:gd name="connsiteY1169" fmla="*/ 5743499 h 6479439"/>
              <a:gd name="connsiteX1170" fmla="*/ 5518029 w 9586368"/>
              <a:gd name="connsiteY1170" fmla="*/ 5747537 h 6479439"/>
              <a:gd name="connsiteX1171" fmla="*/ 5518029 w 9586368"/>
              <a:gd name="connsiteY1171" fmla="*/ 5757408 h 6479439"/>
              <a:gd name="connsiteX1172" fmla="*/ 5514010 w 9586368"/>
              <a:gd name="connsiteY1172" fmla="*/ 5761447 h 6479439"/>
              <a:gd name="connsiteX1173" fmla="*/ 5504099 w 9586368"/>
              <a:gd name="connsiteY1173" fmla="*/ 5761447 h 6479439"/>
              <a:gd name="connsiteX1174" fmla="*/ 5500080 w 9586368"/>
              <a:gd name="connsiteY1174" fmla="*/ 5757408 h 6479439"/>
              <a:gd name="connsiteX1175" fmla="*/ 5500080 w 9586368"/>
              <a:gd name="connsiteY1175" fmla="*/ 5747537 h 6479439"/>
              <a:gd name="connsiteX1176" fmla="*/ 5264784 w 9586368"/>
              <a:gd name="connsiteY1176" fmla="*/ 5743499 h 6479439"/>
              <a:gd name="connsiteX1177" fmla="*/ 5274694 w 9586368"/>
              <a:gd name="connsiteY1177" fmla="*/ 5743499 h 6479439"/>
              <a:gd name="connsiteX1178" fmla="*/ 5278713 w 9586368"/>
              <a:gd name="connsiteY1178" fmla="*/ 5747537 h 6479439"/>
              <a:gd name="connsiteX1179" fmla="*/ 5278713 w 9586368"/>
              <a:gd name="connsiteY1179" fmla="*/ 5757408 h 6479439"/>
              <a:gd name="connsiteX1180" fmla="*/ 5274694 w 9586368"/>
              <a:gd name="connsiteY1180" fmla="*/ 5761447 h 6479439"/>
              <a:gd name="connsiteX1181" fmla="*/ 5264784 w 9586368"/>
              <a:gd name="connsiteY1181" fmla="*/ 5761447 h 6479439"/>
              <a:gd name="connsiteX1182" fmla="*/ 5260765 w 9586368"/>
              <a:gd name="connsiteY1182" fmla="*/ 5757408 h 6479439"/>
              <a:gd name="connsiteX1183" fmla="*/ 5260765 w 9586368"/>
              <a:gd name="connsiteY1183" fmla="*/ 5747537 h 6479439"/>
              <a:gd name="connsiteX1184" fmla="*/ 5025470 w 9586368"/>
              <a:gd name="connsiteY1184" fmla="*/ 5743499 h 6479439"/>
              <a:gd name="connsiteX1185" fmla="*/ 5035381 w 9586368"/>
              <a:gd name="connsiteY1185" fmla="*/ 5743499 h 6479439"/>
              <a:gd name="connsiteX1186" fmla="*/ 5039400 w 9586368"/>
              <a:gd name="connsiteY1186" fmla="*/ 5747537 h 6479439"/>
              <a:gd name="connsiteX1187" fmla="*/ 5039400 w 9586368"/>
              <a:gd name="connsiteY1187" fmla="*/ 5757408 h 6479439"/>
              <a:gd name="connsiteX1188" fmla="*/ 5035381 w 9586368"/>
              <a:gd name="connsiteY1188" fmla="*/ 5761447 h 6479439"/>
              <a:gd name="connsiteX1189" fmla="*/ 5025470 w 9586368"/>
              <a:gd name="connsiteY1189" fmla="*/ 5761447 h 6479439"/>
              <a:gd name="connsiteX1190" fmla="*/ 5021451 w 9586368"/>
              <a:gd name="connsiteY1190" fmla="*/ 5757408 h 6479439"/>
              <a:gd name="connsiteX1191" fmla="*/ 5021451 w 9586368"/>
              <a:gd name="connsiteY1191" fmla="*/ 5747537 h 6479439"/>
              <a:gd name="connsiteX1192" fmla="*/ 4786241 w 9586368"/>
              <a:gd name="connsiteY1192" fmla="*/ 5743499 h 6479439"/>
              <a:gd name="connsiteX1193" fmla="*/ 4796152 w 9586368"/>
              <a:gd name="connsiteY1193" fmla="*/ 5743499 h 6479439"/>
              <a:gd name="connsiteX1194" fmla="*/ 4800171 w 9586368"/>
              <a:gd name="connsiteY1194" fmla="*/ 5747537 h 6479439"/>
              <a:gd name="connsiteX1195" fmla="*/ 4800171 w 9586368"/>
              <a:gd name="connsiteY1195" fmla="*/ 5757408 h 6479439"/>
              <a:gd name="connsiteX1196" fmla="*/ 4796152 w 9586368"/>
              <a:gd name="connsiteY1196" fmla="*/ 5761447 h 6479439"/>
              <a:gd name="connsiteX1197" fmla="*/ 4786241 w 9586368"/>
              <a:gd name="connsiteY1197" fmla="*/ 5761447 h 6479439"/>
              <a:gd name="connsiteX1198" fmla="*/ 4782224 w 9586368"/>
              <a:gd name="connsiteY1198" fmla="*/ 5757408 h 6479439"/>
              <a:gd name="connsiteX1199" fmla="*/ 4782224 w 9586368"/>
              <a:gd name="connsiteY1199" fmla="*/ 5747537 h 6479439"/>
              <a:gd name="connsiteX1200" fmla="*/ 4546929 w 9586368"/>
              <a:gd name="connsiteY1200" fmla="*/ 5743499 h 6479439"/>
              <a:gd name="connsiteX1201" fmla="*/ 4556840 w 9586368"/>
              <a:gd name="connsiteY1201" fmla="*/ 5743499 h 6479439"/>
              <a:gd name="connsiteX1202" fmla="*/ 4560859 w 9586368"/>
              <a:gd name="connsiteY1202" fmla="*/ 5747537 h 6479439"/>
              <a:gd name="connsiteX1203" fmla="*/ 4560859 w 9586368"/>
              <a:gd name="connsiteY1203" fmla="*/ 5757408 h 6479439"/>
              <a:gd name="connsiteX1204" fmla="*/ 4556840 w 9586368"/>
              <a:gd name="connsiteY1204" fmla="*/ 5761447 h 6479439"/>
              <a:gd name="connsiteX1205" fmla="*/ 4546929 w 9586368"/>
              <a:gd name="connsiteY1205" fmla="*/ 5761447 h 6479439"/>
              <a:gd name="connsiteX1206" fmla="*/ 4542910 w 9586368"/>
              <a:gd name="connsiteY1206" fmla="*/ 5757408 h 6479439"/>
              <a:gd name="connsiteX1207" fmla="*/ 4542910 w 9586368"/>
              <a:gd name="connsiteY1207" fmla="*/ 5747537 h 6479439"/>
              <a:gd name="connsiteX1208" fmla="*/ 4307612 w 9586368"/>
              <a:gd name="connsiteY1208" fmla="*/ 5743499 h 6479439"/>
              <a:gd name="connsiteX1209" fmla="*/ 4317523 w 9586368"/>
              <a:gd name="connsiteY1209" fmla="*/ 5743499 h 6479439"/>
              <a:gd name="connsiteX1210" fmla="*/ 4321543 w 9586368"/>
              <a:gd name="connsiteY1210" fmla="*/ 5747537 h 6479439"/>
              <a:gd name="connsiteX1211" fmla="*/ 4321543 w 9586368"/>
              <a:gd name="connsiteY1211" fmla="*/ 5757408 h 6479439"/>
              <a:gd name="connsiteX1212" fmla="*/ 4317523 w 9586368"/>
              <a:gd name="connsiteY1212" fmla="*/ 5761447 h 6479439"/>
              <a:gd name="connsiteX1213" fmla="*/ 4307612 w 9586368"/>
              <a:gd name="connsiteY1213" fmla="*/ 5761447 h 6479439"/>
              <a:gd name="connsiteX1214" fmla="*/ 4303595 w 9586368"/>
              <a:gd name="connsiteY1214" fmla="*/ 5757408 h 6479439"/>
              <a:gd name="connsiteX1215" fmla="*/ 4303595 w 9586368"/>
              <a:gd name="connsiteY1215" fmla="*/ 5747537 h 6479439"/>
              <a:gd name="connsiteX1216" fmla="*/ 4068297 w 9586368"/>
              <a:gd name="connsiteY1216" fmla="*/ 5743499 h 6479439"/>
              <a:gd name="connsiteX1217" fmla="*/ 4078210 w 9586368"/>
              <a:gd name="connsiteY1217" fmla="*/ 5743499 h 6479439"/>
              <a:gd name="connsiteX1218" fmla="*/ 4082229 w 9586368"/>
              <a:gd name="connsiteY1218" fmla="*/ 5747537 h 6479439"/>
              <a:gd name="connsiteX1219" fmla="*/ 4082229 w 9586368"/>
              <a:gd name="connsiteY1219" fmla="*/ 5757408 h 6479439"/>
              <a:gd name="connsiteX1220" fmla="*/ 4078210 w 9586368"/>
              <a:gd name="connsiteY1220" fmla="*/ 5761447 h 6479439"/>
              <a:gd name="connsiteX1221" fmla="*/ 4068297 w 9586368"/>
              <a:gd name="connsiteY1221" fmla="*/ 5761447 h 6479439"/>
              <a:gd name="connsiteX1222" fmla="*/ 4064278 w 9586368"/>
              <a:gd name="connsiteY1222" fmla="*/ 5757408 h 6479439"/>
              <a:gd name="connsiteX1223" fmla="*/ 4064278 w 9586368"/>
              <a:gd name="connsiteY1223" fmla="*/ 5747537 h 6479439"/>
              <a:gd name="connsiteX1224" fmla="*/ 3828990 w 9586368"/>
              <a:gd name="connsiteY1224" fmla="*/ 5743499 h 6479439"/>
              <a:gd name="connsiteX1225" fmla="*/ 3838899 w 9586368"/>
              <a:gd name="connsiteY1225" fmla="*/ 5743499 h 6479439"/>
              <a:gd name="connsiteX1226" fmla="*/ 3842917 w 9586368"/>
              <a:gd name="connsiteY1226" fmla="*/ 5747537 h 6479439"/>
              <a:gd name="connsiteX1227" fmla="*/ 3842917 w 9586368"/>
              <a:gd name="connsiteY1227" fmla="*/ 5757408 h 6479439"/>
              <a:gd name="connsiteX1228" fmla="*/ 3838899 w 9586368"/>
              <a:gd name="connsiteY1228" fmla="*/ 5761447 h 6479439"/>
              <a:gd name="connsiteX1229" fmla="*/ 3828990 w 9586368"/>
              <a:gd name="connsiteY1229" fmla="*/ 5761447 h 6479439"/>
              <a:gd name="connsiteX1230" fmla="*/ 3824971 w 9586368"/>
              <a:gd name="connsiteY1230" fmla="*/ 5757408 h 6479439"/>
              <a:gd name="connsiteX1231" fmla="*/ 3824971 w 9586368"/>
              <a:gd name="connsiteY1231" fmla="*/ 5747537 h 6479439"/>
              <a:gd name="connsiteX1232" fmla="*/ 3589676 w 9586368"/>
              <a:gd name="connsiteY1232" fmla="*/ 5743499 h 6479439"/>
              <a:gd name="connsiteX1233" fmla="*/ 3599585 w 9586368"/>
              <a:gd name="connsiteY1233" fmla="*/ 5743499 h 6479439"/>
              <a:gd name="connsiteX1234" fmla="*/ 3603604 w 9586368"/>
              <a:gd name="connsiteY1234" fmla="*/ 5747537 h 6479439"/>
              <a:gd name="connsiteX1235" fmla="*/ 3603604 w 9586368"/>
              <a:gd name="connsiteY1235" fmla="*/ 5757408 h 6479439"/>
              <a:gd name="connsiteX1236" fmla="*/ 3599585 w 9586368"/>
              <a:gd name="connsiteY1236" fmla="*/ 5761447 h 6479439"/>
              <a:gd name="connsiteX1237" fmla="*/ 3589676 w 9586368"/>
              <a:gd name="connsiteY1237" fmla="*/ 5761447 h 6479439"/>
              <a:gd name="connsiteX1238" fmla="*/ 3585657 w 9586368"/>
              <a:gd name="connsiteY1238" fmla="*/ 5757408 h 6479439"/>
              <a:gd name="connsiteX1239" fmla="*/ 3585657 w 9586368"/>
              <a:gd name="connsiteY1239" fmla="*/ 5747537 h 6479439"/>
              <a:gd name="connsiteX1240" fmla="*/ 3350359 w 9586368"/>
              <a:gd name="connsiteY1240" fmla="*/ 5743499 h 6479439"/>
              <a:gd name="connsiteX1241" fmla="*/ 3360268 w 9586368"/>
              <a:gd name="connsiteY1241" fmla="*/ 5743499 h 6479439"/>
              <a:gd name="connsiteX1242" fmla="*/ 3364287 w 9586368"/>
              <a:gd name="connsiteY1242" fmla="*/ 5747537 h 6479439"/>
              <a:gd name="connsiteX1243" fmla="*/ 3364287 w 9586368"/>
              <a:gd name="connsiteY1243" fmla="*/ 5757408 h 6479439"/>
              <a:gd name="connsiteX1244" fmla="*/ 3360268 w 9586368"/>
              <a:gd name="connsiteY1244" fmla="*/ 5761447 h 6479439"/>
              <a:gd name="connsiteX1245" fmla="*/ 3350359 w 9586368"/>
              <a:gd name="connsiteY1245" fmla="*/ 5761447 h 6479439"/>
              <a:gd name="connsiteX1246" fmla="*/ 3346340 w 9586368"/>
              <a:gd name="connsiteY1246" fmla="*/ 5757408 h 6479439"/>
              <a:gd name="connsiteX1247" fmla="*/ 3346340 w 9586368"/>
              <a:gd name="connsiteY1247" fmla="*/ 5747537 h 6479439"/>
              <a:gd name="connsiteX1248" fmla="*/ 3111048 w 9586368"/>
              <a:gd name="connsiteY1248" fmla="*/ 5743499 h 6479439"/>
              <a:gd name="connsiteX1249" fmla="*/ 3120959 w 9586368"/>
              <a:gd name="connsiteY1249" fmla="*/ 5743499 h 6479439"/>
              <a:gd name="connsiteX1250" fmla="*/ 3124977 w 9586368"/>
              <a:gd name="connsiteY1250" fmla="*/ 5747537 h 6479439"/>
              <a:gd name="connsiteX1251" fmla="*/ 3124977 w 9586368"/>
              <a:gd name="connsiteY1251" fmla="*/ 5757408 h 6479439"/>
              <a:gd name="connsiteX1252" fmla="*/ 3120959 w 9586368"/>
              <a:gd name="connsiteY1252" fmla="*/ 5761447 h 6479439"/>
              <a:gd name="connsiteX1253" fmla="*/ 3111048 w 9586368"/>
              <a:gd name="connsiteY1253" fmla="*/ 5761447 h 6479439"/>
              <a:gd name="connsiteX1254" fmla="*/ 3107029 w 9586368"/>
              <a:gd name="connsiteY1254" fmla="*/ 5757408 h 6479439"/>
              <a:gd name="connsiteX1255" fmla="*/ 3107029 w 9586368"/>
              <a:gd name="connsiteY1255" fmla="*/ 5747537 h 6479439"/>
              <a:gd name="connsiteX1256" fmla="*/ 2871737 w 9586368"/>
              <a:gd name="connsiteY1256" fmla="*/ 5743499 h 6479439"/>
              <a:gd name="connsiteX1257" fmla="*/ 2881646 w 9586368"/>
              <a:gd name="connsiteY1257" fmla="*/ 5743499 h 6479439"/>
              <a:gd name="connsiteX1258" fmla="*/ 2885666 w 9586368"/>
              <a:gd name="connsiteY1258" fmla="*/ 5747537 h 6479439"/>
              <a:gd name="connsiteX1259" fmla="*/ 2885666 w 9586368"/>
              <a:gd name="connsiteY1259" fmla="*/ 5757408 h 6479439"/>
              <a:gd name="connsiteX1260" fmla="*/ 2881646 w 9586368"/>
              <a:gd name="connsiteY1260" fmla="*/ 5761447 h 6479439"/>
              <a:gd name="connsiteX1261" fmla="*/ 2871737 w 9586368"/>
              <a:gd name="connsiteY1261" fmla="*/ 5761447 h 6479439"/>
              <a:gd name="connsiteX1262" fmla="*/ 2867717 w 9586368"/>
              <a:gd name="connsiteY1262" fmla="*/ 5757408 h 6479439"/>
              <a:gd name="connsiteX1263" fmla="*/ 2867717 w 9586368"/>
              <a:gd name="connsiteY1263" fmla="*/ 5747537 h 6479439"/>
              <a:gd name="connsiteX1264" fmla="*/ 2632423 w 9586368"/>
              <a:gd name="connsiteY1264" fmla="*/ 5743499 h 6479439"/>
              <a:gd name="connsiteX1265" fmla="*/ 2642334 w 9586368"/>
              <a:gd name="connsiteY1265" fmla="*/ 5743499 h 6479439"/>
              <a:gd name="connsiteX1266" fmla="*/ 2646352 w 9586368"/>
              <a:gd name="connsiteY1266" fmla="*/ 5747537 h 6479439"/>
              <a:gd name="connsiteX1267" fmla="*/ 2646352 w 9586368"/>
              <a:gd name="connsiteY1267" fmla="*/ 5757408 h 6479439"/>
              <a:gd name="connsiteX1268" fmla="*/ 2642334 w 9586368"/>
              <a:gd name="connsiteY1268" fmla="*/ 5761447 h 6479439"/>
              <a:gd name="connsiteX1269" fmla="*/ 2632423 w 9586368"/>
              <a:gd name="connsiteY1269" fmla="*/ 5761447 h 6479439"/>
              <a:gd name="connsiteX1270" fmla="*/ 2628404 w 9586368"/>
              <a:gd name="connsiteY1270" fmla="*/ 5757408 h 6479439"/>
              <a:gd name="connsiteX1271" fmla="*/ 2628404 w 9586368"/>
              <a:gd name="connsiteY1271" fmla="*/ 5747537 h 6479439"/>
              <a:gd name="connsiteX1272" fmla="*/ 2393104 w 9586368"/>
              <a:gd name="connsiteY1272" fmla="*/ 5743499 h 6479439"/>
              <a:gd name="connsiteX1273" fmla="*/ 2403015 w 9586368"/>
              <a:gd name="connsiteY1273" fmla="*/ 5743499 h 6479439"/>
              <a:gd name="connsiteX1274" fmla="*/ 2407034 w 9586368"/>
              <a:gd name="connsiteY1274" fmla="*/ 5747537 h 6479439"/>
              <a:gd name="connsiteX1275" fmla="*/ 2407034 w 9586368"/>
              <a:gd name="connsiteY1275" fmla="*/ 5757408 h 6479439"/>
              <a:gd name="connsiteX1276" fmla="*/ 2403015 w 9586368"/>
              <a:gd name="connsiteY1276" fmla="*/ 5761447 h 6479439"/>
              <a:gd name="connsiteX1277" fmla="*/ 2393104 w 9586368"/>
              <a:gd name="connsiteY1277" fmla="*/ 5761447 h 6479439"/>
              <a:gd name="connsiteX1278" fmla="*/ 2389087 w 9586368"/>
              <a:gd name="connsiteY1278" fmla="*/ 5757408 h 6479439"/>
              <a:gd name="connsiteX1279" fmla="*/ 2389087 w 9586368"/>
              <a:gd name="connsiteY1279" fmla="*/ 5747537 h 6479439"/>
              <a:gd name="connsiteX1280" fmla="*/ 721960 w 9586368"/>
              <a:gd name="connsiteY1280" fmla="*/ 5743499 h 6479439"/>
              <a:gd name="connsiteX1281" fmla="*/ 731871 w 9586368"/>
              <a:gd name="connsiteY1281" fmla="*/ 5743499 h 6479439"/>
              <a:gd name="connsiteX1282" fmla="*/ 735889 w 9586368"/>
              <a:gd name="connsiteY1282" fmla="*/ 5747537 h 6479439"/>
              <a:gd name="connsiteX1283" fmla="*/ 735889 w 9586368"/>
              <a:gd name="connsiteY1283" fmla="*/ 5757408 h 6479439"/>
              <a:gd name="connsiteX1284" fmla="*/ 731871 w 9586368"/>
              <a:gd name="connsiteY1284" fmla="*/ 5761447 h 6479439"/>
              <a:gd name="connsiteX1285" fmla="*/ 721960 w 9586368"/>
              <a:gd name="connsiteY1285" fmla="*/ 5761447 h 6479439"/>
              <a:gd name="connsiteX1286" fmla="*/ 717941 w 9586368"/>
              <a:gd name="connsiteY1286" fmla="*/ 5757408 h 6479439"/>
              <a:gd name="connsiteX1287" fmla="*/ 717941 w 9586368"/>
              <a:gd name="connsiteY1287" fmla="*/ 5747537 h 6479439"/>
              <a:gd name="connsiteX1288" fmla="*/ 482648 w 9586368"/>
              <a:gd name="connsiteY1288" fmla="*/ 5743499 h 6479439"/>
              <a:gd name="connsiteX1289" fmla="*/ 492558 w 9586368"/>
              <a:gd name="connsiteY1289" fmla="*/ 5743499 h 6479439"/>
              <a:gd name="connsiteX1290" fmla="*/ 496578 w 9586368"/>
              <a:gd name="connsiteY1290" fmla="*/ 5747537 h 6479439"/>
              <a:gd name="connsiteX1291" fmla="*/ 496578 w 9586368"/>
              <a:gd name="connsiteY1291" fmla="*/ 5757408 h 6479439"/>
              <a:gd name="connsiteX1292" fmla="*/ 492558 w 9586368"/>
              <a:gd name="connsiteY1292" fmla="*/ 5761447 h 6479439"/>
              <a:gd name="connsiteX1293" fmla="*/ 482648 w 9586368"/>
              <a:gd name="connsiteY1293" fmla="*/ 5761447 h 6479439"/>
              <a:gd name="connsiteX1294" fmla="*/ 478629 w 9586368"/>
              <a:gd name="connsiteY1294" fmla="*/ 5757408 h 6479439"/>
              <a:gd name="connsiteX1295" fmla="*/ 478629 w 9586368"/>
              <a:gd name="connsiteY1295" fmla="*/ 5747537 h 6479439"/>
              <a:gd name="connsiteX1296" fmla="*/ 243334 w 9586368"/>
              <a:gd name="connsiteY1296" fmla="*/ 5743499 h 6479439"/>
              <a:gd name="connsiteX1297" fmla="*/ 253245 w 9586368"/>
              <a:gd name="connsiteY1297" fmla="*/ 5743499 h 6479439"/>
              <a:gd name="connsiteX1298" fmla="*/ 257264 w 9586368"/>
              <a:gd name="connsiteY1298" fmla="*/ 5747537 h 6479439"/>
              <a:gd name="connsiteX1299" fmla="*/ 257264 w 9586368"/>
              <a:gd name="connsiteY1299" fmla="*/ 5757408 h 6479439"/>
              <a:gd name="connsiteX1300" fmla="*/ 253245 w 9586368"/>
              <a:gd name="connsiteY1300" fmla="*/ 5761447 h 6479439"/>
              <a:gd name="connsiteX1301" fmla="*/ 243334 w 9586368"/>
              <a:gd name="connsiteY1301" fmla="*/ 5761447 h 6479439"/>
              <a:gd name="connsiteX1302" fmla="*/ 239315 w 9586368"/>
              <a:gd name="connsiteY1302" fmla="*/ 5757408 h 6479439"/>
              <a:gd name="connsiteX1303" fmla="*/ 239315 w 9586368"/>
              <a:gd name="connsiteY1303" fmla="*/ 5747537 h 6479439"/>
              <a:gd name="connsiteX1304" fmla="*/ 4021 w 9586368"/>
              <a:gd name="connsiteY1304" fmla="*/ 5743499 h 6479439"/>
              <a:gd name="connsiteX1305" fmla="*/ 13932 w 9586368"/>
              <a:gd name="connsiteY1305" fmla="*/ 5743499 h 6479439"/>
              <a:gd name="connsiteX1306" fmla="*/ 17950 w 9586368"/>
              <a:gd name="connsiteY1306" fmla="*/ 5747537 h 6479439"/>
              <a:gd name="connsiteX1307" fmla="*/ 17950 w 9586368"/>
              <a:gd name="connsiteY1307" fmla="*/ 5757408 h 6479439"/>
              <a:gd name="connsiteX1308" fmla="*/ 13932 w 9586368"/>
              <a:gd name="connsiteY1308" fmla="*/ 5761447 h 6479439"/>
              <a:gd name="connsiteX1309" fmla="*/ 4021 w 9586368"/>
              <a:gd name="connsiteY1309" fmla="*/ 5761447 h 6479439"/>
              <a:gd name="connsiteX1310" fmla="*/ 2 w 9586368"/>
              <a:gd name="connsiteY1310" fmla="*/ 5757408 h 6479439"/>
              <a:gd name="connsiteX1311" fmla="*/ 2 w 9586368"/>
              <a:gd name="connsiteY1311" fmla="*/ 5747537 h 6479439"/>
              <a:gd name="connsiteX1312" fmla="*/ 9572438 w 9586368"/>
              <a:gd name="connsiteY1312" fmla="*/ 5504220 h 6479439"/>
              <a:gd name="connsiteX1313" fmla="*/ 9582349 w 9586368"/>
              <a:gd name="connsiteY1313" fmla="*/ 5504220 h 6479439"/>
              <a:gd name="connsiteX1314" fmla="*/ 9586368 w 9586368"/>
              <a:gd name="connsiteY1314" fmla="*/ 5508258 h 6479439"/>
              <a:gd name="connsiteX1315" fmla="*/ 9586368 w 9586368"/>
              <a:gd name="connsiteY1315" fmla="*/ 5518129 h 6479439"/>
              <a:gd name="connsiteX1316" fmla="*/ 9582349 w 9586368"/>
              <a:gd name="connsiteY1316" fmla="*/ 5522168 h 6479439"/>
              <a:gd name="connsiteX1317" fmla="*/ 9572438 w 9586368"/>
              <a:gd name="connsiteY1317" fmla="*/ 5522168 h 6479439"/>
              <a:gd name="connsiteX1318" fmla="*/ 9568419 w 9586368"/>
              <a:gd name="connsiteY1318" fmla="*/ 5518129 h 6479439"/>
              <a:gd name="connsiteX1319" fmla="*/ 9568419 w 9586368"/>
              <a:gd name="connsiteY1319" fmla="*/ 5508258 h 6479439"/>
              <a:gd name="connsiteX1320" fmla="*/ 9333125 w 9586368"/>
              <a:gd name="connsiteY1320" fmla="*/ 5504220 h 6479439"/>
              <a:gd name="connsiteX1321" fmla="*/ 9343036 w 9586368"/>
              <a:gd name="connsiteY1321" fmla="*/ 5504220 h 6479439"/>
              <a:gd name="connsiteX1322" fmla="*/ 9347055 w 9586368"/>
              <a:gd name="connsiteY1322" fmla="*/ 5508258 h 6479439"/>
              <a:gd name="connsiteX1323" fmla="*/ 9347055 w 9586368"/>
              <a:gd name="connsiteY1323" fmla="*/ 5518129 h 6479439"/>
              <a:gd name="connsiteX1324" fmla="*/ 9343036 w 9586368"/>
              <a:gd name="connsiteY1324" fmla="*/ 5522168 h 6479439"/>
              <a:gd name="connsiteX1325" fmla="*/ 9333125 w 9586368"/>
              <a:gd name="connsiteY1325" fmla="*/ 5522168 h 6479439"/>
              <a:gd name="connsiteX1326" fmla="*/ 9329106 w 9586368"/>
              <a:gd name="connsiteY1326" fmla="*/ 5518129 h 6479439"/>
              <a:gd name="connsiteX1327" fmla="*/ 9329106 w 9586368"/>
              <a:gd name="connsiteY1327" fmla="*/ 5508258 h 6479439"/>
              <a:gd name="connsiteX1328" fmla="*/ 9093811 w 9586368"/>
              <a:gd name="connsiteY1328" fmla="*/ 5504220 h 6479439"/>
              <a:gd name="connsiteX1329" fmla="*/ 9103722 w 9586368"/>
              <a:gd name="connsiteY1329" fmla="*/ 5504220 h 6479439"/>
              <a:gd name="connsiteX1330" fmla="*/ 9107741 w 9586368"/>
              <a:gd name="connsiteY1330" fmla="*/ 5508258 h 6479439"/>
              <a:gd name="connsiteX1331" fmla="*/ 9107741 w 9586368"/>
              <a:gd name="connsiteY1331" fmla="*/ 5518129 h 6479439"/>
              <a:gd name="connsiteX1332" fmla="*/ 9103722 w 9586368"/>
              <a:gd name="connsiteY1332" fmla="*/ 5522168 h 6479439"/>
              <a:gd name="connsiteX1333" fmla="*/ 9093811 w 9586368"/>
              <a:gd name="connsiteY1333" fmla="*/ 5522168 h 6479439"/>
              <a:gd name="connsiteX1334" fmla="*/ 9089792 w 9586368"/>
              <a:gd name="connsiteY1334" fmla="*/ 5518129 h 6479439"/>
              <a:gd name="connsiteX1335" fmla="*/ 9089792 w 9586368"/>
              <a:gd name="connsiteY1335" fmla="*/ 5508258 h 6479439"/>
              <a:gd name="connsiteX1336" fmla="*/ 8854496 w 9586368"/>
              <a:gd name="connsiteY1336" fmla="*/ 5504220 h 6479439"/>
              <a:gd name="connsiteX1337" fmla="*/ 8864407 w 9586368"/>
              <a:gd name="connsiteY1337" fmla="*/ 5504220 h 6479439"/>
              <a:gd name="connsiteX1338" fmla="*/ 8868426 w 9586368"/>
              <a:gd name="connsiteY1338" fmla="*/ 5508258 h 6479439"/>
              <a:gd name="connsiteX1339" fmla="*/ 8868426 w 9586368"/>
              <a:gd name="connsiteY1339" fmla="*/ 5518129 h 6479439"/>
              <a:gd name="connsiteX1340" fmla="*/ 8864407 w 9586368"/>
              <a:gd name="connsiteY1340" fmla="*/ 5522168 h 6479439"/>
              <a:gd name="connsiteX1341" fmla="*/ 8854496 w 9586368"/>
              <a:gd name="connsiteY1341" fmla="*/ 5522168 h 6479439"/>
              <a:gd name="connsiteX1342" fmla="*/ 8850477 w 9586368"/>
              <a:gd name="connsiteY1342" fmla="*/ 5518129 h 6479439"/>
              <a:gd name="connsiteX1343" fmla="*/ 8850477 w 9586368"/>
              <a:gd name="connsiteY1343" fmla="*/ 5508258 h 6479439"/>
              <a:gd name="connsiteX1344" fmla="*/ 8615184 w 9586368"/>
              <a:gd name="connsiteY1344" fmla="*/ 5504220 h 6479439"/>
              <a:gd name="connsiteX1345" fmla="*/ 8625095 w 9586368"/>
              <a:gd name="connsiteY1345" fmla="*/ 5504220 h 6479439"/>
              <a:gd name="connsiteX1346" fmla="*/ 8629114 w 9586368"/>
              <a:gd name="connsiteY1346" fmla="*/ 5508258 h 6479439"/>
              <a:gd name="connsiteX1347" fmla="*/ 8629114 w 9586368"/>
              <a:gd name="connsiteY1347" fmla="*/ 5518129 h 6479439"/>
              <a:gd name="connsiteX1348" fmla="*/ 8625095 w 9586368"/>
              <a:gd name="connsiteY1348" fmla="*/ 5522168 h 6479439"/>
              <a:gd name="connsiteX1349" fmla="*/ 8615184 w 9586368"/>
              <a:gd name="connsiteY1349" fmla="*/ 5522168 h 6479439"/>
              <a:gd name="connsiteX1350" fmla="*/ 8611165 w 9586368"/>
              <a:gd name="connsiteY1350" fmla="*/ 5518129 h 6479439"/>
              <a:gd name="connsiteX1351" fmla="*/ 8611165 w 9586368"/>
              <a:gd name="connsiteY1351" fmla="*/ 5508258 h 6479439"/>
              <a:gd name="connsiteX1352" fmla="*/ 8375869 w 9586368"/>
              <a:gd name="connsiteY1352" fmla="*/ 5504220 h 6479439"/>
              <a:gd name="connsiteX1353" fmla="*/ 8385779 w 9586368"/>
              <a:gd name="connsiteY1353" fmla="*/ 5504220 h 6479439"/>
              <a:gd name="connsiteX1354" fmla="*/ 8389799 w 9586368"/>
              <a:gd name="connsiteY1354" fmla="*/ 5508258 h 6479439"/>
              <a:gd name="connsiteX1355" fmla="*/ 8389799 w 9586368"/>
              <a:gd name="connsiteY1355" fmla="*/ 5518129 h 6479439"/>
              <a:gd name="connsiteX1356" fmla="*/ 8385779 w 9586368"/>
              <a:gd name="connsiteY1356" fmla="*/ 5522168 h 6479439"/>
              <a:gd name="connsiteX1357" fmla="*/ 8375869 w 9586368"/>
              <a:gd name="connsiteY1357" fmla="*/ 5522168 h 6479439"/>
              <a:gd name="connsiteX1358" fmla="*/ 8371850 w 9586368"/>
              <a:gd name="connsiteY1358" fmla="*/ 5518129 h 6479439"/>
              <a:gd name="connsiteX1359" fmla="*/ 8371850 w 9586368"/>
              <a:gd name="connsiteY1359" fmla="*/ 5508258 h 6479439"/>
              <a:gd name="connsiteX1360" fmla="*/ 8136553 w 9586368"/>
              <a:gd name="connsiteY1360" fmla="*/ 5504220 h 6479439"/>
              <a:gd name="connsiteX1361" fmla="*/ 8146464 w 9586368"/>
              <a:gd name="connsiteY1361" fmla="*/ 5504220 h 6479439"/>
              <a:gd name="connsiteX1362" fmla="*/ 8150483 w 9586368"/>
              <a:gd name="connsiteY1362" fmla="*/ 5508258 h 6479439"/>
              <a:gd name="connsiteX1363" fmla="*/ 8150483 w 9586368"/>
              <a:gd name="connsiteY1363" fmla="*/ 5518129 h 6479439"/>
              <a:gd name="connsiteX1364" fmla="*/ 8146464 w 9586368"/>
              <a:gd name="connsiteY1364" fmla="*/ 5522168 h 6479439"/>
              <a:gd name="connsiteX1365" fmla="*/ 8136553 w 9586368"/>
              <a:gd name="connsiteY1365" fmla="*/ 5522168 h 6479439"/>
              <a:gd name="connsiteX1366" fmla="*/ 8132534 w 9586368"/>
              <a:gd name="connsiteY1366" fmla="*/ 5518129 h 6479439"/>
              <a:gd name="connsiteX1367" fmla="*/ 8132534 w 9586368"/>
              <a:gd name="connsiteY1367" fmla="*/ 5508258 h 6479439"/>
              <a:gd name="connsiteX1368" fmla="*/ 7897241 w 9586368"/>
              <a:gd name="connsiteY1368" fmla="*/ 5504220 h 6479439"/>
              <a:gd name="connsiteX1369" fmla="*/ 7907151 w 9586368"/>
              <a:gd name="connsiteY1369" fmla="*/ 5504220 h 6479439"/>
              <a:gd name="connsiteX1370" fmla="*/ 7911170 w 9586368"/>
              <a:gd name="connsiteY1370" fmla="*/ 5508258 h 6479439"/>
              <a:gd name="connsiteX1371" fmla="*/ 7911170 w 9586368"/>
              <a:gd name="connsiteY1371" fmla="*/ 5518129 h 6479439"/>
              <a:gd name="connsiteX1372" fmla="*/ 7907151 w 9586368"/>
              <a:gd name="connsiteY1372" fmla="*/ 5522168 h 6479439"/>
              <a:gd name="connsiteX1373" fmla="*/ 7897241 w 9586368"/>
              <a:gd name="connsiteY1373" fmla="*/ 5522168 h 6479439"/>
              <a:gd name="connsiteX1374" fmla="*/ 7893222 w 9586368"/>
              <a:gd name="connsiteY1374" fmla="*/ 5518129 h 6479439"/>
              <a:gd name="connsiteX1375" fmla="*/ 7893222 w 9586368"/>
              <a:gd name="connsiteY1375" fmla="*/ 5508258 h 6479439"/>
              <a:gd name="connsiteX1376" fmla="*/ 7657926 w 9586368"/>
              <a:gd name="connsiteY1376" fmla="*/ 5504220 h 6479439"/>
              <a:gd name="connsiteX1377" fmla="*/ 7667836 w 9586368"/>
              <a:gd name="connsiteY1377" fmla="*/ 5504220 h 6479439"/>
              <a:gd name="connsiteX1378" fmla="*/ 7671855 w 9586368"/>
              <a:gd name="connsiteY1378" fmla="*/ 5508258 h 6479439"/>
              <a:gd name="connsiteX1379" fmla="*/ 7671855 w 9586368"/>
              <a:gd name="connsiteY1379" fmla="*/ 5518129 h 6479439"/>
              <a:gd name="connsiteX1380" fmla="*/ 7667836 w 9586368"/>
              <a:gd name="connsiteY1380" fmla="*/ 5522168 h 6479439"/>
              <a:gd name="connsiteX1381" fmla="*/ 7657926 w 9586368"/>
              <a:gd name="connsiteY1381" fmla="*/ 5522168 h 6479439"/>
              <a:gd name="connsiteX1382" fmla="*/ 7653906 w 9586368"/>
              <a:gd name="connsiteY1382" fmla="*/ 5518129 h 6479439"/>
              <a:gd name="connsiteX1383" fmla="*/ 7653906 w 9586368"/>
              <a:gd name="connsiteY1383" fmla="*/ 5508258 h 6479439"/>
              <a:gd name="connsiteX1384" fmla="*/ 7418611 w 9586368"/>
              <a:gd name="connsiteY1384" fmla="*/ 5504220 h 6479439"/>
              <a:gd name="connsiteX1385" fmla="*/ 7428521 w 9586368"/>
              <a:gd name="connsiteY1385" fmla="*/ 5504220 h 6479439"/>
              <a:gd name="connsiteX1386" fmla="*/ 7432540 w 9586368"/>
              <a:gd name="connsiteY1386" fmla="*/ 5508258 h 6479439"/>
              <a:gd name="connsiteX1387" fmla="*/ 7432540 w 9586368"/>
              <a:gd name="connsiteY1387" fmla="*/ 5518129 h 6479439"/>
              <a:gd name="connsiteX1388" fmla="*/ 7428521 w 9586368"/>
              <a:gd name="connsiteY1388" fmla="*/ 5522168 h 6479439"/>
              <a:gd name="connsiteX1389" fmla="*/ 7418611 w 9586368"/>
              <a:gd name="connsiteY1389" fmla="*/ 5522168 h 6479439"/>
              <a:gd name="connsiteX1390" fmla="*/ 7414592 w 9586368"/>
              <a:gd name="connsiteY1390" fmla="*/ 5518129 h 6479439"/>
              <a:gd name="connsiteX1391" fmla="*/ 7414592 w 9586368"/>
              <a:gd name="connsiteY1391" fmla="*/ 5508258 h 6479439"/>
              <a:gd name="connsiteX1392" fmla="*/ 7179298 w 9586368"/>
              <a:gd name="connsiteY1392" fmla="*/ 5504220 h 6479439"/>
              <a:gd name="connsiteX1393" fmla="*/ 7189209 w 9586368"/>
              <a:gd name="connsiteY1393" fmla="*/ 5504220 h 6479439"/>
              <a:gd name="connsiteX1394" fmla="*/ 7193228 w 9586368"/>
              <a:gd name="connsiteY1394" fmla="*/ 5508258 h 6479439"/>
              <a:gd name="connsiteX1395" fmla="*/ 7193228 w 9586368"/>
              <a:gd name="connsiteY1395" fmla="*/ 5518129 h 6479439"/>
              <a:gd name="connsiteX1396" fmla="*/ 7189209 w 9586368"/>
              <a:gd name="connsiteY1396" fmla="*/ 5522168 h 6479439"/>
              <a:gd name="connsiteX1397" fmla="*/ 7179298 w 9586368"/>
              <a:gd name="connsiteY1397" fmla="*/ 5522168 h 6479439"/>
              <a:gd name="connsiteX1398" fmla="*/ 7175279 w 9586368"/>
              <a:gd name="connsiteY1398" fmla="*/ 5518129 h 6479439"/>
              <a:gd name="connsiteX1399" fmla="*/ 7175279 w 9586368"/>
              <a:gd name="connsiteY1399" fmla="*/ 5508258 h 6479439"/>
              <a:gd name="connsiteX1400" fmla="*/ 6939983 w 9586368"/>
              <a:gd name="connsiteY1400" fmla="*/ 5504220 h 6479439"/>
              <a:gd name="connsiteX1401" fmla="*/ 6949894 w 9586368"/>
              <a:gd name="connsiteY1401" fmla="*/ 5504220 h 6479439"/>
              <a:gd name="connsiteX1402" fmla="*/ 6953913 w 9586368"/>
              <a:gd name="connsiteY1402" fmla="*/ 5508258 h 6479439"/>
              <a:gd name="connsiteX1403" fmla="*/ 6953913 w 9586368"/>
              <a:gd name="connsiteY1403" fmla="*/ 5518129 h 6479439"/>
              <a:gd name="connsiteX1404" fmla="*/ 6949894 w 9586368"/>
              <a:gd name="connsiteY1404" fmla="*/ 5522168 h 6479439"/>
              <a:gd name="connsiteX1405" fmla="*/ 6939983 w 9586368"/>
              <a:gd name="connsiteY1405" fmla="*/ 5522168 h 6479439"/>
              <a:gd name="connsiteX1406" fmla="*/ 6935964 w 9586368"/>
              <a:gd name="connsiteY1406" fmla="*/ 5518129 h 6479439"/>
              <a:gd name="connsiteX1407" fmla="*/ 6935964 w 9586368"/>
              <a:gd name="connsiteY1407" fmla="*/ 5508258 h 6479439"/>
              <a:gd name="connsiteX1408" fmla="*/ 6700670 w 9586368"/>
              <a:gd name="connsiteY1408" fmla="*/ 5504220 h 6479439"/>
              <a:gd name="connsiteX1409" fmla="*/ 6710581 w 9586368"/>
              <a:gd name="connsiteY1409" fmla="*/ 5504220 h 6479439"/>
              <a:gd name="connsiteX1410" fmla="*/ 6714600 w 9586368"/>
              <a:gd name="connsiteY1410" fmla="*/ 5508258 h 6479439"/>
              <a:gd name="connsiteX1411" fmla="*/ 6714600 w 9586368"/>
              <a:gd name="connsiteY1411" fmla="*/ 5518129 h 6479439"/>
              <a:gd name="connsiteX1412" fmla="*/ 6710581 w 9586368"/>
              <a:gd name="connsiteY1412" fmla="*/ 5522168 h 6479439"/>
              <a:gd name="connsiteX1413" fmla="*/ 6700670 w 9586368"/>
              <a:gd name="connsiteY1413" fmla="*/ 5522168 h 6479439"/>
              <a:gd name="connsiteX1414" fmla="*/ 6696651 w 9586368"/>
              <a:gd name="connsiteY1414" fmla="*/ 5518129 h 6479439"/>
              <a:gd name="connsiteX1415" fmla="*/ 6696651 w 9586368"/>
              <a:gd name="connsiteY1415" fmla="*/ 5508258 h 6479439"/>
              <a:gd name="connsiteX1416" fmla="*/ 6461356 w 9586368"/>
              <a:gd name="connsiteY1416" fmla="*/ 5504220 h 6479439"/>
              <a:gd name="connsiteX1417" fmla="*/ 6471266 w 9586368"/>
              <a:gd name="connsiteY1417" fmla="*/ 5504220 h 6479439"/>
              <a:gd name="connsiteX1418" fmla="*/ 6475285 w 9586368"/>
              <a:gd name="connsiteY1418" fmla="*/ 5508258 h 6479439"/>
              <a:gd name="connsiteX1419" fmla="*/ 6475285 w 9586368"/>
              <a:gd name="connsiteY1419" fmla="*/ 5518129 h 6479439"/>
              <a:gd name="connsiteX1420" fmla="*/ 6471266 w 9586368"/>
              <a:gd name="connsiteY1420" fmla="*/ 5522168 h 6479439"/>
              <a:gd name="connsiteX1421" fmla="*/ 6461356 w 9586368"/>
              <a:gd name="connsiteY1421" fmla="*/ 5522168 h 6479439"/>
              <a:gd name="connsiteX1422" fmla="*/ 6457337 w 9586368"/>
              <a:gd name="connsiteY1422" fmla="*/ 5518129 h 6479439"/>
              <a:gd name="connsiteX1423" fmla="*/ 6457337 w 9586368"/>
              <a:gd name="connsiteY1423" fmla="*/ 5508258 h 6479439"/>
              <a:gd name="connsiteX1424" fmla="*/ 6222042 w 9586368"/>
              <a:gd name="connsiteY1424" fmla="*/ 5504220 h 6479439"/>
              <a:gd name="connsiteX1425" fmla="*/ 6231952 w 9586368"/>
              <a:gd name="connsiteY1425" fmla="*/ 5504220 h 6479439"/>
              <a:gd name="connsiteX1426" fmla="*/ 6235971 w 9586368"/>
              <a:gd name="connsiteY1426" fmla="*/ 5508258 h 6479439"/>
              <a:gd name="connsiteX1427" fmla="*/ 6235971 w 9586368"/>
              <a:gd name="connsiteY1427" fmla="*/ 5518129 h 6479439"/>
              <a:gd name="connsiteX1428" fmla="*/ 6231952 w 9586368"/>
              <a:gd name="connsiteY1428" fmla="*/ 5522168 h 6479439"/>
              <a:gd name="connsiteX1429" fmla="*/ 6222042 w 9586368"/>
              <a:gd name="connsiteY1429" fmla="*/ 5522168 h 6479439"/>
              <a:gd name="connsiteX1430" fmla="*/ 6218023 w 9586368"/>
              <a:gd name="connsiteY1430" fmla="*/ 5518129 h 6479439"/>
              <a:gd name="connsiteX1431" fmla="*/ 6218023 w 9586368"/>
              <a:gd name="connsiteY1431" fmla="*/ 5508258 h 6479439"/>
              <a:gd name="connsiteX1432" fmla="*/ 5982729 w 9586368"/>
              <a:gd name="connsiteY1432" fmla="*/ 5504220 h 6479439"/>
              <a:gd name="connsiteX1433" fmla="*/ 5992639 w 9586368"/>
              <a:gd name="connsiteY1433" fmla="*/ 5504220 h 6479439"/>
              <a:gd name="connsiteX1434" fmla="*/ 5996658 w 9586368"/>
              <a:gd name="connsiteY1434" fmla="*/ 5508258 h 6479439"/>
              <a:gd name="connsiteX1435" fmla="*/ 5996658 w 9586368"/>
              <a:gd name="connsiteY1435" fmla="*/ 5518129 h 6479439"/>
              <a:gd name="connsiteX1436" fmla="*/ 5992639 w 9586368"/>
              <a:gd name="connsiteY1436" fmla="*/ 5522168 h 6479439"/>
              <a:gd name="connsiteX1437" fmla="*/ 5982729 w 9586368"/>
              <a:gd name="connsiteY1437" fmla="*/ 5522168 h 6479439"/>
              <a:gd name="connsiteX1438" fmla="*/ 5978710 w 9586368"/>
              <a:gd name="connsiteY1438" fmla="*/ 5518129 h 6479439"/>
              <a:gd name="connsiteX1439" fmla="*/ 5978710 w 9586368"/>
              <a:gd name="connsiteY1439" fmla="*/ 5508258 h 6479439"/>
              <a:gd name="connsiteX1440" fmla="*/ 5743412 w 9586368"/>
              <a:gd name="connsiteY1440" fmla="*/ 5504220 h 6479439"/>
              <a:gd name="connsiteX1441" fmla="*/ 5753323 w 9586368"/>
              <a:gd name="connsiteY1441" fmla="*/ 5504220 h 6479439"/>
              <a:gd name="connsiteX1442" fmla="*/ 5757342 w 9586368"/>
              <a:gd name="connsiteY1442" fmla="*/ 5508258 h 6479439"/>
              <a:gd name="connsiteX1443" fmla="*/ 5757342 w 9586368"/>
              <a:gd name="connsiteY1443" fmla="*/ 5518129 h 6479439"/>
              <a:gd name="connsiteX1444" fmla="*/ 5753323 w 9586368"/>
              <a:gd name="connsiteY1444" fmla="*/ 5522168 h 6479439"/>
              <a:gd name="connsiteX1445" fmla="*/ 5743412 w 9586368"/>
              <a:gd name="connsiteY1445" fmla="*/ 5522168 h 6479439"/>
              <a:gd name="connsiteX1446" fmla="*/ 5739393 w 9586368"/>
              <a:gd name="connsiteY1446" fmla="*/ 5518129 h 6479439"/>
              <a:gd name="connsiteX1447" fmla="*/ 5739393 w 9586368"/>
              <a:gd name="connsiteY1447" fmla="*/ 5508258 h 6479439"/>
              <a:gd name="connsiteX1448" fmla="*/ 5504099 w 9586368"/>
              <a:gd name="connsiteY1448" fmla="*/ 5504220 h 6479439"/>
              <a:gd name="connsiteX1449" fmla="*/ 5514010 w 9586368"/>
              <a:gd name="connsiteY1449" fmla="*/ 5504220 h 6479439"/>
              <a:gd name="connsiteX1450" fmla="*/ 5518029 w 9586368"/>
              <a:gd name="connsiteY1450" fmla="*/ 5508258 h 6479439"/>
              <a:gd name="connsiteX1451" fmla="*/ 5518029 w 9586368"/>
              <a:gd name="connsiteY1451" fmla="*/ 5518129 h 6479439"/>
              <a:gd name="connsiteX1452" fmla="*/ 5514010 w 9586368"/>
              <a:gd name="connsiteY1452" fmla="*/ 5522168 h 6479439"/>
              <a:gd name="connsiteX1453" fmla="*/ 5504099 w 9586368"/>
              <a:gd name="connsiteY1453" fmla="*/ 5522168 h 6479439"/>
              <a:gd name="connsiteX1454" fmla="*/ 5500080 w 9586368"/>
              <a:gd name="connsiteY1454" fmla="*/ 5518129 h 6479439"/>
              <a:gd name="connsiteX1455" fmla="*/ 5500080 w 9586368"/>
              <a:gd name="connsiteY1455" fmla="*/ 5508258 h 6479439"/>
              <a:gd name="connsiteX1456" fmla="*/ 5264784 w 9586368"/>
              <a:gd name="connsiteY1456" fmla="*/ 5504220 h 6479439"/>
              <a:gd name="connsiteX1457" fmla="*/ 5274694 w 9586368"/>
              <a:gd name="connsiteY1457" fmla="*/ 5504220 h 6479439"/>
              <a:gd name="connsiteX1458" fmla="*/ 5278713 w 9586368"/>
              <a:gd name="connsiteY1458" fmla="*/ 5508258 h 6479439"/>
              <a:gd name="connsiteX1459" fmla="*/ 5278713 w 9586368"/>
              <a:gd name="connsiteY1459" fmla="*/ 5518129 h 6479439"/>
              <a:gd name="connsiteX1460" fmla="*/ 5274694 w 9586368"/>
              <a:gd name="connsiteY1460" fmla="*/ 5522168 h 6479439"/>
              <a:gd name="connsiteX1461" fmla="*/ 5264784 w 9586368"/>
              <a:gd name="connsiteY1461" fmla="*/ 5522168 h 6479439"/>
              <a:gd name="connsiteX1462" fmla="*/ 5260765 w 9586368"/>
              <a:gd name="connsiteY1462" fmla="*/ 5518129 h 6479439"/>
              <a:gd name="connsiteX1463" fmla="*/ 5260765 w 9586368"/>
              <a:gd name="connsiteY1463" fmla="*/ 5508258 h 6479439"/>
              <a:gd name="connsiteX1464" fmla="*/ 5025470 w 9586368"/>
              <a:gd name="connsiteY1464" fmla="*/ 5504220 h 6479439"/>
              <a:gd name="connsiteX1465" fmla="*/ 5035381 w 9586368"/>
              <a:gd name="connsiteY1465" fmla="*/ 5504220 h 6479439"/>
              <a:gd name="connsiteX1466" fmla="*/ 5039400 w 9586368"/>
              <a:gd name="connsiteY1466" fmla="*/ 5508258 h 6479439"/>
              <a:gd name="connsiteX1467" fmla="*/ 5039400 w 9586368"/>
              <a:gd name="connsiteY1467" fmla="*/ 5518129 h 6479439"/>
              <a:gd name="connsiteX1468" fmla="*/ 5035381 w 9586368"/>
              <a:gd name="connsiteY1468" fmla="*/ 5522168 h 6479439"/>
              <a:gd name="connsiteX1469" fmla="*/ 5025470 w 9586368"/>
              <a:gd name="connsiteY1469" fmla="*/ 5522168 h 6479439"/>
              <a:gd name="connsiteX1470" fmla="*/ 5021451 w 9586368"/>
              <a:gd name="connsiteY1470" fmla="*/ 5518129 h 6479439"/>
              <a:gd name="connsiteX1471" fmla="*/ 5021451 w 9586368"/>
              <a:gd name="connsiteY1471" fmla="*/ 5508258 h 6479439"/>
              <a:gd name="connsiteX1472" fmla="*/ 4786241 w 9586368"/>
              <a:gd name="connsiteY1472" fmla="*/ 5504220 h 6479439"/>
              <a:gd name="connsiteX1473" fmla="*/ 4796152 w 9586368"/>
              <a:gd name="connsiteY1473" fmla="*/ 5504220 h 6479439"/>
              <a:gd name="connsiteX1474" fmla="*/ 4800171 w 9586368"/>
              <a:gd name="connsiteY1474" fmla="*/ 5508258 h 6479439"/>
              <a:gd name="connsiteX1475" fmla="*/ 4800171 w 9586368"/>
              <a:gd name="connsiteY1475" fmla="*/ 5518129 h 6479439"/>
              <a:gd name="connsiteX1476" fmla="*/ 4796152 w 9586368"/>
              <a:gd name="connsiteY1476" fmla="*/ 5522168 h 6479439"/>
              <a:gd name="connsiteX1477" fmla="*/ 4786241 w 9586368"/>
              <a:gd name="connsiteY1477" fmla="*/ 5522168 h 6479439"/>
              <a:gd name="connsiteX1478" fmla="*/ 4782224 w 9586368"/>
              <a:gd name="connsiteY1478" fmla="*/ 5518129 h 6479439"/>
              <a:gd name="connsiteX1479" fmla="*/ 4782224 w 9586368"/>
              <a:gd name="connsiteY1479" fmla="*/ 5508258 h 6479439"/>
              <a:gd name="connsiteX1480" fmla="*/ 4546929 w 9586368"/>
              <a:gd name="connsiteY1480" fmla="*/ 5504220 h 6479439"/>
              <a:gd name="connsiteX1481" fmla="*/ 4556840 w 9586368"/>
              <a:gd name="connsiteY1481" fmla="*/ 5504220 h 6479439"/>
              <a:gd name="connsiteX1482" fmla="*/ 4560859 w 9586368"/>
              <a:gd name="connsiteY1482" fmla="*/ 5508258 h 6479439"/>
              <a:gd name="connsiteX1483" fmla="*/ 4560859 w 9586368"/>
              <a:gd name="connsiteY1483" fmla="*/ 5518129 h 6479439"/>
              <a:gd name="connsiteX1484" fmla="*/ 4556840 w 9586368"/>
              <a:gd name="connsiteY1484" fmla="*/ 5522168 h 6479439"/>
              <a:gd name="connsiteX1485" fmla="*/ 4546929 w 9586368"/>
              <a:gd name="connsiteY1485" fmla="*/ 5522168 h 6479439"/>
              <a:gd name="connsiteX1486" fmla="*/ 4542910 w 9586368"/>
              <a:gd name="connsiteY1486" fmla="*/ 5518129 h 6479439"/>
              <a:gd name="connsiteX1487" fmla="*/ 4542910 w 9586368"/>
              <a:gd name="connsiteY1487" fmla="*/ 5508258 h 6479439"/>
              <a:gd name="connsiteX1488" fmla="*/ 4307612 w 9586368"/>
              <a:gd name="connsiteY1488" fmla="*/ 5504220 h 6479439"/>
              <a:gd name="connsiteX1489" fmla="*/ 4317523 w 9586368"/>
              <a:gd name="connsiteY1489" fmla="*/ 5504220 h 6479439"/>
              <a:gd name="connsiteX1490" fmla="*/ 4321543 w 9586368"/>
              <a:gd name="connsiteY1490" fmla="*/ 5508258 h 6479439"/>
              <a:gd name="connsiteX1491" fmla="*/ 4321543 w 9586368"/>
              <a:gd name="connsiteY1491" fmla="*/ 5518129 h 6479439"/>
              <a:gd name="connsiteX1492" fmla="*/ 4317523 w 9586368"/>
              <a:gd name="connsiteY1492" fmla="*/ 5522168 h 6479439"/>
              <a:gd name="connsiteX1493" fmla="*/ 4307612 w 9586368"/>
              <a:gd name="connsiteY1493" fmla="*/ 5522168 h 6479439"/>
              <a:gd name="connsiteX1494" fmla="*/ 4303595 w 9586368"/>
              <a:gd name="connsiteY1494" fmla="*/ 5518129 h 6479439"/>
              <a:gd name="connsiteX1495" fmla="*/ 4303595 w 9586368"/>
              <a:gd name="connsiteY1495" fmla="*/ 5508258 h 6479439"/>
              <a:gd name="connsiteX1496" fmla="*/ 4068297 w 9586368"/>
              <a:gd name="connsiteY1496" fmla="*/ 5504220 h 6479439"/>
              <a:gd name="connsiteX1497" fmla="*/ 4078210 w 9586368"/>
              <a:gd name="connsiteY1497" fmla="*/ 5504220 h 6479439"/>
              <a:gd name="connsiteX1498" fmla="*/ 4082229 w 9586368"/>
              <a:gd name="connsiteY1498" fmla="*/ 5508258 h 6479439"/>
              <a:gd name="connsiteX1499" fmla="*/ 4082229 w 9586368"/>
              <a:gd name="connsiteY1499" fmla="*/ 5518129 h 6479439"/>
              <a:gd name="connsiteX1500" fmla="*/ 4078210 w 9586368"/>
              <a:gd name="connsiteY1500" fmla="*/ 5522168 h 6479439"/>
              <a:gd name="connsiteX1501" fmla="*/ 4068297 w 9586368"/>
              <a:gd name="connsiteY1501" fmla="*/ 5522168 h 6479439"/>
              <a:gd name="connsiteX1502" fmla="*/ 4064278 w 9586368"/>
              <a:gd name="connsiteY1502" fmla="*/ 5518129 h 6479439"/>
              <a:gd name="connsiteX1503" fmla="*/ 4064278 w 9586368"/>
              <a:gd name="connsiteY1503" fmla="*/ 5508258 h 6479439"/>
              <a:gd name="connsiteX1504" fmla="*/ 3828990 w 9586368"/>
              <a:gd name="connsiteY1504" fmla="*/ 5504220 h 6479439"/>
              <a:gd name="connsiteX1505" fmla="*/ 3838899 w 9586368"/>
              <a:gd name="connsiteY1505" fmla="*/ 5504220 h 6479439"/>
              <a:gd name="connsiteX1506" fmla="*/ 3842917 w 9586368"/>
              <a:gd name="connsiteY1506" fmla="*/ 5508258 h 6479439"/>
              <a:gd name="connsiteX1507" fmla="*/ 3842917 w 9586368"/>
              <a:gd name="connsiteY1507" fmla="*/ 5518129 h 6479439"/>
              <a:gd name="connsiteX1508" fmla="*/ 3838899 w 9586368"/>
              <a:gd name="connsiteY1508" fmla="*/ 5522168 h 6479439"/>
              <a:gd name="connsiteX1509" fmla="*/ 3828990 w 9586368"/>
              <a:gd name="connsiteY1509" fmla="*/ 5522168 h 6479439"/>
              <a:gd name="connsiteX1510" fmla="*/ 3824971 w 9586368"/>
              <a:gd name="connsiteY1510" fmla="*/ 5518129 h 6479439"/>
              <a:gd name="connsiteX1511" fmla="*/ 3824971 w 9586368"/>
              <a:gd name="connsiteY1511" fmla="*/ 5508258 h 6479439"/>
              <a:gd name="connsiteX1512" fmla="*/ 3589676 w 9586368"/>
              <a:gd name="connsiteY1512" fmla="*/ 5504220 h 6479439"/>
              <a:gd name="connsiteX1513" fmla="*/ 3599585 w 9586368"/>
              <a:gd name="connsiteY1513" fmla="*/ 5504220 h 6479439"/>
              <a:gd name="connsiteX1514" fmla="*/ 3603604 w 9586368"/>
              <a:gd name="connsiteY1514" fmla="*/ 5508258 h 6479439"/>
              <a:gd name="connsiteX1515" fmla="*/ 3603604 w 9586368"/>
              <a:gd name="connsiteY1515" fmla="*/ 5518129 h 6479439"/>
              <a:gd name="connsiteX1516" fmla="*/ 3599585 w 9586368"/>
              <a:gd name="connsiteY1516" fmla="*/ 5522168 h 6479439"/>
              <a:gd name="connsiteX1517" fmla="*/ 3589676 w 9586368"/>
              <a:gd name="connsiteY1517" fmla="*/ 5522168 h 6479439"/>
              <a:gd name="connsiteX1518" fmla="*/ 3585657 w 9586368"/>
              <a:gd name="connsiteY1518" fmla="*/ 5518129 h 6479439"/>
              <a:gd name="connsiteX1519" fmla="*/ 3585657 w 9586368"/>
              <a:gd name="connsiteY1519" fmla="*/ 5508258 h 6479439"/>
              <a:gd name="connsiteX1520" fmla="*/ 3350359 w 9586368"/>
              <a:gd name="connsiteY1520" fmla="*/ 5504220 h 6479439"/>
              <a:gd name="connsiteX1521" fmla="*/ 3360268 w 9586368"/>
              <a:gd name="connsiteY1521" fmla="*/ 5504220 h 6479439"/>
              <a:gd name="connsiteX1522" fmla="*/ 3364287 w 9586368"/>
              <a:gd name="connsiteY1522" fmla="*/ 5508258 h 6479439"/>
              <a:gd name="connsiteX1523" fmla="*/ 3364287 w 9586368"/>
              <a:gd name="connsiteY1523" fmla="*/ 5518129 h 6479439"/>
              <a:gd name="connsiteX1524" fmla="*/ 3360268 w 9586368"/>
              <a:gd name="connsiteY1524" fmla="*/ 5522168 h 6479439"/>
              <a:gd name="connsiteX1525" fmla="*/ 3350359 w 9586368"/>
              <a:gd name="connsiteY1525" fmla="*/ 5522168 h 6479439"/>
              <a:gd name="connsiteX1526" fmla="*/ 3346340 w 9586368"/>
              <a:gd name="connsiteY1526" fmla="*/ 5518129 h 6479439"/>
              <a:gd name="connsiteX1527" fmla="*/ 3346340 w 9586368"/>
              <a:gd name="connsiteY1527" fmla="*/ 5508258 h 6479439"/>
              <a:gd name="connsiteX1528" fmla="*/ 3111048 w 9586368"/>
              <a:gd name="connsiteY1528" fmla="*/ 5504220 h 6479439"/>
              <a:gd name="connsiteX1529" fmla="*/ 3120959 w 9586368"/>
              <a:gd name="connsiteY1529" fmla="*/ 5504220 h 6479439"/>
              <a:gd name="connsiteX1530" fmla="*/ 3124977 w 9586368"/>
              <a:gd name="connsiteY1530" fmla="*/ 5508258 h 6479439"/>
              <a:gd name="connsiteX1531" fmla="*/ 3124977 w 9586368"/>
              <a:gd name="connsiteY1531" fmla="*/ 5518129 h 6479439"/>
              <a:gd name="connsiteX1532" fmla="*/ 3120959 w 9586368"/>
              <a:gd name="connsiteY1532" fmla="*/ 5522168 h 6479439"/>
              <a:gd name="connsiteX1533" fmla="*/ 3111048 w 9586368"/>
              <a:gd name="connsiteY1533" fmla="*/ 5522168 h 6479439"/>
              <a:gd name="connsiteX1534" fmla="*/ 3107029 w 9586368"/>
              <a:gd name="connsiteY1534" fmla="*/ 5518129 h 6479439"/>
              <a:gd name="connsiteX1535" fmla="*/ 3107029 w 9586368"/>
              <a:gd name="connsiteY1535" fmla="*/ 5508258 h 6479439"/>
              <a:gd name="connsiteX1536" fmla="*/ 2871737 w 9586368"/>
              <a:gd name="connsiteY1536" fmla="*/ 5504220 h 6479439"/>
              <a:gd name="connsiteX1537" fmla="*/ 2881646 w 9586368"/>
              <a:gd name="connsiteY1537" fmla="*/ 5504220 h 6479439"/>
              <a:gd name="connsiteX1538" fmla="*/ 2885666 w 9586368"/>
              <a:gd name="connsiteY1538" fmla="*/ 5508258 h 6479439"/>
              <a:gd name="connsiteX1539" fmla="*/ 2885666 w 9586368"/>
              <a:gd name="connsiteY1539" fmla="*/ 5518129 h 6479439"/>
              <a:gd name="connsiteX1540" fmla="*/ 2881646 w 9586368"/>
              <a:gd name="connsiteY1540" fmla="*/ 5522168 h 6479439"/>
              <a:gd name="connsiteX1541" fmla="*/ 2871737 w 9586368"/>
              <a:gd name="connsiteY1541" fmla="*/ 5522168 h 6479439"/>
              <a:gd name="connsiteX1542" fmla="*/ 2867717 w 9586368"/>
              <a:gd name="connsiteY1542" fmla="*/ 5518129 h 6479439"/>
              <a:gd name="connsiteX1543" fmla="*/ 2867717 w 9586368"/>
              <a:gd name="connsiteY1543" fmla="*/ 5508258 h 6479439"/>
              <a:gd name="connsiteX1544" fmla="*/ 2632423 w 9586368"/>
              <a:gd name="connsiteY1544" fmla="*/ 5504220 h 6479439"/>
              <a:gd name="connsiteX1545" fmla="*/ 2642334 w 9586368"/>
              <a:gd name="connsiteY1545" fmla="*/ 5504220 h 6479439"/>
              <a:gd name="connsiteX1546" fmla="*/ 2646352 w 9586368"/>
              <a:gd name="connsiteY1546" fmla="*/ 5508258 h 6479439"/>
              <a:gd name="connsiteX1547" fmla="*/ 2646352 w 9586368"/>
              <a:gd name="connsiteY1547" fmla="*/ 5518129 h 6479439"/>
              <a:gd name="connsiteX1548" fmla="*/ 2642334 w 9586368"/>
              <a:gd name="connsiteY1548" fmla="*/ 5522168 h 6479439"/>
              <a:gd name="connsiteX1549" fmla="*/ 2632423 w 9586368"/>
              <a:gd name="connsiteY1549" fmla="*/ 5522168 h 6479439"/>
              <a:gd name="connsiteX1550" fmla="*/ 2628404 w 9586368"/>
              <a:gd name="connsiteY1550" fmla="*/ 5518129 h 6479439"/>
              <a:gd name="connsiteX1551" fmla="*/ 2628404 w 9586368"/>
              <a:gd name="connsiteY1551" fmla="*/ 5508258 h 6479439"/>
              <a:gd name="connsiteX1552" fmla="*/ 2393104 w 9586368"/>
              <a:gd name="connsiteY1552" fmla="*/ 5504220 h 6479439"/>
              <a:gd name="connsiteX1553" fmla="*/ 2403015 w 9586368"/>
              <a:gd name="connsiteY1553" fmla="*/ 5504220 h 6479439"/>
              <a:gd name="connsiteX1554" fmla="*/ 2407034 w 9586368"/>
              <a:gd name="connsiteY1554" fmla="*/ 5508258 h 6479439"/>
              <a:gd name="connsiteX1555" fmla="*/ 2407034 w 9586368"/>
              <a:gd name="connsiteY1555" fmla="*/ 5518129 h 6479439"/>
              <a:gd name="connsiteX1556" fmla="*/ 2403015 w 9586368"/>
              <a:gd name="connsiteY1556" fmla="*/ 5522168 h 6479439"/>
              <a:gd name="connsiteX1557" fmla="*/ 2393104 w 9586368"/>
              <a:gd name="connsiteY1557" fmla="*/ 5522168 h 6479439"/>
              <a:gd name="connsiteX1558" fmla="*/ 2389087 w 9586368"/>
              <a:gd name="connsiteY1558" fmla="*/ 5518129 h 6479439"/>
              <a:gd name="connsiteX1559" fmla="*/ 2389087 w 9586368"/>
              <a:gd name="connsiteY1559" fmla="*/ 5508258 h 6479439"/>
              <a:gd name="connsiteX1560" fmla="*/ 2157818 w 9586368"/>
              <a:gd name="connsiteY1560" fmla="*/ 5504220 h 6479439"/>
              <a:gd name="connsiteX1561" fmla="*/ 2167728 w 9586368"/>
              <a:gd name="connsiteY1561" fmla="*/ 5504220 h 6479439"/>
              <a:gd name="connsiteX1562" fmla="*/ 2171748 w 9586368"/>
              <a:gd name="connsiteY1562" fmla="*/ 5508258 h 6479439"/>
              <a:gd name="connsiteX1563" fmla="*/ 2171748 w 9586368"/>
              <a:gd name="connsiteY1563" fmla="*/ 5518129 h 6479439"/>
              <a:gd name="connsiteX1564" fmla="*/ 2167728 w 9586368"/>
              <a:gd name="connsiteY1564" fmla="*/ 5522168 h 6479439"/>
              <a:gd name="connsiteX1565" fmla="*/ 2157818 w 9586368"/>
              <a:gd name="connsiteY1565" fmla="*/ 5522168 h 6479439"/>
              <a:gd name="connsiteX1566" fmla="*/ 2153799 w 9586368"/>
              <a:gd name="connsiteY1566" fmla="*/ 5518129 h 6479439"/>
              <a:gd name="connsiteX1567" fmla="*/ 2153799 w 9586368"/>
              <a:gd name="connsiteY1567" fmla="*/ 5508258 h 6479439"/>
              <a:gd name="connsiteX1568" fmla="*/ 1918510 w 9586368"/>
              <a:gd name="connsiteY1568" fmla="*/ 5504220 h 6479439"/>
              <a:gd name="connsiteX1569" fmla="*/ 1928420 w 9586368"/>
              <a:gd name="connsiteY1569" fmla="*/ 5504220 h 6479439"/>
              <a:gd name="connsiteX1570" fmla="*/ 1932438 w 9586368"/>
              <a:gd name="connsiteY1570" fmla="*/ 5508258 h 6479439"/>
              <a:gd name="connsiteX1571" fmla="*/ 1932438 w 9586368"/>
              <a:gd name="connsiteY1571" fmla="*/ 5518129 h 6479439"/>
              <a:gd name="connsiteX1572" fmla="*/ 1928420 w 9586368"/>
              <a:gd name="connsiteY1572" fmla="*/ 5522168 h 6479439"/>
              <a:gd name="connsiteX1573" fmla="*/ 1918510 w 9586368"/>
              <a:gd name="connsiteY1573" fmla="*/ 5522168 h 6479439"/>
              <a:gd name="connsiteX1574" fmla="*/ 1914490 w 9586368"/>
              <a:gd name="connsiteY1574" fmla="*/ 5518129 h 6479439"/>
              <a:gd name="connsiteX1575" fmla="*/ 1914490 w 9586368"/>
              <a:gd name="connsiteY1575" fmla="*/ 5508258 h 6479439"/>
              <a:gd name="connsiteX1576" fmla="*/ 1679202 w 9586368"/>
              <a:gd name="connsiteY1576" fmla="*/ 5504220 h 6479439"/>
              <a:gd name="connsiteX1577" fmla="*/ 1689112 w 9586368"/>
              <a:gd name="connsiteY1577" fmla="*/ 5504220 h 6479439"/>
              <a:gd name="connsiteX1578" fmla="*/ 1693132 w 9586368"/>
              <a:gd name="connsiteY1578" fmla="*/ 5508258 h 6479439"/>
              <a:gd name="connsiteX1579" fmla="*/ 1693132 w 9586368"/>
              <a:gd name="connsiteY1579" fmla="*/ 5518129 h 6479439"/>
              <a:gd name="connsiteX1580" fmla="*/ 1689112 w 9586368"/>
              <a:gd name="connsiteY1580" fmla="*/ 5522168 h 6479439"/>
              <a:gd name="connsiteX1581" fmla="*/ 1679202 w 9586368"/>
              <a:gd name="connsiteY1581" fmla="*/ 5522168 h 6479439"/>
              <a:gd name="connsiteX1582" fmla="*/ 1675184 w 9586368"/>
              <a:gd name="connsiteY1582" fmla="*/ 5518129 h 6479439"/>
              <a:gd name="connsiteX1583" fmla="*/ 1675184 w 9586368"/>
              <a:gd name="connsiteY1583" fmla="*/ 5508258 h 6479439"/>
              <a:gd name="connsiteX1584" fmla="*/ 1439887 w 9586368"/>
              <a:gd name="connsiteY1584" fmla="*/ 5504220 h 6479439"/>
              <a:gd name="connsiteX1585" fmla="*/ 1449797 w 9586368"/>
              <a:gd name="connsiteY1585" fmla="*/ 5504220 h 6479439"/>
              <a:gd name="connsiteX1586" fmla="*/ 1453815 w 9586368"/>
              <a:gd name="connsiteY1586" fmla="*/ 5508258 h 6479439"/>
              <a:gd name="connsiteX1587" fmla="*/ 1453815 w 9586368"/>
              <a:gd name="connsiteY1587" fmla="*/ 5518129 h 6479439"/>
              <a:gd name="connsiteX1588" fmla="*/ 1449797 w 9586368"/>
              <a:gd name="connsiteY1588" fmla="*/ 5522168 h 6479439"/>
              <a:gd name="connsiteX1589" fmla="*/ 1439887 w 9586368"/>
              <a:gd name="connsiteY1589" fmla="*/ 5522168 h 6479439"/>
              <a:gd name="connsiteX1590" fmla="*/ 1435869 w 9586368"/>
              <a:gd name="connsiteY1590" fmla="*/ 5518129 h 6479439"/>
              <a:gd name="connsiteX1591" fmla="*/ 1435869 w 9586368"/>
              <a:gd name="connsiteY1591" fmla="*/ 5508258 h 6479439"/>
              <a:gd name="connsiteX1592" fmla="*/ 1200572 w 9586368"/>
              <a:gd name="connsiteY1592" fmla="*/ 5504220 h 6479439"/>
              <a:gd name="connsiteX1593" fmla="*/ 1210483 w 9586368"/>
              <a:gd name="connsiteY1593" fmla="*/ 5504220 h 6479439"/>
              <a:gd name="connsiteX1594" fmla="*/ 1214501 w 9586368"/>
              <a:gd name="connsiteY1594" fmla="*/ 5508258 h 6479439"/>
              <a:gd name="connsiteX1595" fmla="*/ 1214501 w 9586368"/>
              <a:gd name="connsiteY1595" fmla="*/ 5518129 h 6479439"/>
              <a:gd name="connsiteX1596" fmla="*/ 1210483 w 9586368"/>
              <a:gd name="connsiteY1596" fmla="*/ 5522168 h 6479439"/>
              <a:gd name="connsiteX1597" fmla="*/ 1200572 w 9586368"/>
              <a:gd name="connsiteY1597" fmla="*/ 5522168 h 6479439"/>
              <a:gd name="connsiteX1598" fmla="*/ 1196554 w 9586368"/>
              <a:gd name="connsiteY1598" fmla="*/ 5518129 h 6479439"/>
              <a:gd name="connsiteX1599" fmla="*/ 1196554 w 9586368"/>
              <a:gd name="connsiteY1599" fmla="*/ 5508258 h 6479439"/>
              <a:gd name="connsiteX1600" fmla="*/ 961260 w 9586368"/>
              <a:gd name="connsiteY1600" fmla="*/ 5504220 h 6479439"/>
              <a:gd name="connsiteX1601" fmla="*/ 971169 w 9586368"/>
              <a:gd name="connsiteY1601" fmla="*/ 5504220 h 6479439"/>
              <a:gd name="connsiteX1602" fmla="*/ 975189 w 9586368"/>
              <a:gd name="connsiteY1602" fmla="*/ 5508258 h 6479439"/>
              <a:gd name="connsiteX1603" fmla="*/ 975189 w 9586368"/>
              <a:gd name="connsiteY1603" fmla="*/ 5518129 h 6479439"/>
              <a:gd name="connsiteX1604" fmla="*/ 971169 w 9586368"/>
              <a:gd name="connsiteY1604" fmla="*/ 5522168 h 6479439"/>
              <a:gd name="connsiteX1605" fmla="*/ 961260 w 9586368"/>
              <a:gd name="connsiteY1605" fmla="*/ 5522168 h 6479439"/>
              <a:gd name="connsiteX1606" fmla="*/ 957241 w 9586368"/>
              <a:gd name="connsiteY1606" fmla="*/ 5518129 h 6479439"/>
              <a:gd name="connsiteX1607" fmla="*/ 957241 w 9586368"/>
              <a:gd name="connsiteY1607" fmla="*/ 5508258 h 6479439"/>
              <a:gd name="connsiteX1608" fmla="*/ 721961 w 9586368"/>
              <a:gd name="connsiteY1608" fmla="*/ 5504220 h 6479439"/>
              <a:gd name="connsiteX1609" fmla="*/ 731871 w 9586368"/>
              <a:gd name="connsiteY1609" fmla="*/ 5504220 h 6479439"/>
              <a:gd name="connsiteX1610" fmla="*/ 735890 w 9586368"/>
              <a:gd name="connsiteY1610" fmla="*/ 5508258 h 6479439"/>
              <a:gd name="connsiteX1611" fmla="*/ 735890 w 9586368"/>
              <a:gd name="connsiteY1611" fmla="*/ 5518129 h 6479439"/>
              <a:gd name="connsiteX1612" fmla="*/ 731871 w 9586368"/>
              <a:gd name="connsiteY1612" fmla="*/ 5522168 h 6479439"/>
              <a:gd name="connsiteX1613" fmla="*/ 721961 w 9586368"/>
              <a:gd name="connsiteY1613" fmla="*/ 5522168 h 6479439"/>
              <a:gd name="connsiteX1614" fmla="*/ 717942 w 9586368"/>
              <a:gd name="connsiteY1614" fmla="*/ 5518129 h 6479439"/>
              <a:gd name="connsiteX1615" fmla="*/ 717942 w 9586368"/>
              <a:gd name="connsiteY1615" fmla="*/ 5508258 h 6479439"/>
              <a:gd name="connsiteX1616" fmla="*/ 482649 w 9586368"/>
              <a:gd name="connsiteY1616" fmla="*/ 5504220 h 6479439"/>
              <a:gd name="connsiteX1617" fmla="*/ 492559 w 9586368"/>
              <a:gd name="connsiteY1617" fmla="*/ 5504220 h 6479439"/>
              <a:gd name="connsiteX1618" fmla="*/ 496578 w 9586368"/>
              <a:gd name="connsiteY1618" fmla="*/ 5508258 h 6479439"/>
              <a:gd name="connsiteX1619" fmla="*/ 496578 w 9586368"/>
              <a:gd name="connsiteY1619" fmla="*/ 5518129 h 6479439"/>
              <a:gd name="connsiteX1620" fmla="*/ 492559 w 9586368"/>
              <a:gd name="connsiteY1620" fmla="*/ 5522168 h 6479439"/>
              <a:gd name="connsiteX1621" fmla="*/ 482649 w 9586368"/>
              <a:gd name="connsiteY1621" fmla="*/ 5522168 h 6479439"/>
              <a:gd name="connsiteX1622" fmla="*/ 478630 w 9586368"/>
              <a:gd name="connsiteY1622" fmla="*/ 5518129 h 6479439"/>
              <a:gd name="connsiteX1623" fmla="*/ 478630 w 9586368"/>
              <a:gd name="connsiteY1623" fmla="*/ 5508258 h 6479439"/>
              <a:gd name="connsiteX1624" fmla="*/ 243335 w 9586368"/>
              <a:gd name="connsiteY1624" fmla="*/ 5504220 h 6479439"/>
              <a:gd name="connsiteX1625" fmla="*/ 253245 w 9586368"/>
              <a:gd name="connsiteY1625" fmla="*/ 5504220 h 6479439"/>
              <a:gd name="connsiteX1626" fmla="*/ 257264 w 9586368"/>
              <a:gd name="connsiteY1626" fmla="*/ 5508258 h 6479439"/>
              <a:gd name="connsiteX1627" fmla="*/ 257264 w 9586368"/>
              <a:gd name="connsiteY1627" fmla="*/ 5518129 h 6479439"/>
              <a:gd name="connsiteX1628" fmla="*/ 253245 w 9586368"/>
              <a:gd name="connsiteY1628" fmla="*/ 5522168 h 6479439"/>
              <a:gd name="connsiteX1629" fmla="*/ 243335 w 9586368"/>
              <a:gd name="connsiteY1629" fmla="*/ 5522168 h 6479439"/>
              <a:gd name="connsiteX1630" fmla="*/ 239316 w 9586368"/>
              <a:gd name="connsiteY1630" fmla="*/ 5518129 h 6479439"/>
              <a:gd name="connsiteX1631" fmla="*/ 239316 w 9586368"/>
              <a:gd name="connsiteY1631" fmla="*/ 5508258 h 6479439"/>
              <a:gd name="connsiteX1632" fmla="*/ 4022 w 9586368"/>
              <a:gd name="connsiteY1632" fmla="*/ 5504220 h 6479439"/>
              <a:gd name="connsiteX1633" fmla="*/ 13932 w 9586368"/>
              <a:gd name="connsiteY1633" fmla="*/ 5504220 h 6479439"/>
              <a:gd name="connsiteX1634" fmla="*/ 17951 w 9586368"/>
              <a:gd name="connsiteY1634" fmla="*/ 5508258 h 6479439"/>
              <a:gd name="connsiteX1635" fmla="*/ 17951 w 9586368"/>
              <a:gd name="connsiteY1635" fmla="*/ 5518129 h 6479439"/>
              <a:gd name="connsiteX1636" fmla="*/ 13932 w 9586368"/>
              <a:gd name="connsiteY1636" fmla="*/ 5522168 h 6479439"/>
              <a:gd name="connsiteX1637" fmla="*/ 4022 w 9586368"/>
              <a:gd name="connsiteY1637" fmla="*/ 5522168 h 6479439"/>
              <a:gd name="connsiteX1638" fmla="*/ 3 w 9586368"/>
              <a:gd name="connsiteY1638" fmla="*/ 5518129 h 6479439"/>
              <a:gd name="connsiteX1639" fmla="*/ 3 w 9586368"/>
              <a:gd name="connsiteY1639" fmla="*/ 5508258 h 6479439"/>
              <a:gd name="connsiteX1640" fmla="*/ 2157818 w 9586368"/>
              <a:gd name="connsiteY1640" fmla="*/ 5264940 h 6479439"/>
              <a:gd name="connsiteX1641" fmla="*/ 2167729 w 9586368"/>
              <a:gd name="connsiteY1641" fmla="*/ 5264940 h 6479439"/>
              <a:gd name="connsiteX1642" fmla="*/ 2171748 w 9586368"/>
              <a:gd name="connsiteY1642" fmla="*/ 5268978 h 6479439"/>
              <a:gd name="connsiteX1643" fmla="*/ 2171748 w 9586368"/>
              <a:gd name="connsiteY1643" fmla="*/ 5278849 h 6479439"/>
              <a:gd name="connsiteX1644" fmla="*/ 2167729 w 9586368"/>
              <a:gd name="connsiteY1644" fmla="*/ 5282888 h 6479439"/>
              <a:gd name="connsiteX1645" fmla="*/ 2157818 w 9586368"/>
              <a:gd name="connsiteY1645" fmla="*/ 5282888 h 6479439"/>
              <a:gd name="connsiteX1646" fmla="*/ 2153799 w 9586368"/>
              <a:gd name="connsiteY1646" fmla="*/ 5278849 h 6479439"/>
              <a:gd name="connsiteX1647" fmla="*/ 2153799 w 9586368"/>
              <a:gd name="connsiteY1647" fmla="*/ 5268978 h 6479439"/>
              <a:gd name="connsiteX1648" fmla="*/ 1918510 w 9586368"/>
              <a:gd name="connsiteY1648" fmla="*/ 5264940 h 6479439"/>
              <a:gd name="connsiteX1649" fmla="*/ 1928420 w 9586368"/>
              <a:gd name="connsiteY1649" fmla="*/ 5264940 h 6479439"/>
              <a:gd name="connsiteX1650" fmla="*/ 1932438 w 9586368"/>
              <a:gd name="connsiteY1650" fmla="*/ 5268978 h 6479439"/>
              <a:gd name="connsiteX1651" fmla="*/ 1932438 w 9586368"/>
              <a:gd name="connsiteY1651" fmla="*/ 5278849 h 6479439"/>
              <a:gd name="connsiteX1652" fmla="*/ 1928420 w 9586368"/>
              <a:gd name="connsiteY1652" fmla="*/ 5282888 h 6479439"/>
              <a:gd name="connsiteX1653" fmla="*/ 1918510 w 9586368"/>
              <a:gd name="connsiteY1653" fmla="*/ 5282888 h 6479439"/>
              <a:gd name="connsiteX1654" fmla="*/ 1914492 w 9586368"/>
              <a:gd name="connsiteY1654" fmla="*/ 5278849 h 6479439"/>
              <a:gd name="connsiteX1655" fmla="*/ 1914492 w 9586368"/>
              <a:gd name="connsiteY1655" fmla="*/ 5268978 h 6479439"/>
              <a:gd name="connsiteX1656" fmla="*/ 1679204 w 9586368"/>
              <a:gd name="connsiteY1656" fmla="*/ 5264940 h 6479439"/>
              <a:gd name="connsiteX1657" fmla="*/ 1689113 w 9586368"/>
              <a:gd name="connsiteY1657" fmla="*/ 5264940 h 6479439"/>
              <a:gd name="connsiteX1658" fmla="*/ 1693132 w 9586368"/>
              <a:gd name="connsiteY1658" fmla="*/ 5268978 h 6479439"/>
              <a:gd name="connsiteX1659" fmla="*/ 1693132 w 9586368"/>
              <a:gd name="connsiteY1659" fmla="*/ 5278849 h 6479439"/>
              <a:gd name="connsiteX1660" fmla="*/ 1689113 w 9586368"/>
              <a:gd name="connsiteY1660" fmla="*/ 5282888 h 6479439"/>
              <a:gd name="connsiteX1661" fmla="*/ 1679204 w 9586368"/>
              <a:gd name="connsiteY1661" fmla="*/ 5282888 h 6479439"/>
              <a:gd name="connsiteX1662" fmla="*/ 1675184 w 9586368"/>
              <a:gd name="connsiteY1662" fmla="*/ 5278849 h 6479439"/>
              <a:gd name="connsiteX1663" fmla="*/ 1675184 w 9586368"/>
              <a:gd name="connsiteY1663" fmla="*/ 5268978 h 6479439"/>
              <a:gd name="connsiteX1664" fmla="*/ 1439889 w 9586368"/>
              <a:gd name="connsiteY1664" fmla="*/ 5264940 h 6479439"/>
              <a:gd name="connsiteX1665" fmla="*/ 1449798 w 9586368"/>
              <a:gd name="connsiteY1665" fmla="*/ 5264940 h 6479439"/>
              <a:gd name="connsiteX1666" fmla="*/ 1453817 w 9586368"/>
              <a:gd name="connsiteY1666" fmla="*/ 5268978 h 6479439"/>
              <a:gd name="connsiteX1667" fmla="*/ 1453817 w 9586368"/>
              <a:gd name="connsiteY1667" fmla="*/ 5278849 h 6479439"/>
              <a:gd name="connsiteX1668" fmla="*/ 1449798 w 9586368"/>
              <a:gd name="connsiteY1668" fmla="*/ 5282888 h 6479439"/>
              <a:gd name="connsiteX1669" fmla="*/ 1439889 w 9586368"/>
              <a:gd name="connsiteY1669" fmla="*/ 5282888 h 6479439"/>
              <a:gd name="connsiteX1670" fmla="*/ 1435869 w 9586368"/>
              <a:gd name="connsiteY1670" fmla="*/ 5278849 h 6479439"/>
              <a:gd name="connsiteX1671" fmla="*/ 1435869 w 9586368"/>
              <a:gd name="connsiteY1671" fmla="*/ 5268978 h 6479439"/>
              <a:gd name="connsiteX1672" fmla="*/ 1200573 w 9586368"/>
              <a:gd name="connsiteY1672" fmla="*/ 5264940 h 6479439"/>
              <a:gd name="connsiteX1673" fmla="*/ 1210483 w 9586368"/>
              <a:gd name="connsiteY1673" fmla="*/ 5264940 h 6479439"/>
              <a:gd name="connsiteX1674" fmla="*/ 1214502 w 9586368"/>
              <a:gd name="connsiteY1674" fmla="*/ 5268978 h 6479439"/>
              <a:gd name="connsiteX1675" fmla="*/ 1214502 w 9586368"/>
              <a:gd name="connsiteY1675" fmla="*/ 5278849 h 6479439"/>
              <a:gd name="connsiteX1676" fmla="*/ 1210483 w 9586368"/>
              <a:gd name="connsiteY1676" fmla="*/ 5282888 h 6479439"/>
              <a:gd name="connsiteX1677" fmla="*/ 1200573 w 9586368"/>
              <a:gd name="connsiteY1677" fmla="*/ 5282888 h 6479439"/>
              <a:gd name="connsiteX1678" fmla="*/ 1196554 w 9586368"/>
              <a:gd name="connsiteY1678" fmla="*/ 5278849 h 6479439"/>
              <a:gd name="connsiteX1679" fmla="*/ 1196554 w 9586368"/>
              <a:gd name="connsiteY1679" fmla="*/ 5268978 h 6479439"/>
              <a:gd name="connsiteX1680" fmla="*/ 961260 w 9586368"/>
              <a:gd name="connsiteY1680" fmla="*/ 5264940 h 6479439"/>
              <a:gd name="connsiteX1681" fmla="*/ 971171 w 9586368"/>
              <a:gd name="connsiteY1681" fmla="*/ 5264940 h 6479439"/>
              <a:gd name="connsiteX1682" fmla="*/ 975189 w 9586368"/>
              <a:gd name="connsiteY1682" fmla="*/ 5268978 h 6479439"/>
              <a:gd name="connsiteX1683" fmla="*/ 975189 w 9586368"/>
              <a:gd name="connsiteY1683" fmla="*/ 5278849 h 6479439"/>
              <a:gd name="connsiteX1684" fmla="*/ 971171 w 9586368"/>
              <a:gd name="connsiteY1684" fmla="*/ 5282888 h 6479439"/>
              <a:gd name="connsiteX1685" fmla="*/ 961260 w 9586368"/>
              <a:gd name="connsiteY1685" fmla="*/ 5282888 h 6479439"/>
              <a:gd name="connsiteX1686" fmla="*/ 957241 w 9586368"/>
              <a:gd name="connsiteY1686" fmla="*/ 5278849 h 6479439"/>
              <a:gd name="connsiteX1687" fmla="*/ 957241 w 9586368"/>
              <a:gd name="connsiteY1687" fmla="*/ 5268978 h 6479439"/>
              <a:gd name="connsiteX1688" fmla="*/ 9572438 w 9586368"/>
              <a:gd name="connsiteY1688" fmla="*/ 5264889 h 6479439"/>
              <a:gd name="connsiteX1689" fmla="*/ 9582349 w 9586368"/>
              <a:gd name="connsiteY1689" fmla="*/ 5264889 h 6479439"/>
              <a:gd name="connsiteX1690" fmla="*/ 9586368 w 9586368"/>
              <a:gd name="connsiteY1690" fmla="*/ 5268928 h 6479439"/>
              <a:gd name="connsiteX1691" fmla="*/ 9586368 w 9586368"/>
              <a:gd name="connsiteY1691" fmla="*/ 5278799 h 6479439"/>
              <a:gd name="connsiteX1692" fmla="*/ 9582349 w 9586368"/>
              <a:gd name="connsiteY1692" fmla="*/ 5282838 h 6479439"/>
              <a:gd name="connsiteX1693" fmla="*/ 9572438 w 9586368"/>
              <a:gd name="connsiteY1693" fmla="*/ 5282838 h 6479439"/>
              <a:gd name="connsiteX1694" fmla="*/ 9568419 w 9586368"/>
              <a:gd name="connsiteY1694" fmla="*/ 5278799 h 6479439"/>
              <a:gd name="connsiteX1695" fmla="*/ 9568419 w 9586368"/>
              <a:gd name="connsiteY1695" fmla="*/ 5268928 h 6479439"/>
              <a:gd name="connsiteX1696" fmla="*/ 9333125 w 9586368"/>
              <a:gd name="connsiteY1696" fmla="*/ 5264889 h 6479439"/>
              <a:gd name="connsiteX1697" fmla="*/ 9343036 w 9586368"/>
              <a:gd name="connsiteY1697" fmla="*/ 5264889 h 6479439"/>
              <a:gd name="connsiteX1698" fmla="*/ 9347055 w 9586368"/>
              <a:gd name="connsiteY1698" fmla="*/ 5268928 h 6479439"/>
              <a:gd name="connsiteX1699" fmla="*/ 9347055 w 9586368"/>
              <a:gd name="connsiteY1699" fmla="*/ 5278799 h 6479439"/>
              <a:gd name="connsiteX1700" fmla="*/ 9343036 w 9586368"/>
              <a:gd name="connsiteY1700" fmla="*/ 5282838 h 6479439"/>
              <a:gd name="connsiteX1701" fmla="*/ 9333125 w 9586368"/>
              <a:gd name="connsiteY1701" fmla="*/ 5282838 h 6479439"/>
              <a:gd name="connsiteX1702" fmla="*/ 9329106 w 9586368"/>
              <a:gd name="connsiteY1702" fmla="*/ 5278799 h 6479439"/>
              <a:gd name="connsiteX1703" fmla="*/ 9329106 w 9586368"/>
              <a:gd name="connsiteY1703" fmla="*/ 5268928 h 6479439"/>
              <a:gd name="connsiteX1704" fmla="*/ 9093811 w 9586368"/>
              <a:gd name="connsiteY1704" fmla="*/ 5264889 h 6479439"/>
              <a:gd name="connsiteX1705" fmla="*/ 9103722 w 9586368"/>
              <a:gd name="connsiteY1705" fmla="*/ 5264889 h 6479439"/>
              <a:gd name="connsiteX1706" fmla="*/ 9107741 w 9586368"/>
              <a:gd name="connsiteY1706" fmla="*/ 5268928 h 6479439"/>
              <a:gd name="connsiteX1707" fmla="*/ 9107741 w 9586368"/>
              <a:gd name="connsiteY1707" fmla="*/ 5278799 h 6479439"/>
              <a:gd name="connsiteX1708" fmla="*/ 9103722 w 9586368"/>
              <a:gd name="connsiteY1708" fmla="*/ 5282838 h 6479439"/>
              <a:gd name="connsiteX1709" fmla="*/ 9093811 w 9586368"/>
              <a:gd name="connsiteY1709" fmla="*/ 5282838 h 6479439"/>
              <a:gd name="connsiteX1710" fmla="*/ 9089792 w 9586368"/>
              <a:gd name="connsiteY1710" fmla="*/ 5278799 h 6479439"/>
              <a:gd name="connsiteX1711" fmla="*/ 9089792 w 9586368"/>
              <a:gd name="connsiteY1711" fmla="*/ 5268928 h 6479439"/>
              <a:gd name="connsiteX1712" fmla="*/ 8854496 w 9586368"/>
              <a:gd name="connsiteY1712" fmla="*/ 5264889 h 6479439"/>
              <a:gd name="connsiteX1713" fmla="*/ 8864407 w 9586368"/>
              <a:gd name="connsiteY1713" fmla="*/ 5264889 h 6479439"/>
              <a:gd name="connsiteX1714" fmla="*/ 8868426 w 9586368"/>
              <a:gd name="connsiteY1714" fmla="*/ 5268928 h 6479439"/>
              <a:gd name="connsiteX1715" fmla="*/ 8868426 w 9586368"/>
              <a:gd name="connsiteY1715" fmla="*/ 5278799 h 6479439"/>
              <a:gd name="connsiteX1716" fmla="*/ 8864407 w 9586368"/>
              <a:gd name="connsiteY1716" fmla="*/ 5282838 h 6479439"/>
              <a:gd name="connsiteX1717" fmla="*/ 8854496 w 9586368"/>
              <a:gd name="connsiteY1717" fmla="*/ 5282838 h 6479439"/>
              <a:gd name="connsiteX1718" fmla="*/ 8850477 w 9586368"/>
              <a:gd name="connsiteY1718" fmla="*/ 5278799 h 6479439"/>
              <a:gd name="connsiteX1719" fmla="*/ 8850477 w 9586368"/>
              <a:gd name="connsiteY1719" fmla="*/ 5268928 h 6479439"/>
              <a:gd name="connsiteX1720" fmla="*/ 8615184 w 9586368"/>
              <a:gd name="connsiteY1720" fmla="*/ 5264889 h 6479439"/>
              <a:gd name="connsiteX1721" fmla="*/ 8625095 w 9586368"/>
              <a:gd name="connsiteY1721" fmla="*/ 5264889 h 6479439"/>
              <a:gd name="connsiteX1722" fmla="*/ 8629114 w 9586368"/>
              <a:gd name="connsiteY1722" fmla="*/ 5268928 h 6479439"/>
              <a:gd name="connsiteX1723" fmla="*/ 8629114 w 9586368"/>
              <a:gd name="connsiteY1723" fmla="*/ 5278799 h 6479439"/>
              <a:gd name="connsiteX1724" fmla="*/ 8625095 w 9586368"/>
              <a:gd name="connsiteY1724" fmla="*/ 5282838 h 6479439"/>
              <a:gd name="connsiteX1725" fmla="*/ 8615184 w 9586368"/>
              <a:gd name="connsiteY1725" fmla="*/ 5282838 h 6479439"/>
              <a:gd name="connsiteX1726" fmla="*/ 8611165 w 9586368"/>
              <a:gd name="connsiteY1726" fmla="*/ 5278799 h 6479439"/>
              <a:gd name="connsiteX1727" fmla="*/ 8611165 w 9586368"/>
              <a:gd name="connsiteY1727" fmla="*/ 5268928 h 6479439"/>
              <a:gd name="connsiteX1728" fmla="*/ 8375869 w 9586368"/>
              <a:gd name="connsiteY1728" fmla="*/ 5264889 h 6479439"/>
              <a:gd name="connsiteX1729" fmla="*/ 8385779 w 9586368"/>
              <a:gd name="connsiteY1729" fmla="*/ 5264889 h 6479439"/>
              <a:gd name="connsiteX1730" fmla="*/ 8389799 w 9586368"/>
              <a:gd name="connsiteY1730" fmla="*/ 5268928 h 6479439"/>
              <a:gd name="connsiteX1731" fmla="*/ 8389799 w 9586368"/>
              <a:gd name="connsiteY1731" fmla="*/ 5278799 h 6479439"/>
              <a:gd name="connsiteX1732" fmla="*/ 8385779 w 9586368"/>
              <a:gd name="connsiteY1732" fmla="*/ 5282838 h 6479439"/>
              <a:gd name="connsiteX1733" fmla="*/ 8375869 w 9586368"/>
              <a:gd name="connsiteY1733" fmla="*/ 5282838 h 6479439"/>
              <a:gd name="connsiteX1734" fmla="*/ 8371850 w 9586368"/>
              <a:gd name="connsiteY1734" fmla="*/ 5278799 h 6479439"/>
              <a:gd name="connsiteX1735" fmla="*/ 8371850 w 9586368"/>
              <a:gd name="connsiteY1735" fmla="*/ 5268928 h 6479439"/>
              <a:gd name="connsiteX1736" fmla="*/ 8136553 w 9586368"/>
              <a:gd name="connsiteY1736" fmla="*/ 5264889 h 6479439"/>
              <a:gd name="connsiteX1737" fmla="*/ 8146464 w 9586368"/>
              <a:gd name="connsiteY1737" fmla="*/ 5264889 h 6479439"/>
              <a:gd name="connsiteX1738" fmla="*/ 8150483 w 9586368"/>
              <a:gd name="connsiteY1738" fmla="*/ 5268928 h 6479439"/>
              <a:gd name="connsiteX1739" fmla="*/ 8150483 w 9586368"/>
              <a:gd name="connsiteY1739" fmla="*/ 5278799 h 6479439"/>
              <a:gd name="connsiteX1740" fmla="*/ 8146464 w 9586368"/>
              <a:gd name="connsiteY1740" fmla="*/ 5282838 h 6479439"/>
              <a:gd name="connsiteX1741" fmla="*/ 8136553 w 9586368"/>
              <a:gd name="connsiteY1741" fmla="*/ 5282838 h 6479439"/>
              <a:gd name="connsiteX1742" fmla="*/ 8132534 w 9586368"/>
              <a:gd name="connsiteY1742" fmla="*/ 5278799 h 6479439"/>
              <a:gd name="connsiteX1743" fmla="*/ 8132534 w 9586368"/>
              <a:gd name="connsiteY1743" fmla="*/ 5268928 h 6479439"/>
              <a:gd name="connsiteX1744" fmla="*/ 7897241 w 9586368"/>
              <a:gd name="connsiteY1744" fmla="*/ 5264889 h 6479439"/>
              <a:gd name="connsiteX1745" fmla="*/ 7907151 w 9586368"/>
              <a:gd name="connsiteY1745" fmla="*/ 5264889 h 6479439"/>
              <a:gd name="connsiteX1746" fmla="*/ 7911170 w 9586368"/>
              <a:gd name="connsiteY1746" fmla="*/ 5268928 h 6479439"/>
              <a:gd name="connsiteX1747" fmla="*/ 7911170 w 9586368"/>
              <a:gd name="connsiteY1747" fmla="*/ 5278799 h 6479439"/>
              <a:gd name="connsiteX1748" fmla="*/ 7907151 w 9586368"/>
              <a:gd name="connsiteY1748" fmla="*/ 5282838 h 6479439"/>
              <a:gd name="connsiteX1749" fmla="*/ 7897241 w 9586368"/>
              <a:gd name="connsiteY1749" fmla="*/ 5282838 h 6479439"/>
              <a:gd name="connsiteX1750" fmla="*/ 7893222 w 9586368"/>
              <a:gd name="connsiteY1750" fmla="*/ 5278799 h 6479439"/>
              <a:gd name="connsiteX1751" fmla="*/ 7893222 w 9586368"/>
              <a:gd name="connsiteY1751" fmla="*/ 5268928 h 6479439"/>
              <a:gd name="connsiteX1752" fmla="*/ 7657926 w 9586368"/>
              <a:gd name="connsiteY1752" fmla="*/ 5264889 h 6479439"/>
              <a:gd name="connsiteX1753" fmla="*/ 7667836 w 9586368"/>
              <a:gd name="connsiteY1753" fmla="*/ 5264889 h 6479439"/>
              <a:gd name="connsiteX1754" fmla="*/ 7671855 w 9586368"/>
              <a:gd name="connsiteY1754" fmla="*/ 5268928 h 6479439"/>
              <a:gd name="connsiteX1755" fmla="*/ 7671855 w 9586368"/>
              <a:gd name="connsiteY1755" fmla="*/ 5278799 h 6479439"/>
              <a:gd name="connsiteX1756" fmla="*/ 7667836 w 9586368"/>
              <a:gd name="connsiteY1756" fmla="*/ 5282838 h 6479439"/>
              <a:gd name="connsiteX1757" fmla="*/ 7657926 w 9586368"/>
              <a:gd name="connsiteY1757" fmla="*/ 5282838 h 6479439"/>
              <a:gd name="connsiteX1758" fmla="*/ 7653906 w 9586368"/>
              <a:gd name="connsiteY1758" fmla="*/ 5278799 h 6479439"/>
              <a:gd name="connsiteX1759" fmla="*/ 7653906 w 9586368"/>
              <a:gd name="connsiteY1759" fmla="*/ 5268928 h 6479439"/>
              <a:gd name="connsiteX1760" fmla="*/ 7418611 w 9586368"/>
              <a:gd name="connsiteY1760" fmla="*/ 5264889 h 6479439"/>
              <a:gd name="connsiteX1761" fmla="*/ 7428521 w 9586368"/>
              <a:gd name="connsiteY1761" fmla="*/ 5264889 h 6479439"/>
              <a:gd name="connsiteX1762" fmla="*/ 7432540 w 9586368"/>
              <a:gd name="connsiteY1762" fmla="*/ 5268928 h 6479439"/>
              <a:gd name="connsiteX1763" fmla="*/ 7432540 w 9586368"/>
              <a:gd name="connsiteY1763" fmla="*/ 5278799 h 6479439"/>
              <a:gd name="connsiteX1764" fmla="*/ 7428521 w 9586368"/>
              <a:gd name="connsiteY1764" fmla="*/ 5282838 h 6479439"/>
              <a:gd name="connsiteX1765" fmla="*/ 7418611 w 9586368"/>
              <a:gd name="connsiteY1765" fmla="*/ 5282838 h 6479439"/>
              <a:gd name="connsiteX1766" fmla="*/ 7414592 w 9586368"/>
              <a:gd name="connsiteY1766" fmla="*/ 5278799 h 6479439"/>
              <a:gd name="connsiteX1767" fmla="*/ 7414592 w 9586368"/>
              <a:gd name="connsiteY1767" fmla="*/ 5268928 h 6479439"/>
              <a:gd name="connsiteX1768" fmla="*/ 7179298 w 9586368"/>
              <a:gd name="connsiteY1768" fmla="*/ 5264889 h 6479439"/>
              <a:gd name="connsiteX1769" fmla="*/ 7189209 w 9586368"/>
              <a:gd name="connsiteY1769" fmla="*/ 5264889 h 6479439"/>
              <a:gd name="connsiteX1770" fmla="*/ 7193228 w 9586368"/>
              <a:gd name="connsiteY1770" fmla="*/ 5268928 h 6479439"/>
              <a:gd name="connsiteX1771" fmla="*/ 7193228 w 9586368"/>
              <a:gd name="connsiteY1771" fmla="*/ 5278799 h 6479439"/>
              <a:gd name="connsiteX1772" fmla="*/ 7189209 w 9586368"/>
              <a:gd name="connsiteY1772" fmla="*/ 5282838 h 6479439"/>
              <a:gd name="connsiteX1773" fmla="*/ 7179298 w 9586368"/>
              <a:gd name="connsiteY1773" fmla="*/ 5282838 h 6479439"/>
              <a:gd name="connsiteX1774" fmla="*/ 7175279 w 9586368"/>
              <a:gd name="connsiteY1774" fmla="*/ 5278799 h 6479439"/>
              <a:gd name="connsiteX1775" fmla="*/ 7175279 w 9586368"/>
              <a:gd name="connsiteY1775" fmla="*/ 5268928 h 6479439"/>
              <a:gd name="connsiteX1776" fmla="*/ 6939983 w 9586368"/>
              <a:gd name="connsiteY1776" fmla="*/ 5264889 h 6479439"/>
              <a:gd name="connsiteX1777" fmla="*/ 6949894 w 9586368"/>
              <a:gd name="connsiteY1777" fmla="*/ 5264889 h 6479439"/>
              <a:gd name="connsiteX1778" fmla="*/ 6953913 w 9586368"/>
              <a:gd name="connsiteY1778" fmla="*/ 5268928 h 6479439"/>
              <a:gd name="connsiteX1779" fmla="*/ 6953913 w 9586368"/>
              <a:gd name="connsiteY1779" fmla="*/ 5278799 h 6479439"/>
              <a:gd name="connsiteX1780" fmla="*/ 6949894 w 9586368"/>
              <a:gd name="connsiteY1780" fmla="*/ 5282838 h 6479439"/>
              <a:gd name="connsiteX1781" fmla="*/ 6939983 w 9586368"/>
              <a:gd name="connsiteY1781" fmla="*/ 5282838 h 6479439"/>
              <a:gd name="connsiteX1782" fmla="*/ 6935964 w 9586368"/>
              <a:gd name="connsiteY1782" fmla="*/ 5278799 h 6479439"/>
              <a:gd name="connsiteX1783" fmla="*/ 6935964 w 9586368"/>
              <a:gd name="connsiteY1783" fmla="*/ 5268928 h 6479439"/>
              <a:gd name="connsiteX1784" fmla="*/ 6700670 w 9586368"/>
              <a:gd name="connsiteY1784" fmla="*/ 5264889 h 6479439"/>
              <a:gd name="connsiteX1785" fmla="*/ 6710581 w 9586368"/>
              <a:gd name="connsiteY1785" fmla="*/ 5264889 h 6479439"/>
              <a:gd name="connsiteX1786" fmla="*/ 6714600 w 9586368"/>
              <a:gd name="connsiteY1786" fmla="*/ 5268928 h 6479439"/>
              <a:gd name="connsiteX1787" fmla="*/ 6714600 w 9586368"/>
              <a:gd name="connsiteY1787" fmla="*/ 5278799 h 6479439"/>
              <a:gd name="connsiteX1788" fmla="*/ 6710581 w 9586368"/>
              <a:gd name="connsiteY1788" fmla="*/ 5282838 h 6479439"/>
              <a:gd name="connsiteX1789" fmla="*/ 6700670 w 9586368"/>
              <a:gd name="connsiteY1789" fmla="*/ 5282838 h 6479439"/>
              <a:gd name="connsiteX1790" fmla="*/ 6696651 w 9586368"/>
              <a:gd name="connsiteY1790" fmla="*/ 5278799 h 6479439"/>
              <a:gd name="connsiteX1791" fmla="*/ 6696651 w 9586368"/>
              <a:gd name="connsiteY1791" fmla="*/ 5268928 h 6479439"/>
              <a:gd name="connsiteX1792" fmla="*/ 6461356 w 9586368"/>
              <a:gd name="connsiteY1792" fmla="*/ 5264889 h 6479439"/>
              <a:gd name="connsiteX1793" fmla="*/ 6471266 w 9586368"/>
              <a:gd name="connsiteY1793" fmla="*/ 5264889 h 6479439"/>
              <a:gd name="connsiteX1794" fmla="*/ 6475285 w 9586368"/>
              <a:gd name="connsiteY1794" fmla="*/ 5268928 h 6479439"/>
              <a:gd name="connsiteX1795" fmla="*/ 6475285 w 9586368"/>
              <a:gd name="connsiteY1795" fmla="*/ 5278799 h 6479439"/>
              <a:gd name="connsiteX1796" fmla="*/ 6471266 w 9586368"/>
              <a:gd name="connsiteY1796" fmla="*/ 5282838 h 6479439"/>
              <a:gd name="connsiteX1797" fmla="*/ 6461356 w 9586368"/>
              <a:gd name="connsiteY1797" fmla="*/ 5282838 h 6479439"/>
              <a:gd name="connsiteX1798" fmla="*/ 6457337 w 9586368"/>
              <a:gd name="connsiteY1798" fmla="*/ 5278799 h 6479439"/>
              <a:gd name="connsiteX1799" fmla="*/ 6457337 w 9586368"/>
              <a:gd name="connsiteY1799" fmla="*/ 5268928 h 6479439"/>
              <a:gd name="connsiteX1800" fmla="*/ 6222042 w 9586368"/>
              <a:gd name="connsiteY1800" fmla="*/ 5264889 h 6479439"/>
              <a:gd name="connsiteX1801" fmla="*/ 6231952 w 9586368"/>
              <a:gd name="connsiteY1801" fmla="*/ 5264889 h 6479439"/>
              <a:gd name="connsiteX1802" fmla="*/ 6235971 w 9586368"/>
              <a:gd name="connsiteY1802" fmla="*/ 5268928 h 6479439"/>
              <a:gd name="connsiteX1803" fmla="*/ 6235971 w 9586368"/>
              <a:gd name="connsiteY1803" fmla="*/ 5278799 h 6479439"/>
              <a:gd name="connsiteX1804" fmla="*/ 6231952 w 9586368"/>
              <a:gd name="connsiteY1804" fmla="*/ 5282838 h 6479439"/>
              <a:gd name="connsiteX1805" fmla="*/ 6222042 w 9586368"/>
              <a:gd name="connsiteY1805" fmla="*/ 5282838 h 6479439"/>
              <a:gd name="connsiteX1806" fmla="*/ 6218023 w 9586368"/>
              <a:gd name="connsiteY1806" fmla="*/ 5278799 h 6479439"/>
              <a:gd name="connsiteX1807" fmla="*/ 6218023 w 9586368"/>
              <a:gd name="connsiteY1807" fmla="*/ 5268928 h 6479439"/>
              <a:gd name="connsiteX1808" fmla="*/ 5982729 w 9586368"/>
              <a:gd name="connsiteY1808" fmla="*/ 5264889 h 6479439"/>
              <a:gd name="connsiteX1809" fmla="*/ 5992639 w 9586368"/>
              <a:gd name="connsiteY1809" fmla="*/ 5264889 h 6479439"/>
              <a:gd name="connsiteX1810" fmla="*/ 5996658 w 9586368"/>
              <a:gd name="connsiteY1810" fmla="*/ 5268928 h 6479439"/>
              <a:gd name="connsiteX1811" fmla="*/ 5996658 w 9586368"/>
              <a:gd name="connsiteY1811" fmla="*/ 5278799 h 6479439"/>
              <a:gd name="connsiteX1812" fmla="*/ 5992639 w 9586368"/>
              <a:gd name="connsiteY1812" fmla="*/ 5282838 h 6479439"/>
              <a:gd name="connsiteX1813" fmla="*/ 5982729 w 9586368"/>
              <a:gd name="connsiteY1813" fmla="*/ 5282838 h 6479439"/>
              <a:gd name="connsiteX1814" fmla="*/ 5978710 w 9586368"/>
              <a:gd name="connsiteY1814" fmla="*/ 5278799 h 6479439"/>
              <a:gd name="connsiteX1815" fmla="*/ 5978710 w 9586368"/>
              <a:gd name="connsiteY1815" fmla="*/ 5268928 h 6479439"/>
              <a:gd name="connsiteX1816" fmla="*/ 5743412 w 9586368"/>
              <a:gd name="connsiteY1816" fmla="*/ 5264889 h 6479439"/>
              <a:gd name="connsiteX1817" fmla="*/ 5753323 w 9586368"/>
              <a:gd name="connsiteY1817" fmla="*/ 5264889 h 6479439"/>
              <a:gd name="connsiteX1818" fmla="*/ 5757342 w 9586368"/>
              <a:gd name="connsiteY1818" fmla="*/ 5268928 h 6479439"/>
              <a:gd name="connsiteX1819" fmla="*/ 5757342 w 9586368"/>
              <a:gd name="connsiteY1819" fmla="*/ 5278799 h 6479439"/>
              <a:gd name="connsiteX1820" fmla="*/ 5753323 w 9586368"/>
              <a:gd name="connsiteY1820" fmla="*/ 5282838 h 6479439"/>
              <a:gd name="connsiteX1821" fmla="*/ 5743412 w 9586368"/>
              <a:gd name="connsiteY1821" fmla="*/ 5282838 h 6479439"/>
              <a:gd name="connsiteX1822" fmla="*/ 5739393 w 9586368"/>
              <a:gd name="connsiteY1822" fmla="*/ 5278799 h 6479439"/>
              <a:gd name="connsiteX1823" fmla="*/ 5739393 w 9586368"/>
              <a:gd name="connsiteY1823" fmla="*/ 5268928 h 6479439"/>
              <a:gd name="connsiteX1824" fmla="*/ 5504099 w 9586368"/>
              <a:gd name="connsiteY1824" fmla="*/ 5264889 h 6479439"/>
              <a:gd name="connsiteX1825" fmla="*/ 5514010 w 9586368"/>
              <a:gd name="connsiteY1825" fmla="*/ 5264889 h 6479439"/>
              <a:gd name="connsiteX1826" fmla="*/ 5518029 w 9586368"/>
              <a:gd name="connsiteY1826" fmla="*/ 5268928 h 6479439"/>
              <a:gd name="connsiteX1827" fmla="*/ 5518029 w 9586368"/>
              <a:gd name="connsiteY1827" fmla="*/ 5278799 h 6479439"/>
              <a:gd name="connsiteX1828" fmla="*/ 5514010 w 9586368"/>
              <a:gd name="connsiteY1828" fmla="*/ 5282838 h 6479439"/>
              <a:gd name="connsiteX1829" fmla="*/ 5504099 w 9586368"/>
              <a:gd name="connsiteY1829" fmla="*/ 5282838 h 6479439"/>
              <a:gd name="connsiteX1830" fmla="*/ 5500080 w 9586368"/>
              <a:gd name="connsiteY1830" fmla="*/ 5278799 h 6479439"/>
              <a:gd name="connsiteX1831" fmla="*/ 5500080 w 9586368"/>
              <a:gd name="connsiteY1831" fmla="*/ 5268928 h 6479439"/>
              <a:gd name="connsiteX1832" fmla="*/ 5264784 w 9586368"/>
              <a:gd name="connsiteY1832" fmla="*/ 5264889 h 6479439"/>
              <a:gd name="connsiteX1833" fmla="*/ 5274694 w 9586368"/>
              <a:gd name="connsiteY1833" fmla="*/ 5264889 h 6479439"/>
              <a:gd name="connsiteX1834" fmla="*/ 5278713 w 9586368"/>
              <a:gd name="connsiteY1834" fmla="*/ 5268928 h 6479439"/>
              <a:gd name="connsiteX1835" fmla="*/ 5278713 w 9586368"/>
              <a:gd name="connsiteY1835" fmla="*/ 5278799 h 6479439"/>
              <a:gd name="connsiteX1836" fmla="*/ 5274694 w 9586368"/>
              <a:gd name="connsiteY1836" fmla="*/ 5282838 h 6479439"/>
              <a:gd name="connsiteX1837" fmla="*/ 5264784 w 9586368"/>
              <a:gd name="connsiteY1837" fmla="*/ 5282838 h 6479439"/>
              <a:gd name="connsiteX1838" fmla="*/ 5260765 w 9586368"/>
              <a:gd name="connsiteY1838" fmla="*/ 5278799 h 6479439"/>
              <a:gd name="connsiteX1839" fmla="*/ 5260765 w 9586368"/>
              <a:gd name="connsiteY1839" fmla="*/ 5268928 h 6479439"/>
              <a:gd name="connsiteX1840" fmla="*/ 5025470 w 9586368"/>
              <a:gd name="connsiteY1840" fmla="*/ 5264889 h 6479439"/>
              <a:gd name="connsiteX1841" fmla="*/ 5035381 w 9586368"/>
              <a:gd name="connsiteY1841" fmla="*/ 5264889 h 6479439"/>
              <a:gd name="connsiteX1842" fmla="*/ 5039400 w 9586368"/>
              <a:gd name="connsiteY1842" fmla="*/ 5268928 h 6479439"/>
              <a:gd name="connsiteX1843" fmla="*/ 5039400 w 9586368"/>
              <a:gd name="connsiteY1843" fmla="*/ 5278799 h 6479439"/>
              <a:gd name="connsiteX1844" fmla="*/ 5035381 w 9586368"/>
              <a:gd name="connsiteY1844" fmla="*/ 5282838 h 6479439"/>
              <a:gd name="connsiteX1845" fmla="*/ 5025470 w 9586368"/>
              <a:gd name="connsiteY1845" fmla="*/ 5282838 h 6479439"/>
              <a:gd name="connsiteX1846" fmla="*/ 5021451 w 9586368"/>
              <a:gd name="connsiteY1846" fmla="*/ 5278799 h 6479439"/>
              <a:gd name="connsiteX1847" fmla="*/ 5021451 w 9586368"/>
              <a:gd name="connsiteY1847" fmla="*/ 5268928 h 6479439"/>
              <a:gd name="connsiteX1848" fmla="*/ 4786241 w 9586368"/>
              <a:gd name="connsiteY1848" fmla="*/ 5264889 h 6479439"/>
              <a:gd name="connsiteX1849" fmla="*/ 4796152 w 9586368"/>
              <a:gd name="connsiteY1849" fmla="*/ 5264889 h 6479439"/>
              <a:gd name="connsiteX1850" fmla="*/ 4800171 w 9586368"/>
              <a:gd name="connsiteY1850" fmla="*/ 5268928 h 6479439"/>
              <a:gd name="connsiteX1851" fmla="*/ 4800171 w 9586368"/>
              <a:gd name="connsiteY1851" fmla="*/ 5278799 h 6479439"/>
              <a:gd name="connsiteX1852" fmla="*/ 4796152 w 9586368"/>
              <a:gd name="connsiteY1852" fmla="*/ 5282838 h 6479439"/>
              <a:gd name="connsiteX1853" fmla="*/ 4786241 w 9586368"/>
              <a:gd name="connsiteY1853" fmla="*/ 5282838 h 6479439"/>
              <a:gd name="connsiteX1854" fmla="*/ 4782224 w 9586368"/>
              <a:gd name="connsiteY1854" fmla="*/ 5278799 h 6479439"/>
              <a:gd name="connsiteX1855" fmla="*/ 4782224 w 9586368"/>
              <a:gd name="connsiteY1855" fmla="*/ 5268928 h 6479439"/>
              <a:gd name="connsiteX1856" fmla="*/ 4546929 w 9586368"/>
              <a:gd name="connsiteY1856" fmla="*/ 5264889 h 6479439"/>
              <a:gd name="connsiteX1857" fmla="*/ 4556840 w 9586368"/>
              <a:gd name="connsiteY1857" fmla="*/ 5264889 h 6479439"/>
              <a:gd name="connsiteX1858" fmla="*/ 4560859 w 9586368"/>
              <a:gd name="connsiteY1858" fmla="*/ 5268928 h 6479439"/>
              <a:gd name="connsiteX1859" fmla="*/ 4560859 w 9586368"/>
              <a:gd name="connsiteY1859" fmla="*/ 5278799 h 6479439"/>
              <a:gd name="connsiteX1860" fmla="*/ 4556840 w 9586368"/>
              <a:gd name="connsiteY1860" fmla="*/ 5282838 h 6479439"/>
              <a:gd name="connsiteX1861" fmla="*/ 4546929 w 9586368"/>
              <a:gd name="connsiteY1861" fmla="*/ 5282838 h 6479439"/>
              <a:gd name="connsiteX1862" fmla="*/ 4542910 w 9586368"/>
              <a:gd name="connsiteY1862" fmla="*/ 5278799 h 6479439"/>
              <a:gd name="connsiteX1863" fmla="*/ 4542910 w 9586368"/>
              <a:gd name="connsiteY1863" fmla="*/ 5268928 h 6479439"/>
              <a:gd name="connsiteX1864" fmla="*/ 4307612 w 9586368"/>
              <a:gd name="connsiteY1864" fmla="*/ 5264889 h 6479439"/>
              <a:gd name="connsiteX1865" fmla="*/ 4317523 w 9586368"/>
              <a:gd name="connsiteY1865" fmla="*/ 5264889 h 6479439"/>
              <a:gd name="connsiteX1866" fmla="*/ 4321543 w 9586368"/>
              <a:gd name="connsiteY1866" fmla="*/ 5268928 h 6479439"/>
              <a:gd name="connsiteX1867" fmla="*/ 4321543 w 9586368"/>
              <a:gd name="connsiteY1867" fmla="*/ 5278799 h 6479439"/>
              <a:gd name="connsiteX1868" fmla="*/ 4317523 w 9586368"/>
              <a:gd name="connsiteY1868" fmla="*/ 5282838 h 6479439"/>
              <a:gd name="connsiteX1869" fmla="*/ 4307612 w 9586368"/>
              <a:gd name="connsiteY1869" fmla="*/ 5282838 h 6479439"/>
              <a:gd name="connsiteX1870" fmla="*/ 4303595 w 9586368"/>
              <a:gd name="connsiteY1870" fmla="*/ 5278799 h 6479439"/>
              <a:gd name="connsiteX1871" fmla="*/ 4303595 w 9586368"/>
              <a:gd name="connsiteY1871" fmla="*/ 5268928 h 6479439"/>
              <a:gd name="connsiteX1872" fmla="*/ 4068297 w 9586368"/>
              <a:gd name="connsiteY1872" fmla="*/ 5264889 h 6479439"/>
              <a:gd name="connsiteX1873" fmla="*/ 4078210 w 9586368"/>
              <a:gd name="connsiteY1873" fmla="*/ 5264889 h 6479439"/>
              <a:gd name="connsiteX1874" fmla="*/ 4082229 w 9586368"/>
              <a:gd name="connsiteY1874" fmla="*/ 5268928 h 6479439"/>
              <a:gd name="connsiteX1875" fmla="*/ 4082229 w 9586368"/>
              <a:gd name="connsiteY1875" fmla="*/ 5278799 h 6479439"/>
              <a:gd name="connsiteX1876" fmla="*/ 4078210 w 9586368"/>
              <a:gd name="connsiteY1876" fmla="*/ 5282838 h 6479439"/>
              <a:gd name="connsiteX1877" fmla="*/ 4068297 w 9586368"/>
              <a:gd name="connsiteY1877" fmla="*/ 5282838 h 6479439"/>
              <a:gd name="connsiteX1878" fmla="*/ 4064278 w 9586368"/>
              <a:gd name="connsiteY1878" fmla="*/ 5278799 h 6479439"/>
              <a:gd name="connsiteX1879" fmla="*/ 4064278 w 9586368"/>
              <a:gd name="connsiteY1879" fmla="*/ 5268928 h 6479439"/>
              <a:gd name="connsiteX1880" fmla="*/ 3828990 w 9586368"/>
              <a:gd name="connsiteY1880" fmla="*/ 5264889 h 6479439"/>
              <a:gd name="connsiteX1881" fmla="*/ 3838899 w 9586368"/>
              <a:gd name="connsiteY1881" fmla="*/ 5264889 h 6479439"/>
              <a:gd name="connsiteX1882" fmla="*/ 3842917 w 9586368"/>
              <a:gd name="connsiteY1882" fmla="*/ 5268928 h 6479439"/>
              <a:gd name="connsiteX1883" fmla="*/ 3842917 w 9586368"/>
              <a:gd name="connsiteY1883" fmla="*/ 5278799 h 6479439"/>
              <a:gd name="connsiteX1884" fmla="*/ 3838899 w 9586368"/>
              <a:gd name="connsiteY1884" fmla="*/ 5282838 h 6479439"/>
              <a:gd name="connsiteX1885" fmla="*/ 3828990 w 9586368"/>
              <a:gd name="connsiteY1885" fmla="*/ 5282838 h 6479439"/>
              <a:gd name="connsiteX1886" fmla="*/ 3824971 w 9586368"/>
              <a:gd name="connsiteY1886" fmla="*/ 5278799 h 6479439"/>
              <a:gd name="connsiteX1887" fmla="*/ 3824971 w 9586368"/>
              <a:gd name="connsiteY1887" fmla="*/ 5268928 h 6479439"/>
              <a:gd name="connsiteX1888" fmla="*/ 3589676 w 9586368"/>
              <a:gd name="connsiteY1888" fmla="*/ 5264889 h 6479439"/>
              <a:gd name="connsiteX1889" fmla="*/ 3599585 w 9586368"/>
              <a:gd name="connsiteY1889" fmla="*/ 5264889 h 6479439"/>
              <a:gd name="connsiteX1890" fmla="*/ 3603604 w 9586368"/>
              <a:gd name="connsiteY1890" fmla="*/ 5268928 h 6479439"/>
              <a:gd name="connsiteX1891" fmla="*/ 3603604 w 9586368"/>
              <a:gd name="connsiteY1891" fmla="*/ 5278799 h 6479439"/>
              <a:gd name="connsiteX1892" fmla="*/ 3599585 w 9586368"/>
              <a:gd name="connsiteY1892" fmla="*/ 5282838 h 6479439"/>
              <a:gd name="connsiteX1893" fmla="*/ 3589676 w 9586368"/>
              <a:gd name="connsiteY1893" fmla="*/ 5282838 h 6479439"/>
              <a:gd name="connsiteX1894" fmla="*/ 3585657 w 9586368"/>
              <a:gd name="connsiteY1894" fmla="*/ 5278799 h 6479439"/>
              <a:gd name="connsiteX1895" fmla="*/ 3585657 w 9586368"/>
              <a:gd name="connsiteY1895" fmla="*/ 5268928 h 6479439"/>
              <a:gd name="connsiteX1896" fmla="*/ 3350359 w 9586368"/>
              <a:gd name="connsiteY1896" fmla="*/ 5264889 h 6479439"/>
              <a:gd name="connsiteX1897" fmla="*/ 3360268 w 9586368"/>
              <a:gd name="connsiteY1897" fmla="*/ 5264889 h 6479439"/>
              <a:gd name="connsiteX1898" fmla="*/ 3364287 w 9586368"/>
              <a:gd name="connsiteY1898" fmla="*/ 5268928 h 6479439"/>
              <a:gd name="connsiteX1899" fmla="*/ 3364287 w 9586368"/>
              <a:gd name="connsiteY1899" fmla="*/ 5278799 h 6479439"/>
              <a:gd name="connsiteX1900" fmla="*/ 3360268 w 9586368"/>
              <a:gd name="connsiteY1900" fmla="*/ 5282838 h 6479439"/>
              <a:gd name="connsiteX1901" fmla="*/ 3350359 w 9586368"/>
              <a:gd name="connsiteY1901" fmla="*/ 5282838 h 6479439"/>
              <a:gd name="connsiteX1902" fmla="*/ 3346340 w 9586368"/>
              <a:gd name="connsiteY1902" fmla="*/ 5278799 h 6479439"/>
              <a:gd name="connsiteX1903" fmla="*/ 3346340 w 9586368"/>
              <a:gd name="connsiteY1903" fmla="*/ 5268928 h 6479439"/>
              <a:gd name="connsiteX1904" fmla="*/ 3111048 w 9586368"/>
              <a:gd name="connsiteY1904" fmla="*/ 5264889 h 6479439"/>
              <a:gd name="connsiteX1905" fmla="*/ 3120959 w 9586368"/>
              <a:gd name="connsiteY1905" fmla="*/ 5264889 h 6479439"/>
              <a:gd name="connsiteX1906" fmla="*/ 3124977 w 9586368"/>
              <a:gd name="connsiteY1906" fmla="*/ 5268928 h 6479439"/>
              <a:gd name="connsiteX1907" fmla="*/ 3124977 w 9586368"/>
              <a:gd name="connsiteY1907" fmla="*/ 5278799 h 6479439"/>
              <a:gd name="connsiteX1908" fmla="*/ 3120959 w 9586368"/>
              <a:gd name="connsiteY1908" fmla="*/ 5282838 h 6479439"/>
              <a:gd name="connsiteX1909" fmla="*/ 3111048 w 9586368"/>
              <a:gd name="connsiteY1909" fmla="*/ 5282838 h 6479439"/>
              <a:gd name="connsiteX1910" fmla="*/ 3107029 w 9586368"/>
              <a:gd name="connsiteY1910" fmla="*/ 5278799 h 6479439"/>
              <a:gd name="connsiteX1911" fmla="*/ 3107029 w 9586368"/>
              <a:gd name="connsiteY1911" fmla="*/ 5268928 h 6479439"/>
              <a:gd name="connsiteX1912" fmla="*/ 2871737 w 9586368"/>
              <a:gd name="connsiteY1912" fmla="*/ 5264889 h 6479439"/>
              <a:gd name="connsiteX1913" fmla="*/ 2881646 w 9586368"/>
              <a:gd name="connsiteY1913" fmla="*/ 5264889 h 6479439"/>
              <a:gd name="connsiteX1914" fmla="*/ 2885666 w 9586368"/>
              <a:gd name="connsiteY1914" fmla="*/ 5268928 h 6479439"/>
              <a:gd name="connsiteX1915" fmla="*/ 2885666 w 9586368"/>
              <a:gd name="connsiteY1915" fmla="*/ 5278799 h 6479439"/>
              <a:gd name="connsiteX1916" fmla="*/ 2881646 w 9586368"/>
              <a:gd name="connsiteY1916" fmla="*/ 5282838 h 6479439"/>
              <a:gd name="connsiteX1917" fmla="*/ 2871737 w 9586368"/>
              <a:gd name="connsiteY1917" fmla="*/ 5282838 h 6479439"/>
              <a:gd name="connsiteX1918" fmla="*/ 2867717 w 9586368"/>
              <a:gd name="connsiteY1918" fmla="*/ 5278799 h 6479439"/>
              <a:gd name="connsiteX1919" fmla="*/ 2867717 w 9586368"/>
              <a:gd name="connsiteY1919" fmla="*/ 5268928 h 6479439"/>
              <a:gd name="connsiteX1920" fmla="*/ 2632423 w 9586368"/>
              <a:gd name="connsiteY1920" fmla="*/ 5264889 h 6479439"/>
              <a:gd name="connsiteX1921" fmla="*/ 2642334 w 9586368"/>
              <a:gd name="connsiteY1921" fmla="*/ 5264889 h 6479439"/>
              <a:gd name="connsiteX1922" fmla="*/ 2646352 w 9586368"/>
              <a:gd name="connsiteY1922" fmla="*/ 5268928 h 6479439"/>
              <a:gd name="connsiteX1923" fmla="*/ 2646352 w 9586368"/>
              <a:gd name="connsiteY1923" fmla="*/ 5278799 h 6479439"/>
              <a:gd name="connsiteX1924" fmla="*/ 2642334 w 9586368"/>
              <a:gd name="connsiteY1924" fmla="*/ 5282838 h 6479439"/>
              <a:gd name="connsiteX1925" fmla="*/ 2632423 w 9586368"/>
              <a:gd name="connsiteY1925" fmla="*/ 5282838 h 6479439"/>
              <a:gd name="connsiteX1926" fmla="*/ 2628404 w 9586368"/>
              <a:gd name="connsiteY1926" fmla="*/ 5278799 h 6479439"/>
              <a:gd name="connsiteX1927" fmla="*/ 2628404 w 9586368"/>
              <a:gd name="connsiteY1927" fmla="*/ 5268928 h 6479439"/>
              <a:gd name="connsiteX1928" fmla="*/ 2393104 w 9586368"/>
              <a:gd name="connsiteY1928" fmla="*/ 5264889 h 6479439"/>
              <a:gd name="connsiteX1929" fmla="*/ 2403015 w 9586368"/>
              <a:gd name="connsiteY1929" fmla="*/ 5264889 h 6479439"/>
              <a:gd name="connsiteX1930" fmla="*/ 2407034 w 9586368"/>
              <a:gd name="connsiteY1930" fmla="*/ 5268928 h 6479439"/>
              <a:gd name="connsiteX1931" fmla="*/ 2407034 w 9586368"/>
              <a:gd name="connsiteY1931" fmla="*/ 5278799 h 6479439"/>
              <a:gd name="connsiteX1932" fmla="*/ 2403015 w 9586368"/>
              <a:gd name="connsiteY1932" fmla="*/ 5282838 h 6479439"/>
              <a:gd name="connsiteX1933" fmla="*/ 2393104 w 9586368"/>
              <a:gd name="connsiteY1933" fmla="*/ 5282838 h 6479439"/>
              <a:gd name="connsiteX1934" fmla="*/ 2389087 w 9586368"/>
              <a:gd name="connsiteY1934" fmla="*/ 5278799 h 6479439"/>
              <a:gd name="connsiteX1935" fmla="*/ 2389087 w 9586368"/>
              <a:gd name="connsiteY1935" fmla="*/ 5268928 h 6479439"/>
              <a:gd name="connsiteX1936" fmla="*/ 721961 w 9586368"/>
              <a:gd name="connsiteY1936" fmla="*/ 5264889 h 6479439"/>
              <a:gd name="connsiteX1937" fmla="*/ 731872 w 9586368"/>
              <a:gd name="connsiteY1937" fmla="*/ 5264889 h 6479439"/>
              <a:gd name="connsiteX1938" fmla="*/ 735891 w 9586368"/>
              <a:gd name="connsiteY1938" fmla="*/ 5268928 h 6479439"/>
              <a:gd name="connsiteX1939" fmla="*/ 735891 w 9586368"/>
              <a:gd name="connsiteY1939" fmla="*/ 5278799 h 6479439"/>
              <a:gd name="connsiteX1940" fmla="*/ 731872 w 9586368"/>
              <a:gd name="connsiteY1940" fmla="*/ 5282838 h 6479439"/>
              <a:gd name="connsiteX1941" fmla="*/ 721961 w 9586368"/>
              <a:gd name="connsiteY1941" fmla="*/ 5282838 h 6479439"/>
              <a:gd name="connsiteX1942" fmla="*/ 717943 w 9586368"/>
              <a:gd name="connsiteY1942" fmla="*/ 5278799 h 6479439"/>
              <a:gd name="connsiteX1943" fmla="*/ 717943 w 9586368"/>
              <a:gd name="connsiteY1943" fmla="*/ 5268928 h 6479439"/>
              <a:gd name="connsiteX1944" fmla="*/ 482649 w 9586368"/>
              <a:gd name="connsiteY1944" fmla="*/ 5264889 h 6479439"/>
              <a:gd name="connsiteX1945" fmla="*/ 492560 w 9586368"/>
              <a:gd name="connsiteY1945" fmla="*/ 5264889 h 6479439"/>
              <a:gd name="connsiteX1946" fmla="*/ 496579 w 9586368"/>
              <a:gd name="connsiteY1946" fmla="*/ 5268928 h 6479439"/>
              <a:gd name="connsiteX1947" fmla="*/ 496579 w 9586368"/>
              <a:gd name="connsiteY1947" fmla="*/ 5278799 h 6479439"/>
              <a:gd name="connsiteX1948" fmla="*/ 492560 w 9586368"/>
              <a:gd name="connsiteY1948" fmla="*/ 5282838 h 6479439"/>
              <a:gd name="connsiteX1949" fmla="*/ 482649 w 9586368"/>
              <a:gd name="connsiteY1949" fmla="*/ 5282838 h 6479439"/>
              <a:gd name="connsiteX1950" fmla="*/ 478630 w 9586368"/>
              <a:gd name="connsiteY1950" fmla="*/ 5278799 h 6479439"/>
              <a:gd name="connsiteX1951" fmla="*/ 478630 w 9586368"/>
              <a:gd name="connsiteY1951" fmla="*/ 5268928 h 6479439"/>
              <a:gd name="connsiteX1952" fmla="*/ 243336 w 9586368"/>
              <a:gd name="connsiteY1952" fmla="*/ 5264889 h 6479439"/>
              <a:gd name="connsiteX1953" fmla="*/ 253246 w 9586368"/>
              <a:gd name="connsiteY1953" fmla="*/ 5264889 h 6479439"/>
              <a:gd name="connsiteX1954" fmla="*/ 257265 w 9586368"/>
              <a:gd name="connsiteY1954" fmla="*/ 5268928 h 6479439"/>
              <a:gd name="connsiteX1955" fmla="*/ 257265 w 9586368"/>
              <a:gd name="connsiteY1955" fmla="*/ 5278799 h 6479439"/>
              <a:gd name="connsiteX1956" fmla="*/ 253246 w 9586368"/>
              <a:gd name="connsiteY1956" fmla="*/ 5282838 h 6479439"/>
              <a:gd name="connsiteX1957" fmla="*/ 243336 w 9586368"/>
              <a:gd name="connsiteY1957" fmla="*/ 5282838 h 6479439"/>
              <a:gd name="connsiteX1958" fmla="*/ 239317 w 9586368"/>
              <a:gd name="connsiteY1958" fmla="*/ 5278799 h 6479439"/>
              <a:gd name="connsiteX1959" fmla="*/ 239317 w 9586368"/>
              <a:gd name="connsiteY1959" fmla="*/ 5268928 h 6479439"/>
              <a:gd name="connsiteX1960" fmla="*/ 4022 w 9586368"/>
              <a:gd name="connsiteY1960" fmla="*/ 5264889 h 6479439"/>
              <a:gd name="connsiteX1961" fmla="*/ 13933 w 9586368"/>
              <a:gd name="connsiteY1961" fmla="*/ 5264889 h 6479439"/>
              <a:gd name="connsiteX1962" fmla="*/ 17952 w 9586368"/>
              <a:gd name="connsiteY1962" fmla="*/ 5268928 h 6479439"/>
              <a:gd name="connsiteX1963" fmla="*/ 17952 w 9586368"/>
              <a:gd name="connsiteY1963" fmla="*/ 5278799 h 6479439"/>
              <a:gd name="connsiteX1964" fmla="*/ 13933 w 9586368"/>
              <a:gd name="connsiteY1964" fmla="*/ 5282838 h 6479439"/>
              <a:gd name="connsiteX1965" fmla="*/ 4022 w 9586368"/>
              <a:gd name="connsiteY1965" fmla="*/ 5282838 h 6479439"/>
              <a:gd name="connsiteX1966" fmla="*/ 3 w 9586368"/>
              <a:gd name="connsiteY1966" fmla="*/ 5278799 h 6479439"/>
              <a:gd name="connsiteX1967" fmla="*/ 3 w 9586368"/>
              <a:gd name="connsiteY1967" fmla="*/ 5268928 h 6479439"/>
              <a:gd name="connsiteX1968" fmla="*/ 2157819 w 9586368"/>
              <a:gd name="connsiteY1968" fmla="*/ 5025610 h 6479439"/>
              <a:gd name="connsiteX1969" fmla="*/ 2167729 w 9586368"/>
              <a:gd name="connsiteY1969" fmla="*/ 5025610 h 6479439"/>
              <a:gd name="connsiteX1970" fmla="*/ 2171748 w 9586368"/>
              <a:gd name="connsiteY1970" fmla="*/ 5029648 h 6479439"/>
              <a:gd name="connsiteX1971" fmla="*/ 2171748 w 9586368"/>
              <a:gd name="connsiteY1971" fmla="*/ 5039519 h 6479439"/>
              <a:gd name="connsiteX1972" fmla="*/ 2167729 w 9586368"/>
              <a:gd name="connsiteY1972" fmla="*/ 5043558 h 6479439"/>
              <a:gd name="connsiteX1973" fmla="*/ 2157819 w 9586368"/>
              <a:gd name="connsiteY1973" fmla="*/ 5043558 h 6479439"/>
              <a:gd name="connsiteX1974" fmla="*/ 2153800 w 9586368"/>
              <a:gd name="connsiteY1974" fmla="*/ 5039519 h 6479439"/>
              <a:gd name="connsiteX1975" fmla="*/ 2153800 w 9586368"/>
              <a:gd name="connsiteY1975" fmla="*/ 5029648 h 6479439"/>
              <a:gd name="connsiteX1976" fmla="*/ 1918510 w 9586368"/>
              <a:gd name="connsiteY1976" fmla="*/ 5025610 h 6479439"/>
              <a:gd name="connsiteX1977" fmla="*/ 1928420 w 9586368"/>
              <a:gd name="connsiteY1977" fmla="*/ 5025610 h 6479439"/>
              <a:gd name="connsiteX1978" fmla="*/ 1932440 w 9586368"/>
              <a:gd name="connsiteY1978" fmla="*/ 5029648 h 6479439"/>
              <a:gd name="connsiteX1979" fmla="*/ 1932440 w 9586368"/>
              <a:gd name="connsiteY1979" fmla="*/ 5039519 h 6479439"/>
              <a:gd name="connsiteX1980" fmla="*/ 1928420 w 9586368"/>
              <a:gd name="connsiteY1980" fmla="*/ 5043558 h 6479439"/>
              <a:gd name="connsiteX1981" fmla="*/ 1918510 w 9586368"/>
              <a:gd name="connsiteY1981" fmla="*/ 5043558 h 6479439"/>
              <a:gd name="connsiteX1982" fmla="*/ 1914492 w 9586368"/>
              <a:gd name="connsiteY1982" fmla="*/ 5039519 h 6479439"/>
              <a:gd name="connsiteX1983" fmla="*/ 1914492 w 9586368"/>
              <a:gd name="connsiteY1983" fmla="*/ 5029648 h 6479439"/>
              <a:gd name="connsiteX1984" fmla="*/ 1679204 w 9586368"/>
              <a:gd name="connsiteY1984" fmla="*/ 5025610 h 6479439"/>
              <a:gd name="connsiteX1985" fmla="*/ 1689115 w 9586368"/>
              <a:gd name="connsiteY1985" fmla="*/ 5025610 h 6479439"/>
              <a:gd name="connsiteX1986" fmla="*/ 1693133 w 9586368"/>
              <a:gd name="connsiteY1986" fmla="*/ 5029648 h 6479439"/>
              <a:gd name="connsiteX1987" fmla="*/ 1693133 w 9586368"/>
              <a:gd name="connsiteY1987" fmla="*/ 5039519 h 6479439"/>
              <a:gd name="connsiteX1988" fmla="*/ 1689115 w 9586368"/>
              <a:gd name="connsiteY1988" fmla="*/ 5043558 h 6479439"/>
              <a:gd name="connsiteX1989" fmla="*/ 1679204 w 9586368"/>
              <a:gd name="connsiteY1989" fmla="*/ 5043558 h 6479439"/>
              <a:gd name="connsiteX1990" fmla="*/ 1675185 w 9586368"/>
              <a:gd name="connsiteY1990" fmla="*/ 5039519 h 6479439"/>
              <a:gd name="connsiteX1991" fmla="*/ 1675185 w 9586368"/>
              <a:gd name="connsiteY1991" fmla="*/ 5029648 h 6479439"/>
              <a:gd name="connsiteX1992" fmla="*/ 1439889 w 9586368"/>
              <a:gd name="connsiteY1992" fmla="*/ 5025610 h 6479439"/>
              <a:gd name="connsiteX1993" fmla="*/ 1449798 w 9586368"/>
              <a:gd name="connsiteY1993" fmla="*/ 5025610 h 6479439"/>
              <a:gd name="connsiteX1994" fmla="*/ 1453818 w 9586368"/>
              <a:gd name="connsiteY1994" fmla="*/ 5029648 h 6479439"/>
              <a:gd name="connsiteX1995" fmla="*/ 1453818 w 9586368"/>
              <a:gd name="connsiteY1995" fmla="*/ 5039519 h 6479439"/>
              <a:gd name="connsiteX1996" fmla="*/ 1449798 w 9586368"/>
              <a:gd name="connsiteY1996" fmla="*/ 5043558 h 6479439"/>
              <a:gd name="connsiteX1997" fmla="*/ 1439889 w 9586368"/>
              <a:gd name="connsiteY1997" fmla="*/ 5043558 h 6479439"/>
              <a:gd name="connsiteX1998" fmla="*/ 1435870 w 9586368"/>
              <a:gd name="connsiteY1998" fmla="*/ 5039519 h 6479439"/>
              <a:gd name="connsiteX1999" fmla="*/ 1435870 w 9586368"/>
              <a:gd name="connsiteY1999" fmla="*/ 5029648 h 6479439"/>
              <a:gd name="connsiteX2000" fmla="*/ 1200573 w 9586368"/>
              <a:gd name="connsiteY2000" fmla="*/ 5025610 h 6479439"/>
              <a:gd name="connsiteX2001" fmla="*/ 1210484 w 9586368"/>
              <a:gd name="connsiteY2001" fmla="*/ 5025610 h 6479439"/>
              <a:gd name="connsiteX2002" fmla="*/ 1214502 w 9586368"/>
              <a:gd name="connsiteY2002" fmla="*/ 5029648 h 6479439"/>
              <a:gd name="connsiteX2003" fmla="*/ 1214502 w 9586368"/>
              <a:gd name="connsiteY2003" fmla="*/ 5039519 h 6479439"/>
              <a:gd name="connsiteX2004" fmla="*/ 1210484 w 9586368"/>
              <a:gd name="connsiteY2004" fmla="*/ 5043558 h 6479439"/>
              <a:gd name="connsiteX2005" fmla="*/ 1200573 w 9586368"/>
              <a:gd name="connsiteY2005" fmla="*/ 5043558 h 6479439"/>
              <a:gd name="connsiteX2006" fmla="*/ 1196555 w 9586368"/>
              <a:gd name="connsiteY2006" fmla="*/ 5039519 h 6479439"/>
              <a:gd name="connsiteX2007" fmla="*/ 1196555 w 9586368"/>
              <a:gd name="connsiteY2007" fmla="*/ 5029648 h 6479439"/>
              <a:gd name="connsiteX2008" fmla="*/ 961261 w 9586368"/>
              <a:gd name="connsiteY2008" fmla="*/ 5025610 h 6479439"/>
              <a:gd name="connsiteX2009" fmla="*/ 971171 w 9586368"/>
              <a:gd name="connsiteY2009" fmla="*/ 5025610 h 6479439"/>
              <a:gd name="connsiteX2010" fmla="*/ 975190 w 9586368"/>
              <a:gd name="connsiteY2010" fmla="*/ 5029648 h 6479439"/>
              <a:gd name="connsiteX2011" fmla="*/ 975190 w 9586368"/>
              <a:gd name="connsiteY2011" fmla="*/ 5039519 h 6479439"/>
              <a:gd name="connsiteX2012" fmla="*/ 971171 w 9586368"/>
              <a:gd name="connsiteY2012" fmla="*/ 5043558 h 6479439"/>
              <a:gd name="connsiteX2013" fmla="*/ 961261 w 9586368"/>
              <a:gd name="connsiteY2013" fmla="*/ 5043558 h 6479439"/>
              <a:gd name="connsiteX2014" fmla="*/ 957242 w 9586368"/>
              <a:gd name="connsiteY2014" fmla="*/ 5039519 h 6479439"/>
              <a:gd name="connsiteX2015" fmla="*/ 957242 w 9586368"/>
              <a:gd name="connsiteY2015" fmla="*/ 5029648 h 6479439"/>
              <a:gd name="connsiteX2016" fmla="*/ 9572438 w 9586368"/>
              <a:gd name="connsiteY2016" fmla="*/ 5025558 h 6479439"/>
              <a:gd name="connsiteX2017" fmla="*/ 9582349 w 9586368"/>
              <a:gd name="connsiteY2017" fmla="*/ 5025558 h 6479439"/>
              <a:gd name="connsiteX2018" fmla="*/ 9586368 w 9586368"/>
              <a:gd name="connsiteY2018" fmla="*/ 5029597 h 6479439"/>
              <a:gd name="connsiteX2019" fmla="*/ 9586368 w 9586368"/>
              <a:gd name="connsiteY2019" fmla="*/ 5039468 h 6479439"/>
              <a:gd name="connsiteX2020" fmla="*/ 9582349 w 9586368"/>
              <a:gd name="connsiteY2020" fmla="*/ 5043507 h 6479439"/>
              <a:gd name="connsiteX2021" fmla="*/ 9572438 w 9586368"/>
              <a:gd name="connsiteY2021" fmla="*/ 5043507 h 6479439"/>
              <a:gd name="connsiteX2022" fmla="*/ 9568419 w 9586368"/>
              <a:gd name="connsiteY2022" fmla="*/ 5039468 h 6479439"/>
              <a:gd name="connsiteX2023" fmla="*/ 9568419 w 9586368"/>
              <a:gd name="connsiteY2023" fmla="*/ 5029597 h 6479439"/>
              <a:gd name="connsiteX2024" fmla="*/ 9333125 w 9586368"/>
              <a:gd name="connsiteY2024" fmla="*/ 5025558 h 6479439"/>
              <a:gd name="connsiteX2025" fmla="*/ 9343036 w 9586368"/>
              <a:gd name="connsiteY2025" fmla="*/ 5025558 h 6479439"/>
              <a:gd name="connsiteX2026" fmla="*/ 9347055 w 9586368"/>
              <a:gd name="connsiteY2026" fmla="*/ 5029597 h 6479439"/>
              <a:gd name="connsiteX2027" fmla="*/ 9347055 w 9586368"/>
              <a:gd name="connsiteY2027" fmla="*/ 5039468 h 6479439"/>
              <a:gd name="connsiteX2028" fmla="*/ 9343036 w 9586368"/>
              <a:gd name="connsiteY2028" fmla="*/ 5043507 h 6479439"/>
              <a:gd name="connsiteX2029" fmla="*/ 9333125 w 9586368"/>
              <a:gd name="connsiteY2029" fmla="*/ 5043507 h 6479439"/>
              <a:gd name="connsiteX2030" fmla="*/ 9329106 w 9586368"/>
              <a:gd name="connsiteY2030" fmla="*/ 5039468 h 6479439"/>
              <a:gd name="connsiteX2031" fmla="*/ 9329106 w 9586368"/>
              <a:gd name="connsiteY2031" fmla="*/ 5029597 h 6479439"/>
              <a:gd name="connsiteX2032" fmla="*/ 9093811 w 9586368"/>
              <a:gd name="connsiteY2032" fmla="*/ 5025558 h 6479439"/>
              <a:gd name="connsiteX2033" fmla="*/ 9103722 w 9586368"/>
              <a:gd name="connsiteY2033" fmla="*/ 5025558 h 6479439"/>
              <a:gd name="connsiteX2034" fmla="*/ 9107741 w 9586368"/>
              <a:gd name="connsiteY2034" fmla="*/ 5029597 h 6479439"/>
              <a:gd name="connsiteX2035" fmla="*/ 9107741 w 9586368"/>
              <a:gd name="connsiteY2035" fmla="*/ 5039468 h 6479439"/>
              <a:gd name="connsiteX2036" fmla="*/ 9103722 w 9586368"/>
              <a:gd name="connsiteY2036" fmla="*/ 5043507 h 6479439"/>
              <a:gd name="connsiteX2037" fmla="*/ 9093811 w 9586368"/>
              <a:gd name="connsiteY2037" fmla="*/ 5043507 h 6479439"/>
              <a:gd name="connsiteX2038" fmla="*/ 9089792 w 9586368"/>
              <a:gd name="connsiteY2038" fmla="*/ 5039468 h 6479439"/>
              <a:gd name="connsiteX2039" fmla="*/ 9089792 w 9586368"/>
              <a:gd name="connsiteY2039" fmla="*/ 5029597 h 6479439"/>
              <a:gd name="connsiteX2040" fmla="*/ 8854496 w 9586368"/>
              <a:gd name="connsiteY2040" fmla="*/ 5025558 h 6479439"/>
              <a:gd name="connsiteX2041" fmla="*/ 8864407 w 9586368"/>
              <a:gd name="connsiteY2041" fmla="*/ 5025558 h 6479439"/>
              <a:gd name="connsiteX2042" fmla="*/ 8868426 w 9586368"/>
              <a:gd name="connsiteY2042" fmla="*/ 5029597 h 6479439"/>
              <a:gd name="connsiteX2043" fmla="*/ 8868426 w 9586368"/>
              <a:gd name="connsiteY2043" fmla="*/ 5039468 h 6479439"/>
              <a:gd name="connsiteX2044" fmla="*/ 8864407 w 9586368"/>
              <a:gd name="connsiteY2044" fmla="*/ 5043507 h 6479439"/>
              <a:gd name="connsiteX2045" fmla="*/ 8854496 w 9586368"/>
              <a:gd name="connsiteY2045" fmla="*/ 5043507 h 6479439"/>
              <a:gd name="connsiteX2046" fmla="*/ 8850477 w 9586368"/>
              <a:gd name="connsiteY2046" fmla="*/ 5039468 h 6479439"/>
              <a:gd name="connsiteX2047" fmla="*/ 8850477 w 9586368"/>
              <a:gd name="connsiteY2047" fmla="*/ 5029597 h 6479439"/>
              <a:gd name="connsiteX2048" fmla="*/ 8615184 w 9586368"/>
              <a:gd name="connsiteY2048" fmla="*/ 5025558 h 6479439"/>
              <a:gd name="connsiteX2049" fmla="*/ 8625095 w 9586368"/>
              <a:gd name="connsiteY2049" fmla="*/ 5025558 h 6479439"/>
              <a:gd name="connsiteX2050" fmla="*/ 8629114 w 9586368"/>
              <a:gd name="connsiteY2050" fmla="*/ 5029597 h 6479439"/>
              <a:gd name="connsiteX2051" fmla="*/ 8629114 w 9586368"/>
              <a:gd name="connsiteY2051" fmla="*/ 5039468 h 6479439"/>
              <a:gd name="connsiteX2052" fmla="*/ 8625095 w 9586368"/>
              <a:gd name="connsiteY2052" fmla="*/ 5043507 h 6479439"/>
              <a:gd name="connsiteX2053" fmla="*/ 8615184 w 9586368"/>
              <a:gd name="connsiteY2053" fmla="*/ 5043507 h 6479439"/>
              <a:gd name="connsiteX2054" fmla="*/ 8611165 w 9586368"/>
              <a:gd name="connsiteY2054" fmla="*/ 5039468 h 6479439"/>
              <a:gd name="connsiteX2055" fmla="*/ 8611165 w 9586368"/>
              <a:gd name="connsiteY2055" fmla="*/ 5029597 h 6479439"/>
              <a:gd name="connsiteX2056" fmla="*/ 8375869 w 9586368"/>
              <a:gd name="connsiteY2056" fmla="*/ 5025558 h 6479439"/>
              <a:gd name="connsiteX2057" fmla="*/ 8385779 w 9586368"/>
              <a:gd name="connsiteY2057" fmla="*/ 5025558 h 6479439"/>
              <a:gd name="connsiteX2058" fmla="*/ 8389799 w 9586368"/>
              <a:gd name="connsiteY2058" fmla="*/ 5029597 h 6479439"/>
              <a:gd name="connsiteX2059" fmla="*/ 8389799 w 9586368"/>
              <a:gd name="connsiteY2059" fmla="*/ 5039468 h 6479439"/>
              <a:gd name="connsiteX2060" fmla="*/ 8385779 w 9586368"/>
              <a:gd name="connsiteY2060" fmla="*/ 5043507 h 6479439"/>
              <a:gd name="connsiteX2061" fmla="*/ 8375869 w 9586368"/>
              <a:gd name="connsiteY2061" fmla="*/ 5043507 h 6479439"/>
              <a:gd name="connsiteX2062" fmla="*/ 8371850 w 9586368"/>
              <a:gd name="connsiteY2062" fmla="*/ 5039468 h 6479439"/>
              <a:gd name="connsiteX2063" fmla="*/ 8371850 w 9586368"/>
              <a:gd name="connsiteY2063" fmla="*/ 5029597 h 6479439"/>
              <a:gd name="connsiteX2064" fmla="*/ 8136553 w 9586368"/>
              <a:gd name="connsiteY2064" fmla="*/ 5025558 h 6479439"/>
              <a:gd name="connsiteX2065" fmla="*/ 8146464 w 9586368"/>
              <a:gd name="connsiteY2065" fmla="*/ 5025558 h 6479439"/>
              <a:gd name="connsiteX2066" fmla="*/ 8150483 w 9586368"/>
              <a:gd name="connsiteY2066" fmla="*/ 5029597 h 6479439"/>
              <a:gd name="connsiteX2067" fmla="*/ 8150483 w 9586368"/>
              <a:gd name="connsiteY2067" fmla="*/ 5039468 h 6479439"/>
              <a:gd name="connsiteX2068" fmla="*/ 8146464 w 9586368"/>
              <a:gd name="connsiteY2068" fmla="*/ 5043507 h 6479439"/>
              <a:gd name="connsiteX2069" fmla="*/ 8136553 w 9586368"/>
              <a:gd name="connsiteY2069" fmla="*/ 5043507 h 6479439"/>
              <a:gd name="connsiteX2070" fmla="*/ 8132534 w 9586368"/>
              <a:gd name="connsiteY2070" fmla="*/ 5039468 h 6479439"/>
              <a:gd name="connsiteX2071" fmla="*/ 8132534 w 9586368"/>
              <a:gd name="connsiteY2071" fmla="*/ 5029597 h 6479439"/>
              <a:gd name="connsiteX2072" fmla="*/ 7897241 w 9586368"/>
              <a:gd name="connsiteY2072" fmla="*/ 5025558 h 6479439"/>
              <a:gd name="connsiteX2073" fmla="*/ 7907151 w 9586368"/>
              <a:gd name="connsiteY2073" fmla="*/ 5025558 h 6479439"/>
              <a:gd name="connsiteX2074" fmla="*/ 7911170 w 9586368"/>
              <a:gd name="connsiteY2074" fmla="*/ 5029597 h 6479439"/>
              <a:gd name="connsiteX2075" fmla="*/ 7911170 w 9586368"/>
              <a:gd name="connsiteY2075" fmla="*/ 5039468 h 6479439"/>
              <a:gd name="connsiteX2076" fmla="*/ 7907151 w 9586368"/>
              <a:gd name="connsiteY2076" fmla="*/ 5043507 h 6479439"/>
              <a:gd name="connsiteX2077" fmla="*/ 7897241 w 9586368"/>
              <a:gd name="connsiteY2077" fmla="*/ 5043507 h 6479439"/>
              <a:gd name="connsiteX2078" fmla="*/ 7893222 w 9586368"/>
              <a:gd name="connsiteY2078" fmla="*/ 5039468 h 6479439"/>
              <a:gd name="connsiteX2079" fmla="*/ 7893222 w 9586368"/>
              <a:gd name="connsiteY2079" fmla="*/ 5029597 h 6479439"/>
              <a:gd name="connsiteX2080" fmla="*/ 7657926 w 9586368"/>
              <a:gd name="connsiteY2080" fmla="*/ 5025558 h 6479439"/>
              <a:gd name="connsiteX2081" fmla="*/ 7667836 w 9586368"/>
              <a:gd name="connsiteY2081" fmla="*/ 5025558 h 6479439"/>
              <a:gd name="connsiteX2082" fmla="*/ 7671855 w 9586368"/>
              <a:gd name="connsiteY2082" fmla="*/ 5029597 h 6479439"/>
              <a:gd name="connsiteX2083" fmla="*/ 7671855 w 9586368"/>
              <a:gd name="connsiteY2083" fmla="*/ 5039468 h 6479439"/>
              <a:gd name="connsiteX2084" fmla="*/ 7667836 w 9586368"/>
              <a:gd name="connsiteY2084" fmla="*/ 5043507 h 6479439"/>
              <a:gd name="connsiteX2085" fmla="*/ 7657926 w 9586368"/>
              <a:gd name="connsiteY2085" fmla="*/ 5043507 h 6479439"/>
              <a:gd name="connsiteX2086" fmla="*/ 7653906 w 9586368"/>
              <a:gd name="connsiteY2086" fmla="*/ 5039468 h 6479439"/>
              <a:gd name="connsiteX2087" fmla="*/ 7653906 w 9586368"/>
              <a:gd name="connsiteY2087" fmla="*/ 5029597 h 6479439"/>
              <a:gd name="connsiteX2088" fmla="*/ 7418611 w 9586368"/>
              <a:gd name="connsiteY2088" fmla="*/ 5025558 h 6479439"/>
              <a:gd name="connsiteX2089" fmla="*/ 7428521 w 9586368"/>
              <a:gd name="connsiteY2089" fmla="*/ 5025558 h 6479439"/>
              <a:gd name="connsiteX2090" fmla="*/ 7432540 w 9586368"/>
              <a:gd name="connsiteY2090" fmla="*/ 5029597 h 6479439"/>
              <a:gd name="connsiteX2091" fmla="*/ 7432540 w 9586368"/>
              <a:gd name="connsiteY2091" fmla="*/ 5039468 h 6479439"/>
              <a:gd name="connsiteX2092" fmla="*/ 7428521 w 9586368"/>
              <a:gd name="connsiteY2092" fmla="*/ 5043507 h 6479439"/>
              <a:gd name="connsiteX2093" fmla="*/ 7418611 w 9586368"/>
              <a:gd name="connsiteY2093" fmla="*/ 5043507 h 6479439"/>
              <a:gd name="connsiteX2094" fmla="*/ 7414592 w 9586368"/>
              <a:gd name="connsiteY2094" fmla="*/ 5039468 h 6479439"/>
              <a:gd name="connsiteX2095" fmla="*/ 7414592 w 9586368"/>
              <a:gd name="connsiteY2095" fmla="*/ 5029597 h 6479439"/>
              <a:gd name="connsiteX2096" fmla="*/ 7179298 w 9586368"/>
              <a:gd name="connsiteY2096" fmla="*/ 5025558 h 6479439"/>
              <a:gd name="connsiteX2097" fmla="*/ 7189209 w 9586368"/>
              <a:gd name="connsiteY2097" fmla="*/ 5025558 h 6479439"/>
              <a:gd name="connsiteX2098" fmla="*/ 7193228 w 9586368"/>
              <a:gd name="connsiteY2098" fmla="*/ 5029597 h 6479439"/>
              <a:gd name="connsiteX2099" fmla="*/ 7193228 w 9586368"/>
              <a:gd name="connsiteY2099" fmla="*/ 5039468 h 6479439"/>
              <a:gd name="connsiteX2100" fmla="*/ 7189209 w 9586368"/>
              <a:gd name="connsiteY2100" fmla="*/ 5043507 h 6479439"/>
              <a:gd name="connsiteX2101" fmla="*/ 7179298 w 9586368"/>
              <a:gd name="connsiteY2101" fmla="*/ 5043507 h 6479439"/>
              <a:gd name="connsiteX2102" fmla="*/ 7175279 w 9586368"/>
              <a:gd name="connsiteY2102" fmla="*/ 5039468 h 6479439"/>
              <a:gd name="connsiteX2103" fmla="*/ 7175279 w 9586368"/>
              <a:gd name="connsiteY2103" fmla="*/ 5029597 h 6479439"/>
              <a:gd name="connsiteX2104" fmla="*/ 6939983 w 9586368"/>
              <a:gd name="connsiteY2104" fmla="*/ 5025558 h 6479439"/>
              <a:gd name="connsiteX2105" fmla="*/ 6949894 w 9586368"/>
              <a:gd name="connsiteY2105" fmla="*/ 5025558 h 6479439"/>
              <a:gd name="connsiteX2106" fmla="*/ 6953913 w 9586368"/>
              <a:gd name="connsiteY2106" fmla="*/ 5029597 h 6479439"/>
              <a:gd name="connsiteX2107" fmla="*/ 6953913 w 9586368"/>
              <a:gd name="connsiteY2107" fmla="*/ 5039468 h 6479439"/>
              <a:gd name="connsiteX2108" fmla="*/ 6949894 w 9586368"/>
              <a:gd name="connsiteY2108" fmla="*/ 5043507 h 6479439"/>
              <a:gd name="connsiteX2109" fmla="*/ 6939983 w 9586368"/>
              <a:gd name="connsiteY2109" fmla="*/ 5043507 h 6479439"/>
              <a:gd name="connsiteX2110" fmla="*/ 6935964 w 9586368"/>
              <a:gd name="connsiteY2110" fmla="*/ 5039468 h 6479439"/>
              <a:gd name="connsiteX2111" fmla="*/ 6935964 w 9586368"/>
              <a:gd name="connsiteY2111" fmla="*/ 5029597 h 6479439"/>
              <a:gd name="connsiteX2112" fmla="*/ 6700670 w 9586368"/>
              <a:gd name="connsiteY2112" fmla="*/ 5025558 h 6479439"/>
              <a:gd name="connsiteX2113" fmla="*/ 6710581 w 9586368"/>
              <a:gd name="connsiteY2113" fmla="*/ 5025558 h 6479439"/>
              <a:gd name="connsiteX2114" fmla="*/ 6714600 w 9586368"/>
              <a:gd name="connsiteY2114" fmla="*/ 5029597 h 6479439"/>
              <a:gd name="connsiteX2115" fmla="*/ 6714600 w 9586368"/>
              <a:gd name="connsiteY2115" fmla="*/ 5039468 h 6479439"/>
              <a:gd name="connsiteX2116" fmla="*/ 6710581 w 9586368"/>
              <a:gd name="connsiteY2116" fmla="*/ 5043507 h 6479439"/>
              <a:gd name="connsiteX2117" fmla="*/ 6700670 w 9586368"/>
              <a:gd name="connsiteY2117" fmla="*/ 5043507 h 6479439"/>
              <a:gd name="connsiteX2118" fmla="*/ 6696651 w 9586368"/>
              <a:gd name="connsiteY2118" fmla="*/ 5039468 h 6479439"/>
              <a:gd name="connsiteX2119" fmla="*/ 6696651 w 9586368"/>
              <a:gd name="connsiteY2119" fmla="*/ 5029597 h 6479439"/>
              <a:gd name="connsiteX2120" fmla="*/ 6461356 w 9586368"/>
              <a:gd name="connsiteY2120" fmla="*/ 5025558 h 6479439"/>
              <a:gd name="connsiteX2121" fmla="*/ 6471266 w 9586368"/>
              <a:gd name="connsiteY2121" fmla="*/ 5025558 h 6479439"/>
              <a:gd name="connsiteX2122" fmla="*/ 6475285 w 9586368"/>
              <a:gd name="connsiteY2122" fmla="*/ 5029597 h 6479439"/>
              <a:gd name="connsiteX2123" fmla="*/ 6475285 w 9586368"/>
              <a:gd name="connsiteY2123" fmla="*/ 5039468 h 6479439"/>
              <a:gd name="connsiteX2124" fmla="*/ 6471266 w 9586368"/>
              <a:gd name="connsiteY2124" fmla="*/ 5043507 h 6479439"/>
              <a:gd name="connsiteX2125" fmla="*/ 6461356 w 9586368"/>
              <a:gd name="connsiteY2125" fmla="*/ 5043507 h 6479439"/>
              <a:gd name="connsiteX2126" fmla="*/ 6457337 w 9586368"/>
              <a:gd name="connsiteY2126" fmla="*/ 5039468 h 6479439"/>
              <a:gd name="connsiteX2127" fmla="*/ 6457337 w 9586368"/>
              <a:gd name="connsiteY2127" fmla="*/ 5029597 h 6479439"/>
              <a:gd name="connsiteX2128" fmla="*/ 6222042 w 9586368"/>
              <a:gd name="connsiteY2128" fmla="*/ 5025558 h 6479439"/>
              <a:gd name="connsiteX2129" fmla="*/ 6231952 w 9586368"/>
              <a:gd name="connsiteY2129" fmla="*/ 5025558 h 6479439"/>
              <a:gd name="connsiteX2130" fmla="*/ 6235971 w 9586368"/>
              <a:gd name="connsiteY2130" fmla="*/ 5029597 h 6479439"/>
              <a:gd name="connsiteX2131" fmla="*/ 6235971 w 9586368"/>
              <a:gd name="connsiteY2131" fmla="*/ 5039468 h 6479439"/>
              <a:gd name="connsiteX2132" fmla="*/ 6231952 w 9586368"/>
              <a:gd name="connsiteY2132" fmla="*/ 5043507 h 6479439"/>
              <a:gd name="connsiteX2133" fmla="*/ 6222042 w 9586368"/>
              <a:gd name="connsiteY2133" fmla="*/ 5043507 h 6479439"/>
              <a:gd name="connsiteX2134" fmla="*/ 6218023 w 9586368"/>
              <a:gd name="connsiteY2134" fmla="*/ 5039468 h 6479439"/>
              <a:gd name="connsiteX2135" fmla="*/ 6218023 w 9586368"/>
              <a:gd name="connsiteY2135" fmla="*/ 5029597 h 6479439"/>
              <a:gd name="connsiteX2136" fmla="*/ 5982729 w 9586368"/>
              <a:gd name="connsiteY2136" fmla="*/ 5025558 h 6479439"/>
              <a:gd name="connsiteX2137" fmla="*/ 5992639 w 9586368"/>
              <a:gd name="connsiteY2137" fmla="*/ 5025558 h 6479439"/>
              <a:gd name="connsiteX2138" fmla="*/ 5996658 w 9586368"/>
              <a:gd name="connsiteY2138" fmla="*/ 5029597 h 6479439"/>
              <a:gd name="connsiteX2139" fmla="*/ 5996658 w 9586368"/>
              <a:gd name="connsiteY2139" fmla="*/ 5039468 h 6479439"/>
              <a:gd name="connsiteX2140" fmla="*/ 5992639 w 9586368"/>
              <a:gd name="connsiteY2140" fmla="*/ 5043507 h 6479439"/>
              <a:gd name="connsiteX2141" fmla="*/ 5982729 w 9586368"/>
              <a:gd name="connsiteY2141" fmla="*/ 5043507 h 6479439"/>
              <a:gd name="connsiteX2142" fmla="*/ 5978710 w 9586368"/>
              <a:gd name="connsiteY2142" fmla="*/ 5039468 h 6479439"/>
              <a:gd name="connsiteX2143" fmla="*/ 5978710 w 9586368"/>
              <a:gd name="connsiteY2143" fmla="*/ 5029597 h 6479439"/>
              <a:gd name="connsiteX2144" fmla="*/ 5743412 w 9586368"/>
              <a:gd name="connsiteY2144" fmla="*/ 5025558 h 6479439"/>
              <a:gd name="connsiteX2145" fmla="*/ 5753323 w 9586368"/>
              <a:gd name="connsiteY2145" fmla="*/ 5025558 h 6479439"/>
              <a:gd name="connsiteX2146" fmla="*/ 5757342 w 9586368"/>
              <a:gd name="connsiteY2146" fmla="*/ 5029597 h 6479439"/>
              <a:gd name="connsiteX2147" fmla="*/ 5757342 w 9586368"/>
              <a:gd name="connsiteY2147" fmla="*/ 5039468 h 6479439"/>
              <a:gd name="connsiteX2148" fmla="*/ 5753323 w 9586368"/>
              <a:gd name="connsiteY2148" fmla="*/ 5043507 h 6479439"/>
              <a:gd name="connsiteX2149" fmla="*/ 5743412 w 9586368"/>
              <a:gd name="connsiteY2149" fmla="*/ 5043507 h 6479439"/>
              <a:gd name="connsiteX2150" fmla="*/ 5739393 w 9586368"/>
              <a:gd name="connsiteY2150" fmla="*/ 5039468 h 6479439"/>
              <a:gd name="connsiteX2151" fmla="*/ 5739393 w 9586368"/>
              <a:gd name="connsiteY2151" fmla="*/ 5029597 h 6479439"/>
              <a:gd name="connsiteX2152" fmla="*/ 5504099 w 9586368"/>
              <a:gd name="connsiteY2152" fmla="*/ 5025558 h 6479439"/>
              <a:gd name="connsiteX2153" fmla="*/ 5514010 w 9586368"/>
              <a:gd name="connsiteY2153" fmla="*/ 5025558 h 6479439"/>
              <a:gd name="connsiteX2154" fmla="*/ 5518029 w 9586368"/>
              <a:gd name="connsiteY2154" fmla="*/ 5029597 h 6479439"/>
              <a:gd name="connsiteX2155" fmla="*/ 5518029 w 9586368"/>
              <a:gd name="connsiteY2155" fmla="*/ 5039468 h 6479439"/>
              <a:gd name="connsiteX2156" fmla="*/ 5514010 w 9586368"/>
              <a:gd name="connsiteY2156" fmla="*/ 5043507 h 6479439"/>
              <a:gd name="connsiteX2157" fmla="*/ 5504099 w 9586368"/>
              <a:gd name="connsiteY2157" fmla="*/ 5043507 h 6479439"/>
              <a:gd name="connsiteX2158" fmla="*/ 5500080 w 9586368"/>
              <a:gd name="connsiteY2158" fmla="*/ 5039468 h 6479439"/>
              <a:gd name="connsiteX2159" fmla="*/ 5500080 w 9586368"/>
              <a:gd name="connsiteY2159" fmla="*/ 5029597 h 6479439"/>
              <a:gd name="connsiteX2160" fmla="*/ 5264784 w 9586368"/>
              <a:gd name="connsiteY2160" fmla="*/ 5025558 h 6479439"/>
              <a:gd name="connsiteX2161" fmla="*/ 5274694 w 9586368"/>
              <a:gd name="connsiteY2161" fmla="*/ 5025558 h 6479439"/>
              <a:gd name="connsiteX2162" fmla="*/ 5278713 w 9586368"/>
              <a:gd name="connsiteY2162" fmla="*/ 5029597 h 6479439"/>
              <a:gd name="connsiteX2163" fmla="*/ 5278713 w 9586368"/>
              <a:gd name="connsiteY2163" fmla="*/ 5039468 h 6479439"/>
              <a:gd name="connsiteX2164" fmla="*/ 5274694 w 9586368"/>
              <a:gd name="connsiteY2164" fmla="*/ 5043507 h 6479439"/>
              <a:gd name="connsiteX2165" fmla="*/ 5264784 w 9586368"/>
              <a:gd name="connsiteY2165" fmla="*/ 5043507 h 6479439"/>
              <a:gd name="connsiteX2166" fmla="*/ 5260765 w 9586368"/>
              <a:gd name="connsiteY2166" fmla="*/ 5039468 h 6479439"/>
              <a:gd name="connsiteX2167" fmla="*/ 5260765 w 9586368"/>
              <a:gd name="connsiteY2167" fmla="*/ 5029597 h 6479439"/>
              <a:gd name="connsiteX2168" fmla="*/ 5025470 w 9586368"/>
              <a:gd name="connsiteY2168" fmla="*/ 5025558 h 6479439"/>
              <a:gd name="connsiteX2169" fmla="*/ 5035381 w 9586368"/>
              <a:gd name="connsiteY2169" fmla="*/ 5025558 h 6479439"/>
              <a:gd name="connsiteX2170" fmla="*/ 5039400 w 9586368"/>
              <a:gd name="connsiteY2170" fmla="*/ 5029597 h 6479439"/>
              <a:gd name="connsiteX2171" fmla="*/ 5039400 w 9586368"/>
              <a:gd name="connsiteY2171" fmla="*/ 5039468 h 6479439"/>
              <a:gd name="connsiteX2172" fmla="*/ 5035381 w 9586368"/>
              <a:gd name="connsiteY2172" fmla="*/ 5043507 h 6479439"/>
              <a:gd name="connsiteX2173" fmla="*/ 5025470 w 9586368"/>
              <a:gd name="connsiteY2173" fmla="*/ 5043507 h 6479439"/>
              <a:gd name="connsiteX2174" fmla="*/ 5021451 w 9586368"/>
              <a:gd name="connsiteY2174" fmla="*/ 5039468 h 6479439"/>
              <a:gd name="connsiteX2175" fmla="*/ 5021451 w 9586368"/>
              <a:gd name="connsiteY2175" fmla="*/ 5029597 h 6479439"/>
              <a:gd name="connsiteX2176" fmla="*/ 4786241 w 9586368"/>
              <a:gd name="connsiteY2176" fmla="*/ 5025558 h 6479439"/>
              <a:gd name="connsiteX2177" fmla="*/ 4796152 w 9586368"/>
              <a:gd name="connsiteY2177" fmla="*/ 5025558 h 6479439"/>
              <a:gd name="connsiteX2178" fmla="*/ 4800171 w 9586368"/>
              <a:gd name="connsiteY2178" fmla="*/ 5029597 h 6479439"/>
              <a:gd name="connsiteX2179" fmla="*/ 4800171 w 9586368"/>
              <a:gd name="connsiteY2179" fmla="*/ 5039468 h 6479439"/>
              <a:gd name="connsiteX2180" fmla="*/ 4796152 w 9586368"/>
              <a:gd name="connsiteY2180" fmla="*/ 5043507 h 6479439"/>
              <a:gd name="connsiteX2181" fmla="*/ 4786241 w 9586368"/>
              <a:gd name="connsiteY2181" fmla="*/ 5043507 h 6479439"/>
              <a:gd name="connsiteX2182" fmla="*/ 4782224 w 9586368"/>
              <a:gd name="connsiteY2182" fmla="*/ 5039468 h 6479439"/>
              <a:gd name="connsiteX2183" fmla="*/ 4782224 w 9586368"/>
              <a:gd name="connsiteY2183" fmla="*/ 5029597 h 6479439"/>
              <a:gd name="connsiteX2184" fmla="*/ 4546929 w 9586368"/>
              <a:gd name="connsiteY2184" fmla="*/ 5025558 h 6479439"/>
              <a:gd name="connsiteX2185" fmla="*/ 4556840 w 9586368"/>
              <a:gd name="connsiteY2185" fmla="*/ 5025558 h 6479439"/>
              <a:gd name="connsiteX2186" fmla="*/ 4560859 w 9586368"/>
              <a:gd name="connsiteY2186" fmla="*/ 5029597 h 6479439"/>
              <a:gd name="connsiteX2187" fmla="*/ 4560859 w 9586368"/>
              <a:gd name="connsiteY2187" fmla="*/ 5039468 h 6479439"/>
              <a:gd name="connsiteX2188" fmla="*/ 4556840 w 9586368"/>
              <a:gd name="connsiteY2188" fmla="*/ 5043507 h 6479439"/>
              <a:gd name="connsiteX2189" fmla="*/ 4546929 w 9586368"/>
              <a:gd name="connsiteY2189" fmla="*/ 5043507 h 6479439"/>
              <a:gd name="connsiteX2190" fmla="*/ 4542910 w 9586368"/>
              <a:gd name="connsiteY2190" fmla="*/ 5039468 h 6479439"/>
              <a:gd name="connsiteX2191" fmla="*/ 4542910 w 9586368"/>
              <a:gd name="connsiteY2191" fmla="*/ 5029597 h 6479439"/>
              <a:gd name="connsiteX2192" fmla="*/ 4307612 w 9586368"/>
              <a:gd name="connsiteY2192" fmla="*/ 5025558 h 6479439"/>
              <a:gd name="connsiteX2193" fmla="*/ 4317523 w 9586368"/>
              <a:gd name="connsiteY2193" fmla="*/ 5025558 h 6479439"/>
              <a:gd name="connsiteX2194" fmla="*/ 4321543 w 9586368"/>
              <a:gd name="connsiteY2194" fmla="*/ 5029597 h 6479439"/>
              <a:gd name="connsiteX2195" fmla="*/ 4321543 w 9586368"/>
              <a:gd name="connsiteY2195" fmla="*/ 5039468 h 6479439"/>
              <a:gd name="connsiteX2196" fmla="*/ 4317523 w 9586368"/>
              <a:gd name="connsiteY2196" fmla="*/ 5043507 h 6479439"/>
              <a:gd name="connsiteX2197" fmla="*/ 4307612 w 9586368"/>
              <a:gd name="connsiteY2197" fmla="*/ 5043507 h 6479439"/>
              <a:gd name="connsiteX2198" fmla="*/ 4303595 w 9586368"/>
              <a:gd name="connsiteY2198" fmla="*/ 5039468 h 6479439"/>
              <a:gd name="connsiteX2199" fmla="*/ 4303595 w 9586368"/>
              <a:gd name="connsiteY2199" fmla="*/ 5029597 h 6479439"/>
              <a:gd name="connsiteX2200" fmla="*/ 4068297 w 9586368"/>
              <a:gd name="connsiteY2200" fmla="*/ 5025558 h 6479439"/>
              <a:gd name="connsiteX2201" fmla="*/ 4078210 w 9586368"/>
              <a:gd name="connsiteY2201" fmla="*/ 5025558 h 6479439"/>
              <a:gd name="connsiteX2202" fmla="*/ 4082229 w 9586368"/>
              <a:gd name="connsiteY2202" fmla="*/ 5029597 h 6479439"/>
              <a:gd name="connsiteX2203" fmla="*/ 4082229 w 9586368"/>
              <a:gd name="connsiteY2203" fmla="*/ 5039468 h 6479439"/>
              <a:gd name="connsiteX2204" fmla="*/ 4078210 w 9586368"/>
              <a:gd name="connsiteY2204" fmla="*/ 5043507 h 6479439"/>
              <a:gd name="connsiteX2205" fmla="*/ 4068297 w 9586368"/>
              <a:gd name="connsiteY2205" fmla="*/ 5043507 h 6479439"/>
              <a:gd name="connsiteX2206" fmla="*/ 4064278 w 9586368"/>
              <a:gd name="connsiteY2206" fmla="*/ 5039468 h 6479439"/>
              <a:gd name="connsiteX2207" fmla="*/ 4064278 w 9586368"/>
              <a:gd name="connsiteY2207" fmla="*/ 5029597 h 6479439"/>
              <a:gd name="connsiteX2208" fmla="*/ 3828990 w 9586368"/>
              <a:gd name="connsiteY2208" fmla="*/ 5025558 h 6479439"/>
              <a:gd name="connsiteX2209" fmla="*/ 3838899 w 9586368"/>
              <a:gd name="connsiteY2209" fmla="*/ 5025558 h 6479439"/>
              <a:gd name="connsiteX2210" fmla="*/ 3842917 w 9586368"/>
              <a:gd name="connsiteY2210" fmla="*/ 5029597 h 6479439"/>
              <a:gd name="connsiteX2211" fmla="*/ 3842917 w 9586368"/>
              <a:gd name="connsiteY2211" fmla="*/ 5039468 h 6479439"/>
              <a:gd name="connsiteX2212" fmla="*/ 3838899 w 9586368"/>
              <a:gd name="connsiteY2212" fmla="*/ 5043507 h 6479439"/>
              <a:gd name="connsiteX2213" fmla="*/ 3828990 w 9586368"/>
              <a:gd name="connsiteY2213" fmla="*/ 5043507 h 6479439"/>
              <a:gd name="connsiteX2214" fmla="*/ 3824971 w 9586368"/>
              <a:gd name="connsiteY2214" fmla="*/ 5039468 h 6479439"/>
              <a:gd name="connsiteX2215" fmla="*/ 3824971 w 9586368"/>
              <a:gd name="connsiteY2215" fmla="*/ 5029597 h 6479439"/>
              <a:gd name="connsiteX2216" fmla="*/ 3589676 w 9586368"/>
              <a:gd name="connsiteY2216" fmla="*/ 5025558 h 6479439"/>
              <a:gd name="connsiteX2217" fmla="*/ 3599585 w 9586368"/>
              <a:gd name="connsiteY2217" fmla="*/ 5025558 h 6479439"/>
              <a:gd name="connsiteX2218" fmla="*/ 3603604 w 9586368"/>
              <a:gd name="connsiteY2218" fmla="*/ 5029597 h 6479439"/>
              <a:gd name="connsiteX2219" fmla="*/ 3603604 w 9586368"/>
              <a:gd name="connsiteY2219" fmla="*/ 5039468 h 6479439"/>
              <a:gd name="connsiteX2220" fmla="*/ 3599585 w 9586368"/>
              <a:gd name="connsiteY2220" fmla="*/ 5043507 h 6479439"/>
              <a:gd name="connsiteX2221" fmla="*/ 3589676 w 9586368"/>
              <a:gd name="connsiteY2221" fmla="*/ 5043507 h 6479439"/>
              <a:gd name="connsiteX2222" fmla="*/ 3585657 w 9586368"/>
              <a:gd name="connsiteY2222" fmla="*/ 5039468 h 6479439"/>
              <a:gd name="connsiteX2223" fmla="*/ 3585657 w 9586368"/>
              <a:gd name="connsiteY2223" fmla="*/ 5029597 h 6479439"/>
              <a:gd name="connsiteX2224" fmla="*/ 3350359 w 9586368"/>
              <a:gd name="connsiteY2224" fmla="*/ 5025558 h 6479439"/>
              <a:gd name="connsiteX2225" fmla="*/ 3360268 w 9586368"/>
              <a:gd name="connsiteY2225" fmla="*/ 5025558 h 6479439"/>
              <a:gd name="connsiteX2226" fmla="*/ 3364287 w 9586368"/>
              <a:gd name="connsiteY2226" fmla="*/ 5029597 h 6479439"/>
              <a:gd name="connsiteX2227" fmla="*/ 3364287 w 9586368"/>
              <a:gd name="connsiteY2227" fmla="*/ 5039468 h 6479439"/>
              <a:gd name="connsiteX2228" fmla="*/ 3360268 w 9586368"/>
              <a:gd name="connsiteY2228" fmla="*/ 5043507 h 6479439"/>
              <a:gd name="connsiteX2229" fmla="*/ 3350359 w 9586368"/>
              <a:gd name="connsiteY2229" fmla="*/ 5043507 h 6479439"/>
              <a:gd name="connsiteX2230" fmla="*/ 3346340 w 9586368"/>
              <a:gd name="connsiteY2230" fmla="*/ 5039468 h 6479439"/>
              <a:gd name="connsiteX2231" fmla="*/ 3346340 w 9586368"/>
              <a:gd name="connsiteY2231" fmla="*/ 5029597 h 6479439"/>
              <a:gd name="connsiteX2232" fmla="*/ 3111048 w 9586368"/>
              <a:gd name="connsiteY2232" fmla="*/ 5025558 h 6479439"/>
              <a:gd name="connsiteX2233" fmla="*/ 3120959 w 9586368"/>
              <a:gd name="connsiteY2233" fmla="*/ 5025558 h 6479439"/>
              <a:gd name="connsiteX2234" fmla="*/ 3124977 w 9586368"/>
              <a:gd name="connsiteY2234" fmla="*/ 5029597 h 6479439"/>
              <a:gd name="connsiteX2235" fmla="*/ 3124977 w 9586368"/>
              <a:gd name="connsiteY2235" fmla="*/ 5039468 h 6479439"/>
              <a:gd name="connsiteX2236" fmla="*/ 3120959 w 9586368"/>
              <a:gd name="connsiteY2236" fmla="*/ 5043507 h 6479439"/>
              <a:gd name="connsiteX2237" fmla="*/ 3111048 w 9586368"/>
              <a:gd name="connsiteY2237" fmla="*/ 5043507 h 6479439"/>
              <a:gd name="connsiteX2238" fmla="*/ 3107029 w 9586368"/>
              <a:gd name="connsiteY2238" fmla="*/ 5039468 h 6479439"/>
              <a:gd name="connsiteX2239" fmla="*/ 3107029 w 9586368"/>
              <a:gd name="connsiteY2239" fmla="*/ 5029597 h 6479439"/>
              <a:gd name="connsiteX2240" fmla="*/ 2871737 w 9586368"/>
              <a:gd name="connsiteY2240" fmla="*/ 5025558 h 6479439"/>
              <a:gd name="connsiteX2241" fmla="*/ 2881646 w 9586368"/>
              <a:gd name="connsiteY2241" fmla="*/ 5025558 h 6479439"/>
              <a:gd name="connsiteX2242" fmla="*/ 2885666 w 9586368"/>
              <a:gd name="connsiteY2242" fmla="*/ 5029597 h 6479439"/>
              <a:gd name="connsiteX2243" fmla="*/ 2885666 w 9586368"/>
              <a:gd name="connsiteY2243" fmla="*/ 5039468 h 6479439"/>
              <a:gd name="connsiteX2244" fmla="*/ 2881646 w 9586368"/>
              <a:gd name="connsiteY2244" fmla="*/ 5043507 h 6479439"/>
              <a:gd name="connsiteX2245" fmla="*/ 2871737 w 9586368"/>
              <a:gd name="connsiteY2245" fmla="*/ 5043507 h 6479439"/>
              <a:gd name="connsiteX2246" fmla="*/ 2867717 w 9586368"/>
              <a:gd name="connsiteY2246" fmla="*/ 5039468 h 6479439"/>
              <a:gd name="connsiteX2247" fmla="*/ 2867717 w 9586368"/>
              <a:gd name="connsiteY2247" fmla="*/ 5029597 h 6479439"/>
              <a:gd name="connsiteX2248" fmla="*/ 2632423 w 9586368"/>
              <a:gd name="connsiteY2248" fmla="*/ 5025558 h 6479439"/>
              <a:gd name="connsiteX2249" fmla="*/ 2642334 w 9586368"/>
              <a:gd name="connsiteY2249" fmla="*/ 5025558 h 6479439"/>
              <a:gd name="connsiteX2250" fmla="*/ 2646352 w 9586368"/>
              <a:gd name="connsiteY2250" fmla="*/ 5029597 h 6479439"/>
              <a:gd name="connsiteX2251" fmla="*/ 2646352 w 9586368"/>
              <a:gd name="connsiteY2251" fmla="*/ 5039468 h 6479439"/>
              <a:gd name="connsiteX2252" fmla="*/ 2642334 w 9586368"/>
              <a:gd name="connsiteY2252" fmla="*/ 5043507 h 6479439"/>
              <a:gd name="connsiteX2253" fmla="*/ 2632423 w 9586368"/>
              <a:gd name="connsiteY2253" fmla="*/ 5043507 h 6479439"/>
              <a:gd name="connsiteX2254" fmla="*/ 2628404 w 9586368"/>
              <a:gd name="connsiteY2254" fmla="*/ 5039468 h 6479439"/>
              <a:gd name="connsiteX2255" fmla="*/ 2628404 w 9586368"/>
              <a:gd name="connsiteY2255" fmla="*/ 5029597 h 6479439"/>
              <a:gd name="connsiteX2256" fmla="*/ 2393104 w 9586368"/>
              <a:gd name="connsiteY2256" fmla="*/ 5025558 h 6479439"/>
              <a:gd name="connsiteX2257" fmla="*/ 2403015 w 9586368"/>
              <a:gd name="connsiteY2257" fmla="*/ 5025558 h 6479439"/>
              <a:gd name="connsiteX2258" fmla="*/ 2407034 w 9586368"/>
              <a:gd name="connsiteY2258" fmla="*/ 5029597 h 6479439"/>
              <a:gd name="connsiteX2259" fmla="*/ 2407034 w 9586368"/>
              <a:gd name="connsiteY2259" fmla="*/ 5039468 h 6479439"/>
              <a:gd name="connsiteX2260" fmla="*/ 2403015 w 9586368"/>
              <a:gd name="connsiteY2260" fmla="*/ 5043507 h 6479439"/>
              <a:gd name="connsiteX2261" fmla="*/ 2393104 w 9586368"/>
              <a:gd name="connsiteY2261" fmla="*/ 5043507 h 6479439"/>
              <a:gd name="connsiteX2262" fmla="*/ 2389087 w 9586368"/>
              <a:gd name="connsiteY2262" fmla="*/ 5039468 h 6479439"/>
              <a:gd name="connsiteX2263" fmla="*/ 2389087 w 9586368"/>
              <a:gd name="connsiteY2263" fmla="*/ 5029597 h 6479439"/>
              <a:gd name="connsiteX2264" fmla="*/ 721962 w 9586368"/>
              <a:gd name="connsiteY2264" fmla="*/ 5025558 h 6479439"/>
              <a:gd name="connsiteX2265" fmla="*/ 731872 w 9586368"/>
              <a:gd name="connsiteY2265" fmla="*/ 5025558 h 6479439"/>
              <a:gd name="connsiteX2266" fmla="*/ 735891 w 9586368"/>
              <a:gd name="connsiteY2266" fmla="*/ 5029597 h 6479439"/>
              <a:gd name="connsiteX2267" fmla="*/ 735891 w 9586368"/>
              <a:gd name="connsiteY2267" fmla="*/ 5039468 h 6479439"/>
              <a:gd name="connsiteX2268" fmla="*/ 731872 w 9586368"/>
              <a:gd name="connsiteY2268" fmla="*/ 5043507 h 6479439"/>
              <a:gd name="connsiteX2269" fmla="*/ 721962 w 9586368"/>
              <a:gd name="connsiteY2269" fmla="*/ 5043507 h 6479439"/>
              <a:gd name="connsiteX2270" fmla="*/ 717944 w 9586368"/>
              <a:gd name="connsiteY2270" fmla="*/ 5039468 h 6479439"/>
              <a:gd name="connsiteX2271" fmla="*/ 717944 w 9586368"/>
              <a:gd name="connsiteY2271" fmla="*/ 5029597 h 6479439"/>
              <a:gd name="connsiteX2272" fmla="*/ 482650 w 9586368"/>
              <a:gd name="connsiteY2272" fmla="*/ 5025558 h 6479439"/>
              <a:gd name="connsiteX2273" fmla="*/ 492560 w 9586368"/>
              <a:gd name="connsiteY2273" fmla="*/ 5025558 h 6479439"/>
              <a:gd name="connsiteX2274" fmla="*/ 496580 w 9586368"/>
              <a:gd name="connsiteY2274" fmla="*/ 5029597 h 6479439"/>
              <a:gd name="connsiteX2275" fmla="*/ 496580 w 9586368"/>
              <a:gd name="connsiteY2275" fmla="*/ 5039468 h 6479439"/>
              <a:gd name="connsiteX2276" fmla="*/ 492560 w 9586368"/>
              <a:gd name="connsiteY2276" fmla="*/ 5043507 h 6479439"/>
              <a:gd name="connsiteX2277" fmla="*/ 482650 w 9586368"/>
              <a:gd name="connsiteY2277" fmla="*/ 5043507 h 6479439"/>
              <a:gd name="connsiteX2278" fmla="*/ 478631 w 9586368"/>
              <a:gd name="connsiteY2278" fmla="*/ 5039468 h 6479439"/>
              <a:gd name="connsiteX2279" fmla="*/ 478631 w 9586368"/>
              <a:gd name="connsiteY2279" fmla="*/ 5029597 h 6479439"/>
              <a:gd name="connsiteX2280" fmla="*/ 243336 w 9586368"/>
              <a:gd name="connsiteY2280" fmla="*/ 5025558 h 6479439"/>
              <a:gd name="connsiteX2281" fmla="*/ 253247 w 9586368"/>
              <a:gd name="connsiteY2281" fmla="*/ 5025558 h 6479439"/>
              <a:gd name="connsiteX2282" fmla="*/ 257266 w 9586368"/>
              <a:gd name="connsiteY2282" fmla="*/ 5029597 h 6479439"/>
              <a:gd name="connsiteX2283" fmla="*/ 257266 w 9586368"/>
              <a:gd name="connsiteY2283" fmla="*/ 5039468 h 6479439"/>
              <a:gd name="connsiteX2284" fmla="*/ 253247 w 9586368"/>
              <a:gd name="connsiteY2284" fmla="*/ 5043507 h 6479439"/>
              <a:gd name="connsiteX2285" fmla="*/ 243336 w 9586368"/>
              <a:gd name="connsiteY2285" fmla="*/ 5043507 h 6479439"/>
              <a:gd name="connsiteX2286" fmla="*/ 239317 w 9586368"/>
              <a:gd name="connsiteY2286" fmla="*/ 5039468 h 6479439"/>
              <a:gd name="connsiteX2287" fmla="*/ 239317 w 9586368"/>
              <a:gd name="connsiteY2287" fmla="*/ 5029597 h 6479439"/>
              <a:gd name="connsiteX2288" fmla="*/ 4024 w 9586368"/>
              <a:gd name="connsiteY2288" fmla="*/ 5025558 h 6479439"/>
              <a:gd name="connsiteX2289" fmla="*/ 13933 w 9586368"/>
              <a:gd name="connsiteY2289" fmla="*/ 5025558 h 6479439"/>
              <a:gd name="connsiteX2290" fmla="*/ 17952 w 9586368"/>
              <a:gd name="connsiteY2290" fmla="*/ 5029597 h 6479439"/>
              <a:gd name="connsiteX2291" fmla="*/ 17952 w 9586368"/>
              <a:gd name="connsiteY2291" fmla="*/ 5039468 h 6479439"/>
              <a:gd name="connsiteX2292" fmla="*/ 13933 w 9586368"/>
              <a:gd name="connsiteY2292" fmla="*/ 5043507 h 6479439"/>
              <a:gd name="connsiteX2293" fmla="*/ 4024 w 9586368"/>
              <a:gd name="connsiteY2293" fmla="*/ 5043507 h 6479439"/>
              <a:gd name="connsiteX2294" fmla="*/ 4 w 9586368"/>
              <a:gd name="connsiteY2294" fmla="*/ 5039468 h 6479439"/>
              <a:gd name="connsiteX2295" fmla="*/ 4 w 9586368"/>
              <a:gd name="connsiteY2295" fmla="*/ 5029597 h 6479439"/>
              <a:gd name="connsiteX2296" fmla="*/ 9572438 w 9586368"/>
              <a:gd name="connsiteY2296" fmla="*/ 4786279 h 6479439"/>
              <a:gd name="connsiteX2297" fmla="*/ 9582349 w 9586368"/>
              <a:gd name="connsiteY2297" fmla="*/ 4786279 h 6479439"/>
              <a:gd name="connsiteX2298" fmla="*/ 9586368 w 9586368"/>
              <a:gd name="connsiteY2298" fmla="*/ 4790317 h 6479439"/>
              <a:gd name="connsiteX2299" fmla="*/ 9586368 w 9586368"/>
              <a:gd name="connsiteY2299" fmla="*/ 4800188 h 6479439"/>
              <a:gd name="connsiteX2300" fmla="*/ 9582349 w 9586368"/>
              <a:gd name="connsiteY2300" fmla="*/ 4804227 h 6479439"/>
              <a:gd name="connsiteX2301" fmla="*/ 9572438 w 9586368"/>
              <a:gd name="connsiteY2301" fmla="*/ 4804227 h 6479439"/>
              <a:gd name="connsiteX2302" fmla="*/ 9568419 w 9586368"/>
              <a:gd name="connsiteY2302" fmla="*/ 4800188 h 6479439"/>
              <a:gd name="connsiteX2303" fmla="*/ 9568419 w 9586368"/>
              <a:gd name="connsiteY2303" fmla="*/ 4790317 h 6479439"/>
              <a:gd name="connsiteX2304" fmla="*/ 9333125 w 9586368"/>
              <a:gd name="connsiteY2304" fmla="*/ 4786279 h 6479439"/>
              <a:gd name="connsiteX2305" fmla="*/ 9343036 w 9586368"/>
              <a:gd name="connsiteY2305" fmla="*/ 4786279 h 6479439"/>
              <a:gd name="connsiteX2306" fmla="*/ 9347055 w 9586368"/>
              <a:gd name="connsiteY2306" fmla="*/ 4790317 h 6479439"/>
              <a:gd name="connsiteX2307" fmla="*/ 9347055 w 9586368"/>
              <a:gd name="connsiteY2307" fmla="*/ 4800188 h 6479439"/>
              <a:gd name="connsiteX2308" fmla="*/ 9343036 w 9586368"/>
              <a:gd name="connsiteY2308" fmla="*/ 4804227 h 6479439"/>
              <a:gd name="connsiteX2309" fmla="*/ 9333125 w 9586368"/>
              <a:gd name="connsiteY2309" fmla="*/ 4804227 h 6479439"/>
              <a:gd name="connsiteX2310" fmla="*/ 9329106 w 9586368"/>
              <a:gd name="connsiteY2310" fmla="*/ 4800188 h 6479439"/>
              <a:gd name="connsiteX2311" fmla="*/ 9329106 w 9586368"/>
              <a:gd name="connsiteY2311" fmla="*/ 4790317 h 6479439"/>
              <a:gd name="connsiteX2312" fmla="*/ 9093811 w 9586368"/>
              <a:gd name="connsiteY2312" fmla="*/ 4786279 h 6479439"/>
              <a:gd name="connsiteX2313" fmla="*/ 9103722 w 9586368"/>
              <a:gd name="connsiteY2313" fmla="*/ 4786279 h 6479439"/>
              <a:gd name="connsiteX2314" fmla="*/ 9107741 w 9586368"/>
              <a:gd name="connsiteY2314" fmla="*/ 4790317 h 6479439"/>
              <a:gd name="connsiteX2315" fmla="*/ 9107741 w 9586368"/>
              <a:gd name="connsiteY2315" fmla="*/ 4800188 h 6479439"/>
              <a:gd name="connsiteX2316" fmla="*/ 9103722 w 9586368"/>
              <a:gd name="connsiteY2316" fmla="*/ 4804227 h 6479439"/>
              <a:gd name="connsiteX2317" fmla="*/ 9093811 w 9586368"/>
              <a:gd name="connsiteY2317" fmla="*/ 4804227 h 6479439"/>
              <a:gd name="connsiteX2318" fmla="*/ 9089792 w 9586368"/>
              <a:gd name="connsiteY2318" fmla="*/ 4800188 h 6479439"/>
              <a:gd name="connsiteX2319" fmla="*/ 9089792 w 9586368"/>
              <a:gd name="connsiteY2319" fmla="*/ 4790317 h 6479439"/>
              <a:gd name="connsiteX2320" fmla="*/ 8854496 w 9586368"/>
              <a:gd name="connsiteY2320" fmla="*/ 4786279 h 6479439"/>
              <a:gd name="connsiteX2321" fmla="*/ 8864407 w 9586368"/>
              <a:gd name="connsiteY2321" fmla="*/ 4786279 h 6479439"/>
              <a:gd name="connsiteX2322" fmla="*/ 8868426 w 9586368"/>
              <a:gd name="connsiteY2322" fmla="*/ 4790317 h 6479439"/>
              <a:gd name="connsiteX2323" fmla="*/ 8868426 w 9586368"/>
              <a:gd name="connsiteY2323" fmla="*/ 4800188 h 6479439"/>
              <a:gd name="connsiteX2324" fmla="*/ 8864407 w 9586368"/>
              <a:gd name="connsiteY2324" fmla="*/ 4804227 h 6479439"/>
              <a:gd name="connsiteX2325" fmla="*/ 8854496 w 9586368"/>
              <a:gd name="connsiteY2325" fmla="*/ 4804227 h 6479439"/>
              <a:gd name="connsiteX2326" fmla="*/ 8850477 w 9586368"/>
              <a:gd name="connsiteY2326" fmla="*/ 4800188 h 6479439"/>
              <a:gd name="connsiteX2327" fmla="*/ 8850477 w 9586368"/>
              <a:gd name="connsiteY2327" fmla="*/ 4790317 h 6479439"/>
              <a:gd name="connsiteX2328" fmla="*/ 8615184 w 9586368"/>
              <a:gd name="connsiteY2328" fmla="*/ 4786279 h 6479439"/>
              <a:gd name="connsiteX2329" fmla="*/ 8625095 w 9586368"/>
              <a:gd name="connsiteY2329" fmla="*/ 4786279 h 6479439"/>
              <a:gd name="connsiteX2330" fmla="*/ 8629114 w 9586368"/>
              <a:gd name="connsiteY2330" fmla="*/ 4790317 h 6479439"/>
              <a:gd name="connsiteX2331" fmla="*/ 8629114 w 9586368"/>
              <a:gd name="connsiteY2331" fmla="*/ 4800188 h 6479439"/>
              <a:gd name="connsiteX2332" fmla="*/ 8625095 w 9586368"/>
              <a:gd name="connsiteY2332" fmla="*/ 4804227 h 6479439"/>
              <a:gd name="connsiteX2333" fmla="*/ 8615184 w 9586368"/>
              <a:gd name="connsiteY2333" fmla="*/ 4804227 h 6479439"/>
              <a:gd name="connsiteX2334" fmla="*/ 8611165 w 9586368"/>
              <a:gd name="connsiteY2334" fmla="*/ 4800188 h 6479439"/>
              <a:gd name="connsiteX2335" fmla="*/ 8611165 w 9586368"/>
              <a:gd name="connsiteY2335" fmla="*/ 4790317 h 6479439"/>
              <a:gd name="connsiteX2336" fmla="*/ 8375869 w 9586368"/>
              <a:gd name="connsiteY2336" fmla="*/ 4786279 h 6479439"/>
              <a:gd name="connsiteX2337" fmla="*/ 8385779 w 9586368"/>
              <a:gd name="connsiteY2337" fmla="*/ 4786279 h 6479439"/>
              <a:gd name="connsiteX2338" fmla="*/ 8389799 w 9586368"/>
              <a:gd name="connsiteY2338" fmla="*/ 4790317 h 6479439"/>
              <a:gd name="connsiteX2339" fmla="*/ 8389799 w 9586368"/>
              <a:gd name="connsiteY2339" fmla="*/ 4800188 h 6479439"/>
              <a:gd name="connsiteX2340" fmla="*/ 8385779 w 9586368"/>
              <a:gd name="connsiteY2340" fmla="*/ 4804227 h 6479439"/>
              <a:gd name="connsiteX2341" fmla="*/ 8375869 w 9586368"/>
              <a:gd name="connsiteY2341" fmla="*/ 4804227 h 6479439"/>
              <a:gd name="connsiteX2342" fmla="*/ 8371850 w 9586368"/>
              <a:gd name="connsiteY2342" fmla="*/ 4800188 h 6479439"/>
              <a:gd name="connsiteX2343" fmla="*/ 8371850 w 9586368"/>
              <a:gd name="connsiteY2343" fmla="*/ 4790317 h 6479439"/>
              <a:gd name="connsiteX2344" fmla="*/ 8136553 w 9586368"/>
              <a:gd name="connsiteY2344" fmla="*/ 4786279 h 6479439"/>
              <a:gd name="connsiteX2345" fmla="*/ 8146464 w 9586368"/>
              <a:gd name="connsiteY2345" fmla="*/ 4786279 h 6479439"/>
              <a:gd name="connsiteX2346" fmla="*/ 8150483 w 9586368"/>
              <a:gd name="connsiteY2346" fmla="*/ 4790317 h 6479439"/>
              <a:gd name="connsiteX2347" fmla="*/ 8150483 w 9586368"/>
              <a:gd name="connsiteY2347" fmla="*/ 4800188 h 6479439"/>
              <a:gd name="connsiteX2348" fmla="*/ 8146464 w 9586368"/>
              <a:gd name="connsiteY2348" fmla="*/ 4804227 h 6479439"/>
              <a:gd name="connsiteX2349" fmla="*/ 8136553 w 9586368"/>
              <a:gd name="connsiteY2349" fmla="*/ 4804227 h 6479439"/>
              <a:gd name="connsiteX2350" fmla="*/ 8132534 w 9586368"/>
              <a:gd name="connsiteY2350" fmla="*/ 4800188 h 6479439"/>
              <a:gd name="connsiteX2351" fmla="*/ 8132534 w 9586368"/>
              <a:gd name="connsiteY2351" fmla="*/ 4790317 h 6479439"/>
              <a:gd name="connsiteX2352" fmla="*/ 7897241 w 9586368"/>
              <a:gd name="connsiteY2352" fmla="*/ 4786279 h 6479439"/>
              <a:gd name="connsiteX2353" fmla="*/ 7907151 w 9586368"/>
              <a:gd name="connsiteY2353" fmla="*/ 4786279 h 6479439"/>
              <a:gd name="connsiteX2354" fmla="*/ 7911170 w 9586368"/>
              <a:gd name="connsiteY2354" fmla="*/ 4790317 h 6479439"/>
              <a:gd name="connsiteX2355" fmla="*/ 7911170 w 9586368"/>
              <a:gd name="connsiteY2355" fmla="*/ 4800188 h 6479439"/>
              <a:gd name="connsiteX2356" fmla="*/ 7907151 w 9586368"/>
              <a:gd name="connsiteY2356" fmla="*/ 4804227 h 6479439"/>
              <a:gd name="connsiteX2357" fmla="*/ 7897241 w 9586368"/>
              <a:gd name="connsiteY2357" fmla="*/ 4804227 h 6479439"/>
              <a:gd name="connsiteX2358" fmla="*/ 7893222 w 9586368"/>
              <a:gd name="connsiteY2358" fmla="*/ 4800188 h 6479439"/>
              <a:gd name="connsiteX2359" fmla="*/ 7893222 w 9586368"/>
              <a:gd name="connsiteY2359" fmla="*/ 4790317 h 6479439"/>
              <a:gd name="connsiteX2360" fmla="*/ 7657926 w 9586368"/>
              <a:gd name="connsiteY2360" fmla="*/ 4786279 h 6479439"/>
              <a:gd name="connsiteX2361" fmla="*/ 7667836 w 9586368"/>
              <a:gd name="connsiteY2361" fmla="*/ 4786279 h 6479439"/>
              <a:gd name="connsiteX2362" fmla="*/ 7671855 w 9586368"/>
              <a:gd name="connsiteY2362" fmla="*/ 4790317 h 6479439"/>
              <a:gd name="connsiteX2363" fmla="*/ 7671855 w 9586368"/>
              <a:gd name="connsiteY2363" fmla="*/ 4800188 h 6479439"/>
              <a:gd name="connsiteX2364" fmla="*/ 7667836 w 9586368"/>
              <a:gd name="connsiteY2364" fmla="*/ 4804227 h 6479439"/>
              <a:gd name="connsiteX2365" fmla="*/ 7657926 w 9586368"/>
              <a:gd name="connsiteY2365" fmla="*/ 4804227 h 6479439"/>
              <a:gd name="connsiteX2366" fmla="*/ 7653906 w 9586368"/>
              <a:gd name="connsiteY2366" fmla="*/ 4800188 h 6479439"/>
              <a:gd name="connsiteX2367" fmla="*/ 7653906 w 9586368"/>
              <a:gd name="connsiteY2367" fmla="*/ 4790317 h 6479439"/>
              <a:gd name="connsiteX2368" fmla="*/ 7418611 w 9586368"/>
              <a:gd name="connsiteY2368" fmla="*/ 4786279 h 6479439"/>
              <a:gd name="connsiteX2369" fmla="*/ 7428521 w 9586368"/>
              <a:gd name="connsiteY2369" fmla="*/ 4786279 h 6479439"/>
              <a:gd name="connsiteX2370" fmla="*/ 7432540 w 9586368"/>
              <a:gd name="connsiteY2370" fmla="*/ 4790317 h 6479439"/>
              <a:gd name="connsiteX2371" fmla="*/ 7432540 w 9586368"/>
              <a:gd name="connsiteY2371" fmla="*/ 4800188 h 6479439"/>
              <a:gd name="connsiteX2372" fmla="*/ 7428521 w 9586368"/>
              <a:gd name="connsiteY2372" fmla="*/ 4804227 h 6479439"/>
              <a:gd name="connsiteX2373" fmla="*/ 7418611 w 9586368"/>
              <a:gd name="connsiteY2373" fmla="*/ 4804227 h 6479439"/>
              <a:gd name="connsiteX2374" fmla="*/ 7414592 w 9586368"/>
              <a:gd name="connsiteY2374" fmla="*/ 4800188 h 6479439"/>
              <a:gd name="connsiteX2375" fmla="*/ 7414592 w 9586368"/>
              <a:gd name="connsiteY2375" fmla="*/ 4790317 h 6479439"/>
              <a:gd name="connsiteX2376" fmla="*/ 7179298 w 9586368"/>
              <a:gd name="connsiteY2376" fmla="*/ 4786279 h 6479439"/>
              <a:gd name="connsiteX2377" fmla="*/ 7189209 w 9586368"/>
              <a:gd name="connsiteY2377" fmla="*/ 4786279 h 6479439"/>
              <a:gd name="connsiteX2378" fmla="*/ 7193228 w 9586368"/>
              <a:gd name="connsiteY2378" fmla="*/ 4790317 h 6479439"/>
              <a:gd name="connsiteX2379" fmla="*/ 7193228 w 9586368"/>
              <a:gd name="connsiteY2379" fmla="*/ 4800188 h 6479439"/>
              <a:gd name="connsiteX2380" fmla="*/ 7189209 w 9586368"/>
              <a:gd name="connsiteY2380" fmla="*/ 4804227 h 6479439"/>
              <a:gd name="connsiteX2381" fmla="*/ 7179298 w 9586368"/>
              <a:gd name="connsiteY2381" fmla="*/ 4804227 h 6479439"/>
              <a:gd name="connsiteX2382" fmla="*/ 7175279 w 9586368"/>
              <a:gd name="connsiteY2382" fmla="*/ 4800188 h 6479439"/>
              <a:gd name="connsiteX2383" fmla="*/ 7175279 w 9586368"/>
              <a:gd name="connsiteY2383" fmla="*/ 4790317 h 6479439"/>
              <a:gd name="connsiteX2384" fmla="*/ 6939983 w 9586368"/>
              <a:gd name="connsiteY2384" fmla="*/ 4786279 h 6479439"/>
              <a:gd name="connsiteX2385" fmla="*/ 6949894 w 9586368"/>
              <a:gd name="connsiteY2385" fmla="*/ 4786279 h 6479439"/>
              <a:gd name="connsiteX2386" fmla="*/ 6953913 w 9586368"/>
              <a:gd name="connsiteY2386" fmla="*/ 4790317 h 6479439"/>
              <a:gd name="connsiteX2387" fmla="*/ 6953913 w 9586368"/>
              <a:gd name="connsiteY2387" fmla="*/ 4800188 h 6479439"/>
              <a:gd name="connsiteX2388" fmla="*/ 6949894 w 9586368"/>
              <a:gd name="connsiteY2388" fmla="*/ 4804227 h 6479439"/>
              <a:gd name="connsiteX2389" fmla="*/ 6939983 w 9586368"/>
              <a:gd name="connsiteY2389" fmla="*/ 4804227 h 6479439"/>
              <a:gd name="connsiteX2390" fmla="*/ 6935964 w 9586368"/>
              <a:gd name="connsiteY2390" fmla="*/ 4800188 h 6479439"/>
              <a:gd name="connsiteX2391" fmla="*/ 6935964 w 9586368"/>
              <a:gd name="connsiteY2391" fmla="*/ 4790317 h 6479439"/>
              <a:gd name="connsiteX2392" fmla="*/ 6700670 w 9586368"/>
              <a:gd name="connsiteY2392" fmla="*/ 4786279 h 6479439"/>
              <a:gd name="connsiteX2393" fmla="*/ 6710581 w 9586368"/>
              <a:gd name="connsiteY2393" fmla="*/ 4786279 h 6479439"/>
              <a:gd name="connsiteX2394" fmla="*/ 6714600 w 9586368"/>
              <a:gd name="connsiteY2394" fmla="*/ 4790317 h 6479439"/>
              <a:gd name="connsiteX2395" fmla="*/ 6714600 w 9586368"/>
              <a:gd name="connsiteY2395" fmla="*/ 4800188 h 6479439"/>
              <a:gd name="connsiteX2396" fmla="*/ 6710581 w 9586368"/>
              <a:gd name="connsiteY2396" fmla="*/ 4804227 h 6479439"/>
              <a:gd name="connsiteX2397" fmla="*/ 6700670 w 9586368"/>
              <a:gd name="connsiteY2397" fmla="*/ 4804227 h 6479439"/>
              <a:gd name="connsiteX2398" fmla="*/ 6696651 w 9586368"/>
              <a:gd name="connsiteY2398" fmla="*/ 4800188 h 6479439"/>
              <a:gd name="connsiteX2399" fmla="*/ 6696651 w 9586368"/>
              <a:gd name="connsiteY2399" fmla="*/ 4790317 h 6479439"/>
              <a:gd name="connsiteX2400" fmla="*/ 6461356 w 9586368"/>
              <a:gd name="connsiteY2400" fmla="*/ 4786279 h 6479439"/>
              <a:gd name="connsiteX2401" fmla="*/ 6471266 w 9586368"/>
              <a:gd name="connsiteY2401" fmla="*/ 4786279 h 6479439"/>
              <a:gd name="connsiteX2402" fmla="*/ 6475285 w 9586368"/>
              <a:gd name="connsiteY2402" fmla="*/ 4790317 h 6479439"/>
              <a:gd name="connsiteX2403" fmla="*/ 6475285 w 9586368"/>
              <a:gd name="connsiteY2403" fmla="*/ 4800188 h 6479439"/>
              <a:gd name="connsiteX2404" fmla="*/ 6471266 w 9586368"/>
              <a:gd name="connsiteY2404" fmla="*/ 4804227 h 6479439"/>
              <a:gd name="connsiteX2405" fmla="*/ 6461356 w 9586368"/>
              <a:gd name="connsiteY2405" fmla="*/ 4804227 h 6479439"/>
              <a:gd name="connsiteX2406" fmla="*/ 6457337 w 9586368"/>
              <a:gd name="connsiteY2406" fmla="*/ 4800188 h 6479439"/>
              <a:gd name="connsiteX2407" fmla="*/ 6457337 w 9586368"/>
              <a:gd name="connsiteY2407" fmla="*/ 4790317 h 6479439"/>
              <a:gd name="connsiteX2408" fmla="*/ 6222042 w 9586368"/>
              <a:gd name="connsiteY2408" fmla="*/ 4786279 h 6479439"/>
              <a:gd name="connsiteX2409" fmla="*/ 6231952 w 9586368"/>
              <a:gd name="connsiteY2409" fmla="*/ 4786279 h 6479439"/>
              <a:gd name="connsiteX2410" fmla="*/ 6235971 w 9586368"/>
              <a:gd name="connsiteY2410" fmla="*/ 4790317 h 6479439"/>
              <a:gd name="connsiteX2411" fmla="*/ 6235971 w 9586368"/>
              <a:gd name="connsiteY2411" fmla="*/ 4800188 h 6479439"/>
              <a:gd name="connsiteX2412" fmla="*/ 6231952 w 9586368"/>
              <a:gd name="connsiteY2412" fmla="*/ 4804227 h 6479439"/>
              <a:gd name="connsiteX2413" fmla="*/ 6222042 w 9586368"/>
              <a:gd name="connsiteY2413" fmla="*/ 4804227 h 6479439"/>
              <a:gd name="connsiteX2414" fmla="*/ 6218023 w 9586368"/>
              <a:gd name="connsiteY2414" fmla="*/ 4800188 h 6479439"/>
              <a:gd name="connsiteX2415" fmla="*/ 6218023 w 9586368"/>
              <a:gd name="connsiteY2415" fmla="*/ 4790317 h 6479439"/>
              <a:gd name="connsiteX2416" fmla="*/ 5982729 w 9586368"/>
              <a:gd name="connsiteY2416" fmla="*/ 4786279 h 6479439"/>
              <a:gd name="connsiteX2417" fmla="*/ 5992639 w 9586368"/>
              <a:gd name="connsiteY2417" fmla="*/ 4786279 h 6479439"/>
              <a:gd name="connsiteX2418" fmla="*/ 5996658 w 9586368"/>
              <a:gd name="connsiteY2418" fmla="*/ 4790317 h 6479439"/>
              <a:gd name="connsiteX2419" fmla="*/ 5996658 w 9586368"/>
              <a:gd name="connsiteY2419" fmla="*/ 4800188 h 6479439"/>
              <a:gd name="connsiteX2420" fmla="*/ 5992639 w 9586368"/>
              <a:gd name="connsiteY2420" fmla="*/ 4804227 h 6479439"/>
              <a:gd name="connsiteX2421" fmla="*/ 5982729 w 9586368"/>
              <a:gd name="connsiteY2421" fmla="*/ 4804227 h 6479439"/>
              <a:gd name="connsiteX2422" fmla="*/ 5978710 w 9586368"/>
              <a:gd name="connsiteY2422" fmla="*/ 4800188 h 6479439"/>
              <a:gd name="connsiteX2423" fmla="*/ 5978710 w 9586368"/>
              <a:gd name="connsiteY2423" fmla="*/ 4790317 h 6479439"/>
              <a:gd name="connsiteX2424" fmla="*/ 5743412 w 9586368"/>
              <a:gd name="connsiteY2424" fmla="*/ 4786279 h 6479439"/>
              <a:gd name="connsiteX2425" fmla="*/ 5753323 w 9586368"/>
              <a:gd name="connsiteY2425" fmla="*/ 4786279 h 6479439"/>
              <a:gd name="connsiteX2426" fmla="*/ 5757342 w 9586368"/>
              <a:gd name="connsiteY2426" fmla="*/ 4790317 h 6479439"/>
              <a:gd name="connsiteX2427" fmla="*/ 5757342 w 9586368"/>
              <a:gd name="connsiteY2427" fmla="*/ 4800188 h 6479439"/>
              <a:gd name="connsiteX2428" fmla="*/ 5753323 w 9586368"/>
              <a:gd name="connsiteY2428" fmla="*/ 4804227 h 6479439"/>
              <a:gd name="connsiteX2429" fmla="*/ 5743412 w 9586368"/>
              <a:gd name="connsiteY2429" fmla="*/ 4804227 h 6479439"/>
              <a:gd name="connsiteX2430" fmla="*/ 5739393 w 9586368"/>
              <a:gd name="connsiteY2430" fmla="*/ 4800188 h 6479439"/>
              <a:gd name="connsiteX2431" fmla="*/ 5739393 w 9586368"/>
              <a:gd name="connsiteY2431" fmla="*/ 4790317 h 6479439"/>
              <a:gd name="connsiteX2432" fmla="*/ 5504099 w 9586368"/>
              <a:gd name="connsiteY2432" fmla="*/ 4786279 h 6479439"/>
              <a:gd name="connsiteX2433" fmla="*/ 5514010 w 9586368"/>
              <a:gd name="connsiteY2433" fmla="*/ 4786279 h 6479439"/>
              <a:gd name="connsiteX2434" fmla="*/ 5518029 w 9586368"/>
              <a:gd name="connsiteY2434" fmla="*/ 4790317 h 6479439"/>
              <a:gd name="connsiteX2435" fmla="*/ 5518029 w 9586368"/>
              <a:gd name="connsiteY2435" fmla="*/ 4800188 h 6479439"/>
              <a:gd name="connsiteX2436" fmla="*/ 5514010 w 9586368"/>
              <a:gd name="connsiteY2436" fmla="*/ 4804227 h 6479439"/>
              <a:gd name="connsiteX2437" fmla="*/ 5504099 w 9586368"/>
              <a:gd name="connsiteY2437" fmla="*/ 4804227 h 6479439"/>
              <a:gd name="connsiteX2438" fmla="*/ 5500080 w 9586368"/>
              <a:gd name="connsiteY2438" fmla="*/ 4800188 h 6479439"/>
              <a:gd name="connsiteX2439" fmla="*/ 5500080 w 9586368"/>
              <a:gd name="connsiteY2439" fmla="*/ 4790317 h 6479439"/>
              <a:gd name="connsiteX2440" fmla="*/ 5264784 w 9586368"/>
              <a:gd name="connsiteY2440" fmla="*/ 4786279 h 6479439"/>
              <a:gd name="connsiteX2441" fmla="*/ 5274694 w 9586368"/>
              <a:gd name="connsiteY2441" fmla="*/ 4786279 h 6479439"/>
              <a:gd name="connsiteX2442" fmla="*/ 5278713 w 9586368"/>
              <a:gd name="connsiteY2442" fmla="*/ 4790317 h 6479439"/>
              <a:gd name="connsiteX2443" fmla="*/ 5278713 w 9586368"/>
              <a:gd name="connsiteY2443" fmla="*/ 4800188 h 6479439"/>
              <a:gd name="connsiteX2444" fmla="*/ 5274694 w 9586368"/>
              <a:gd name="connsiteY2444" fmla="*/ 4804227 h 6479439"/>
              <a:gd name="connsiteX2445" fmla="*/ 5264784 w 9586368"/>
              <a:gd name="connsiteY2445" fmla="*/ 4804227 h 6479439"/>
              <a:gd name="connsiteX2446" fmla="*/ 5260765 w 9586368"/>
              <a:gd name="connsiteY2446" fmla="*/ 4800188 h 6479439"/>
              <a:gd name="connsiteX2447" fmla="*/ 5260765 w 9586368"/>
              <a:gd name="connsiteY2447" fmla="*/ 4790317 h 6479439"/>
              <a:gd name="connsiteX2448" fmla="*/ 5025470 w 9586368"/>
              <a:gd name="connsiteY2448" fmla="*/ 4786279 h 6479439"/>
              <a:gd name="connsiteX2449" fmla="*/ 5035381 w 9586368"/>
              <a:gd name="connsiteY2449" fmla="*/ 4786279 h 6479439"/>
              <a:gd name="connsiteX2450" fmla="*/ 5039400 w 9586368"/>
              <a:gd name="connsiteY2450" fmla="*/ 4790317 h 6479439"/>
              <a:gd name="connsiteX2451" fmla="*/ 5039400 w 9586368"/>
              <a:gd name="connsiteY2451" fmla="*/ 4800188 h 6479439"/>
              <a:gd name="connsiteX2452" fmla="*/ 5035381 w 9586368"/>
              <a:gd name="connsiteY2452" fmla="*/ 4804227 h 6479439"/>
              <a:gd name="connsiteX2453" fmla="*/ 5025470 w 9586368"/>
              <a:gd name="connsiteY2453" fmla="*/ 4804227 h 6479439"/>
              <a:gd name="connsiteX2454" fmla="*/ 5021451 w 9586368"/>
              <a:gd name="connsiteY2454" fmla="*/ 4800188 h 6479439"/>
              <a:gd name="connsiteX2455" fmla="*/ 5021451 w 9586368"/>
              <a:gd name="connsiteY2455" fmla="*/ 4790317 h 6479439"/>
              <a:gd name="connsiteX2456" fmla="*/ 4786241 w 9586368"/>
              <a:gd name="connsiteY2456" fmla="*/ 4786279 h 6479439"/>
              <a:gd name="connsiteX2457" fmla="*/ 4796152 w 9586368"/>
              <a:gd name="connsiteY2457" fmla="*/ 4786279 h 6479439"/>
              <a:gd name="connsiteX2458" fmla="*/ 4800171 w 9586368"/>
              <a:gd name="connsiteY2458" fmla="*/ 4790317 h 6479439"/>
              <a:gd name="connsiteX2459" fmla="*/ 4800171 w 9586368"/>
              <a:gd name="connsiteY2459" fmla="*/ 4800188 h 6479439"/>
              <a:gd name="connsiteX2460" fmla="*/ 4796152 w 9586368"/>
              <a:gd name="connsiteY2460" fmla="*/ 4804227 h 6479439"/>
              <a:gd name="connsiteX2461" fmla="*/ 4786241 w 9586368"/>
              <a:gd name="connsiteY2461" fmla="*/ 4804227 h 6479439"/>
              <a:gd name="connsiteX2462" fmla="*/ 4782224 w 9586368"/>
              <a:gd name="connsiteY2462" fmla="*/ 4800188 h 6479439"/>
              <a:gd name="connsiteX2463" fmla="*/ 4782224 w 9586368"/>
              <a:gd name="connsiteY2463" fmla="*/ 4790317 h 6479439"/>
              <a:gd name="connsiteX2464" fmla="*/ 4546929 w 9586368"/>
              <a:gd name="connsiteY2464" fmla="*/ 4786279 h 6479439"/>
              <a:gd name="connsiteX2465" fmla="*/ 4556840 w 9586368"/>
              <a:gd name="connsiteY2465" fmla="*/ 4786279 h 6479439"/>
              <a:gd name="connsiteX2466" fmla="*/ 4560859 w 9586368"/>
              <a:gd name="connsiteY2466" fmla="*/ 4790317 h 6479439"/>
              <a:gd name="connsiteX2467" fmla="*/ 4560859 w 9586368"/>
              <a:gd name="connsiteY2467" fmla="*/ 4800188 h 6479439"/>
              <a:gd name="connsiteX2468" fmla="*/ 4556840 w 9586368"/>
              <a:gd name="connsiteY2468" fmla="*/ 4804227 h 6479439"/>
              <a:gd name="connsiteX2469" fmla="*/ 4546929 w 9586368"/>
              <a:gd name="connsiteY2469" fmla="*/ 4804227 h 6479439"/>
              <a:gd name="connsiteX2470" fmla="*/ 4542910 w 9586368"/>
              <a:gd name="connsiteY2470" fmla="*/ 4800188 h 6479439"/>
              <a:gd name="connsiteX2471" fmla="*/ 4542910 w 9586368"/>
              <a:gd name="connsiteY2471" fmla="*/ 4790317 h 6479439"/>
              <a:gd name="connsiteX2472" fmla="*/ 4307612 w 9586368"/>
              <a:gd name="connsiteY2472" fmla="*/ 4786279 h 6479439"/>
              <a:gd name="connsiteX2473" fmla="*/ 4317523 w 9586368"/>
              <a:gd name="connsiteY2473" fmla="*/ 4786279 h 6479439"/>
              <a:gd name="connsiteX2474" fmla="*/ 4321543 w 9586368"/>
              <a:gd name="connsiteY2474" fmla="*/ 4790317 h 6479439"/>
              <a:gd name="connsiteX2475" fmla="*/ 4321543 w 9586368"/>
              <a:gd name="connsiteY2475" fmla="*/ 4800188 h 6479439"/>
              <a:gd name="connsiteX2476" fmla="*/ 4317523 w 9586368"/>
              <a:gd name="connsiteY2476" fmla="*/ 4804227 h 6479439"/>
              <a:gd name="connsiteX2477" fmla="*/ 4307612 w 9586368"/>
              <a:gd name="connsiteY2477" fmla="*/ 4804227 h 6479439"/>
              <a:gd name="connsiteX2478" fmla="*/ 4303595 w 9586368"/>
              <a:gd name="connsiteY2478" fmla="*/ 4800188 h 6479439"/>
              <a:gd name="connsiteX2479" fmla="*/ 4303595 w 9586368"/>
              <a:gd name="connsiteY2479" fmla="*/ 4790317 h 6479439"/>
              <a:gd name="connsiteX2480" fmla="*/ 4068297 w 9586368"/>
              <a:gd name="connsiteY2480" fmla="*/ 4786279 h 6479439"/>
              <a:gd name="connsiteX2481" fmla="*/ 4078210 w 9586368"/>
              <a:gd name="connsiteY2481" fmla="*/ 4786279 h 6479439"/>
              <a:gd name="connsiteX2482" fmla="*/ 4082229 w 9586368"/>
              <a:gd name="connsiteY2482" fmla="*/ 4790317 h 6479439"/>
              <a:gd name="connsiteX2483" fmla="*/ 4082229 w 9586368"/>
              <a:gd name="connsiteY2483" fmla="*/ 4800188 h 6479439"/>
              <a:gd name="connsiteX2484" fmla="*/ 4078210 w 9586368"/>
              <a:gd name="connsiteY2484" fmla="*/ 4804227 h 6479439"/>
              <a:gd name="connsiteX2485" fmla="*/ 4068297 w 9586368"/>
              <a:gd name="connsiteY2485" fmla="*/ 4804227 h 6479439"/>
              <a:gd name="connsiteX2486" fmla="*/ 4064278 w 9586368"/>
              <a:gd name="connsiteY2486" fmla="*/ 4800188 h 6479439"/>
              <a:gd name="connsiteX2487" fmla="*/ 4064278 w 9586368"/>
              <a:gd name="connsiteY2487" fmla="*/ 4790317 h 6479439"/>
              <a:gd name="connsiteX2488" fmla="*/ 3828990 w 9586368"/>
              <a:gd name="connsiteY2488" fmla="*/ 4786279 h 6479439"/>
              <a:gd name="connsiteX2489" fmla="*/ 3838899 w 9586368"/>
              <a:gd name="connsiteY2489" fmla="*/ 4786279 h 6479439"/>
              <a:gd name="connsiteX2490" fmla="*/ 3842917 w 9586368"/>
              <a:gd name="connsiteY2490" fmla="*/ 4790317 h 6479439"/>
              <a:gd name="connsiteX2491" fmla="*/ 3842917 w 9586368"/>
              <a:gd name="connsiteY2491" fmla="*/ 4800188 h 6479439"/>
              <a:gd name="connsiteX2492" fmla="*/ 3838899 w 9586368"/>
              <a:gd name="connsiteY2492" fmla="*/ 4804227 h 6479439"/>
              <a:gd name="connsiteX2493" fmla="*/ 3828990 w 9586368"/>
              <a:gd name="connsiteY2493" fmla="*/ 4804227 h 6479439"/>
              <a:gd name="connsiteX2494" fmla="*/ 3824971 w 9586368"/>
              <a:gd name="connsiteY2494" fmla="*/ 4800188 h 6479439"/>
              <a:gd name="connsiteX2495" fmla="*/ 3824971 w 9586368"/>
              <a:gd name="connsiteY2495" fmla="*/ 4790317 h 6479439"/>
              <a:gd name="connsiteX2496" fmla="*/ 3589676 w 9586368"/>
              <a:gd name="connsiteY2496" fmla="*/ 4786279 h 6479439"/>
              <a:gd name="connsiteX2497" fmla="*/ 3599585 w 9586368"/>
              <a:gd name="connsiteY2497" fmla="*/ 4786279 h 6479439"/>
              <a:gd name="connsiteX2498" fmla="*/ 3603604 w 9586368"/>
              <a:gd name="connsiteY2498" fmla="*/ 4790317 h 6479439"/>
              <a:gd name="connsiteX2499" fmla="*/ 3603604 w 9586368"/>
              <a:gd name="connsiteY2499" fmla="*/ 4800188 h 6479439"/>
              <a:gd name="connsiteX2500" fmla="*/ 3599585 w 9586368"/>
              <a:gd name="connsiteY2500" fmla="*/ 4804227 h 6479439"/>
              <a:gd name="connsiteX2501" fmla="*/ 3589676 w 9586368"/>
              <a:gd name="connsiteY2501" fmla="*/ 4804227 h 6479439"/>
              <a:gd name="connsiteX2502" fmla="*/ 3585657 w 9586368"/>
              <a:gd name="connsiteY2502" fmla="*/ 4800188 h 6479439"/>
              <a:gd name="connsiteX2503" fmla="*/ 3585657 w 9586368"/>
              <a:gd name="connsiteY2503" fmla="*/ 4790317 h 6479439"/>
              <a:gd name="connsiteX2504" fmla="*/ 3350359 w 9586368"/>
              <a:gd name="connsiteY2504" fmla="*/ 4786279 h 6479439"/>
              <a:gd name="connsiteX2505" fmla="*/ 3360268 w 9586368"/>
              <a:gd name="connsiteY2505" fmla="*/ 4786279 h 6479439"/>
              <a:gd name="connsiteX2506" fmla="*/ 3364287 w 9586368"/>
              <a:gd name="connsiteY2506" fmla="*/ 4790317 h 6479439"/>
              <a:gd name="connsiteX2507" fmla="*/ 3364287 w 9586368"/>
              <a:gd name="connsiteY2507" fmla="*/ 4800188 h 6479439"/>
              <a:gd name="connsiteX2508" fmla="*/ 3360268 w 9586368"/>
              <a:gd name="connsiteY2508" fmla="*/ 4804227 h 6479439"/>
              <a:gd name="connsiteX2509" fmla="*/ 3350359 w 9586368"/>
              <a:gd name="connsiteY2509" fmla="*/ 4804227 h 6479439"/>
              <a:gd name="connsiteX2510" fmla="*/ 3346340 w 9586368"/>
              <a:gd name="connsiteY2510" fmla="*/ 4800188 h 6479439"/>
              <a:gd name="connsiteX2511" fmla="*/ 3346340 w 9586368"/>
              <a:gd name="connsiteY2511" fmla="*/ 4790317 h 6479439"/>
              <a:gd name="connsiteX2512" fmla="*/ 3111048 w 9586368"/>
              <a:gd name="connsiteY2512" fmla="*/ 4786279 h 6479439"/>
              <a:gd name="connsiteX2513" fmla="*/ 3120959 w 9586368"/>
              <a:gd name="connsiteY2513" fmla="*/ 4786279 h 6479439"/>
              <a:gd name="connsiteX2514" fmla="*/ 3124977 w 9586368"/>
              <a:gd name="connsiteY2514" fmla="*/ 4790317 h 6479439"/>
              <a:gd name="connsiteX2515" fmla="*/ 3124977 w 9586368"/>
              <a:gd name="connsiteY2515" fmla="*/ 4800188 h 6479439"/>
              <a:gd name="connsiteX2516" fmla="*/ 3120959 w 9586368"/>
              <a:gd name="connsiteY2516" fmla="*/ 4804227 h 6479439"/>
              <a:gd name="connsiteX2517" fmla="*/ 3111048 w 9586368"/>
              <a:gd name="connsiteY2517" fmla="*/ 4804227 h 6479439"/>
              <a:gd name="connsiteX2518" fmla="*/ 3107029 w 9586368"/>
              <a:gd name="connsiteY2518" fmla="*/ 4800188 h 6479439"/>
              <a:gd name="connsiteX2519" fmla="*/ 3107029 w 9586368"/>
              <a:gd name="connsiteY2519" fmla="*/ 4790317 h 6479439"/>
              <a:gd name="connsiteX2520" fmla="*/ 2871737 w 9586368"/>
              <a:gd name="connsiteY2520" fmla="*/ 4786279 h 6479439"/>
              <a:gd name="connsiteX2521" fmla="*/ 2881646 w 9586368"/>
              <a:gd name="connsiteY2521" fmla="*/ 4786279 h 6479439"/>
              <a:gd name="connsiteX2522" fmla="*/ 2885666 w 9586368"/>
              <a:gd name="connsiteY2522" fmla="*/ 4790317 h 6479439"/>
              <a:gd name="connsiteX2523" fmla="*/ 2885666 w 9586368"/>
              <a:gd name="connsiteY2523" fmla="*/ 4800188 h 6479439"/>
              <a:gd name="connsiteX2524" fmla="*/ 2881646 w 9586368"/>
              <a:gd name="connsiteY2524" fmla="*/ 4804227 h 6479439"/>
              <a:gd name="connsiteX2525" fmla="*/ 2871737 w 9586368"/>
              <a:gd name="connsiteY2525" fmla="*/ 4804227 h 6479439"/>
              <a:gd name="connsiteX2526" fmla="*/ 2867717 w 9586368"/>
              <a:gd name="connsiteY2526" fmla="*/ 4800188 h 6479439"/>
              <a:gd name="connsiteX2527" fmla="*/ 2867717 w 9586368"/>
              <a:gd name="connsiteY2527" fmla="*/ 4790317 h 6479439"/>
              <a:gd name="connsiteX2528" fmla="*/ 2632423 w 9586368"/>
              <a:gd name="connsiteY2528" fmla="*/ 4786279 h 6479439"/>
              <a:gd name="connsiteX2529" fmla="*/ 2642334 w 9586368"/>
              <a:gd name="connsiteY2529" fmla="*/ 4786279 h 6479439"/>
              <a:gd name="connsiteX2530" fmla="*/ 2646352 w 9586368"/>
              <a:gd name="connsiteY2530" fmla="*/ 4790317 h 6479439"/>
              <a:gd name="connsiteX2531" fmla="*/ 2646352 w 9586368"/>
              <a:gd name="connsiteY2531" fmla="*/ 4800188 h 6479439"/>
              <a:gd name="connsiteX2532" fmla="*/ 2642334 w 9586368"/>
              <a:gd name="connsiteY2532" fmla="*/ 4804227 h 6479439"/>
              <a:gd name="connsiteX2533" fmla="*/ 2632423 w 9586368"/>
              <a:gd name="connsiteY2533" fmla="*/ 4804227 h 6479439"/>
              <a:gd name="connsiteX2534" fmla="*/ 2628404 w 9586368"/>
              <a:gd name="connsiteY2534" fmla="*/ 4800188 h 6479439"/>
              <a:gd name="connsiteX2535" fmla="*/ 2628404 w 9586368"/>
              <a:gd name="connsiteY2535" fmla="*/ 4790317 h 6479439"/>
              <a:gd name="connsiteX2536" fmla="*/ 2393104 w 9586368"/>
              <a:gd name="connsiteY2536" fmla="*/ 4786279 h 6479439"/>
              <a:gd name="connsiteX2537" fmla="*/ 2403015 w 9586368"/>
              <a:gd name="connsiteY2537" fmla="*/ 4786279 h 6479439"/>
              <a:gd name="connsiteX2538" fmla="*/ 2407034 w 9586368"/>
              <a:gd name="connsiteY2538" fmla="*/ 4790317 h 6479439"/>
              <a:gd name="connsiteX2539" fmla="*/ 2407034 w 9586368"/>
              <a:gd name="connsiteY2539" fmla="*/ 4800188 h 6479439"/>
              <a:gd name="connsiteX2540" fmla="*/ 2403015 w 9586368"/>
              <a:gd name="connsiteY2540" fmla="*/ 4804227 h 6479439"/>
              <a:gd name="connsiteX2541" fmla="*/ 2393104 w 9586368"/>
              <a:gd name="connsiteY2541" fmla="*/ 4804227 h 6479439"/>
              <a:gd name="connsiteX2542" fmla="*/ 2389087 w 9586368"/>
              <a:gd name="connsiteY2542" fmla="*/ 4800188 h 6479439"/>
              <a:gd name="connsiteX2543" fmla="*/ 2389087 w 9586368"/>
              <a:gd name="connsiteY2543" fmla="*/ 4790317 h 6479439"/>
              <a:gd name="connsiteX2544" fmla="*/ 2157819 w 9586368"/>
              <a:gd name="connsiteY2544" fmla="*/ 4786279 h 6479439"/>
              <a:gd name="connsiteX2545" fmla="*/ 2167729 w 9586368"/>
              <a:gd name="connsiteY2545" fmla="*/ 4786279 h 6479439"/>
              <a:gd name="connsiteX2546" fmla="*/ 2171748 w 9586368"/>
              <a:gd name="connsiteY2546" fmla="*/ 4790317 h 6479439"/>
              <a:gd name="connsiteX2547" fmla="*/ 2171748 w 9586368"/>
              <a:gd name="connsiteY2547" fmla="*/ 4800188 h 6479439"/>
              <a:gd name="connsiteX2548" fmla="*/ 2167729 w 9586368"/>
              <a:gd name="connsiteY2548" fmla="*/ 4804227 h 6479439"/>
              <a:gd name="connsiteX2549" fmla="*/ 2157819 w 9586368"/>
              <a:gd name="connsiteY2549" fmla="*/ 4804227 h 6479439"/>
              <a:gd name="connsiteX2550" fmla="*/ 2153800 w 9586368"/>
              <a:gd name="connsiteY2550" fmla="*/ 4800188 h 6479439"/>
              <a:gd name="connsiteX2551" fmla="*/ 2153800 w 9586368"/>
              <a:gd name="connsiteY2551" fmla="*/ 4790317 h 6479439"/>
              <a:gd name="connsiteX2552" fmla="*/ 1918510 w 9586368"/>
              <a:gd name="connsiteY2552" fmla="*/ 4786279 h 6479439"/>
              <a:gd name="connsiteX2553" fmla="*/ 1928420 w 9586368"/>
              <a:gd name="connsiteY2553" fmla="*/ 4786279 h 6479439"/>
              <a:gd name="connsiteX2554" fmla="*/ 1932440 w 9586368"/>
              <a:gd name="connsiteY2554" fmla="*/ 4790317 h 6479439"/>
              <a:gd name="connsiteX2555" fmla="*/ 1932440 w 9586368"/>
              <a:gd name="connsiteY2555" fmla="*/ 4800188 h 6479439"/>
              <a:gd name="connsiteX2556" fmla="*/ 1928420 w 9586368"/>
              <a:gd name="connsiteY2556" fmla="*/ 4804227 h 6479439"/>
              <a:gd name="connsiteX2557" fmla="*/ 1918510 w 9586368"/>
              <a:gd name="connsiteY2557" fmla="*/ 4804227 h 6479439"/>
              <a:gd name="connsiteX2558" fmla="*/ 1914492 w 9586368"/>
              <a:gd name="connsiteY2558" fmla="*/ 4800188 h 6479439"/>
              <a:gd name="connsiteX2559" fmla="*/ 1914492 w 9586368"/>
              <a:gd name="connsiteY2559" fmla="*/ 4790317 h 6479439"/>
              <a:gd name="connsiteX2560" fmla="*/ 1679205 w 9586368"/>
              <a:gd name="connsiteY2560" fmla="*/ 4786279 h 6479439"/>
              <a:gd name="connsiteX2561" fmla="*/ 1689115 w 9586368"/>
              <a:gd name="connsiteY2561" fmla="*/ 4786279 h 6479439"/>
              <a:gd name="connsiteX2562" fmla="*/ 1693134 w 9586368"/>
              <a:gd name="connsiteY2562" fmla="*/ 4790317 h 6479439"/>
              <a:gd name="connsiteX2563" fmla="*/ 1693134 w 9586368"/>
              <a:gd name="connsiteY2563" fmla="*/ 4800188 h 6479439"/>
              <a:gd name="connsiteX2564" fmla="*/ 1689115 w 9586368"/>
              <a:gd name="connsiteY2564" fmla="*/ 4804227 h 6479439"/>
              <a:gd name="connsiteX2565" fmla="*/ 1679205 w 9586368"/>
              <a:gd name="connsiteY2565" fmla="*/ 4804227 h 6479439"/>
              <a:gd name="connsiteX2566" fmla="*/ 1675187 w 9586368"/>
              <a:gd name="connsiteY2566" fmla="*/ 4800188 h 6479439"/>
              <a:gd name="connsiteX2567" fmla="*/ 1675187 w 9586368"/>
              <a:gd name="connsiteY2567" fmla="*/ 4790317 h 6479439"/>
              <a:gd name="connsiteX2568" fmla="*/ 1439890 w 9586368"/>
              <a:gd name="connsiteY2568" fmla="*/ 4786279 h 6479439"/>
              <a:gd name="connsiteX2569" fmla="*/ 1449800 w 9586368"/>
              <a:gd name="connsiteY2569" fmla="*/ 4786279 h 6479439"/>
              <a:gd name="connsiteX2570" fmla="*/ 1453818 w 9586368"/>
              <a:gd name="connsiteY2570" fmla="*/ 4790317 h 6479439"/>
              <a:gd name="connsiteX2571" fmla="*/ 1453818 w 9586368"/>
              <a:gd name="connsiteY2571" fmla="*/ 4800188 h 6479439"/>
              <a:gd name="connsiteX2572" fmla="*/ 1449800 w 9586368"/>
              <a:gd name="connsiteY2572" fmla="*/ 4804227 h 6479439"/>
              <a:gd name="connsiteX2573" fmla="*/ 1439890 w 9586368"/>
              <a:gd name="connsiteY2573" fmla="*/ 4804227 h 6479439"/>
              <a:gd name="connsiteX2574" fmla="*/ 1435870 w 9586368"/>
              <a:gd name="connsiteY2574" fmla="*/ 4800188 h 6479439"/>
              <a:gd name="connsiteX2575" fmla="*/ 1435870 w 9586368"/>
              <a:gd name="connsiteY2575" fmla="*/ 4790317 h 6479439"/>
              <a:gd name="connsiteX2576" fmla="*/ 1200574 w 9586368"/>
              <a:gd name="connsiteY2576" fmla="*/ 4786279 h 6479439"/>
              <a:gd name="connsiteX2577" fmla="*/ 1210484 w 9586368"/>
              <a:gd name="connsiteY2577" fmla="*/ 4786279 h 6479439"/>
              <a:gd name="connsiteX2578" fmla="*/ 1214503 w 9586368"/>
              <a:gd name="connsiteY2578" fmla="*/ 4790317 h 6479439"/>
              <a:gd name="connsiteX2579" fmla="*/ 1214503 w 9586368"/>
              <a:gd name="connsiteY2579" fmla="*/ 4800188 h 6479439"/>
              <a:gd name="connsiteX2580" fmla="*/ 1210484 w 9586368"/>
              <a:gd name="connsiteY2580" fmla="*/ 4804227 h 6479439"/>
              <a:gd name="connsiteX2581" fmla="*/ 1200574 w 9586368"/>
              <a:gd name="connsiteY2581" fmla="*/ 4804227 h 6479439"/>
              <a:gd name="connsiteX2582" fmla="*/ 1196555 w 9586368"/>
              <a:gd name="connsiteY2582" fmla="*/ 4800188 h 6479439"/>
              <a:gd name="connsiteX2583" fmla="*/ 1196555 w 9586368"/>
              <a:gd name="connsiteY2583" fmla="*/ 4790317 h 6479439"/>
              <a:gd name="connsiteX2584" fmla="*/ 961262 w 9586368"/>
              <a:gd name="connsiteY2584" fmla="*/ 4786279 h 6479439"/>
              <a:gd name="connsiteX2585" fmla="*/ 971172 w 9586368"/>
              <a:gd name="connsiteY2585" fmla="*/ 4786279 h 6479439"/>
              <a:gd name="connsiteX2586" fmla="*/ 975190 w 9586368"/>
              <a:gd name="connsiteY2586" fmla="*/ 4790317 h 6479439"/>
              <a:gd name="connsiteX2587" fmla="*/ 975190 w 9586368"/>
              <a:gd name="connsiteY2587" fmla="*/ 4800188 h 6479439"/>
              <a:gd name="connsiteX2588" fmla="*/ 971172 w 9586368"/>
              <a:gd name="connsiteY2588" fmla="*/ 4804227 h 6479439"/>
              <a:gd name="connsiteX2589" fmla="*/ 961262 w 9586368"/>
              <a:gd name="connsiteY2589" fmla="*/ 4804227 h 6479439"/>
              <a:gd name="connsiteX2590" fmla="*/ 957242 w 9586368"/>
              <a:gd name="connsiteY2590" fmla="*/ 4800188 h 6479439"/>
              <a:gd name="connsiteX2591" fmla="*/ 957242 w 9586368"/>
              <a:gd name="connsiteY2591" fmla="*/ 4790317 h 6479439"/>
              <a:gd name="connsiteX2592" fmla="*/ 721963 w 9586368"/>
              <a:gd name="connsiteY2592" fmla="*/ 4786279 h 6479439"/>
              <a:gd name="connsiteX2593" fmla="*/ 731873 w 9586368"/>
              <a:gd name="connsiteY2593" fmla="*/ 4786279 h 6479439"/>
              <a:gd name="connsiteX2594" fmla="*/ 735892 w 9586368"/>
              <a:gd name="connsiteY2594" fmla="*/ 4790317 h 6479439"/>
              <a:gd name="connsiteX2595" fmla="*/ 735892 w 9586368"/>
              <a:gd name="connsiteY2595" fmla="*/ 4800188 h 6479439"/>
              <a:gd name="connsiteX2596" fmla="*/ 731873 w 9586368"/>
              <a:gd name="connsiteY2596" fmla="*/ 4804227 h 6479439"/>
              <a:gd name="connsiteX2597" fmla="*/ 721963 w 9586368"/>
              <a:gd name="connsiteY2597" fmla="*/ 4804227 h 6479439"/>
              <a:gd name="connsiteX2598" fmla="*/ 717944 w 9586368"/>
              <a:gd name="connsiteY2598" fmla="*/ 4800188 h 6479439"/>
              <a:gd name="connsiteX2599" fmla="*/ 717944 w 9586368"/>
              <a:gd name="connsiteY2599" fmla="*/ 4790317 h 6479439"/>
              <a:gd name="connsiteX2600" fmla="*/ 482651 w 9586368"/>
              <a:gd name="connsiteY2600" fmla="*/ 4786279 h 6479439"/>
              <a:gd name="connsiteX2601" fmla="*/ 492561 w 9586368"/>
              <a:gd name="connsiteY2601" fmla="*/ 4786279 h 6479439"/>
              <a:gd name="connsiteX2602" fmla="*/ 496580 w 9586368"/>
              <a:gd name="connsiteY2602" fmla="*/ 4790317 h 6479439"/>
              <a:gd name="connsiteX2603" fmla="*/ 496580 w 9586368"/>
              <a:gd name="connsiteY2603" fmla="*/ 4800188 h 6479439"/>
              <a:gd name="connsiteX2604" fmla="*/ 492561 w 9586368"/>
              <a:gd name="connsiteY2604" fmla="*/ 4804227 h 6479439"/>
              <a:gd name="connsiteX2605" fmla="*/ 482651 w 9586368"/>
              <a:gd name="connsiteY2605" fmla="*/ 4804227 h 6479439"/>
              <a:gd name="connsiteX2606" fmla="*/ 478632 w 9586368"/>
              <a:gd name="connsiteY2606" fmla="*/ 4800188 h 6479439"/>
              <a:gd name="connsiteX2607" fmla="*/ 478632 w 9586368"/>
              <a:gd name="connsiteY2607" fmla="*/ 4790317 h 6479439"/>
              <a:gd name="connsiteX2608" fmla="*/ 243338 w 9586368"/>
              <a:gd name="connsiteY2608" fmla="*/ 4786279 h 6479439"/>
              <a:gd name="connsiteX2609" fmla="*/ 253247 w 9586368"/>
              <a:gd name="connsiteY2609" fmla="*/ 4786279 h 6479439"/>
              <a:gd name="connsiteX2610" fmla="*/ 257266 w 9586368"/>
              <a:gd name="connsiteY2610" fmla="*/ 4790317 h 6479439"/>
              <a:gd name="connsiteX2611" fmla="*/ 257266 w 9586368"/>
              <a:gd name="connsiteY2611" fmla="*/ 4800188 h 6479439"/>
              <a:gd name="connsiteX2612" fmla="*/ 253247 w 9586368"/>
              <a:gd name="connsiteY2612" fmla="*/ 4804227 h 6479439"/>
              <a:gd name="connsiteX2613" fmla="*/ 243338 w 9586368"/>
              <a:gd name="connsiteY2613" fmla="*/ 4804227 h 6479439"/>
              <a:gd name="connsiteX2614" fmla="*/ 239318 w 9586368"/>
              <a:gd name="connsiteY2614" fmla="*/ 4800188 h 6479439"/>
              <a:gd name="connsiteX2615" fmla="*/ 239318 w 9586368"/>
              <a:gd name="connsiteY2615" fmla="*/ 4790317 h 6479439"/>
              <a:gd name="connsiteX2616" fmla="*/ 4024 w 9586368"/>
              <a:gd name="connsiteY2616" fmla="*/ 4786279 h 6479439"/>
              <a:gd name="connsiteX2617" fmla="*/ 13934 w 9586368"/>
              <a:gd name="connsiteY2617" fmla="*/ 4786279 h 6479439"/>
              <a:gd name="connsiteX2618" fmla="*/ 17954 w 9586368"/>
              <a:gd name="connsiteY2618" fmla="*/ 4790317 h 6479439"/>
              <a:gd name="connsiteX2619" fmla="*/ 17954 w 9586368"/>
              <a:gd name="connsiteY2619" fmla="*/ 4800188 h 6479439"/>
              <a:gd name="connsiteX2620" fmla="*/ 13934 w 9586368"/>
              <a:gd name="connsiteY2620" fmla="*/ 4804227 h 6479439"/>
              <a:gd name="connsiteX2621" fmla="*/ 4024 w 9586368"/>
              <a:gd name="connsiteY2621" fmla="*/ 4804227 h 6479439"/>
              <a:gd name="connsiteX2622" fmla="*/ 5 w 9586368"/>
              <a:gd name="connsiteY2622" fmla="*/ 4800188 h 6479439"/>
              <a:gd name="connsiteX2623" fmla="*/ 5 w 9586368"/>
              <a:gd name="connsiteY2623" fmla="*/ 4790317 h 6479439"/>
              <a:gd name="connsiteX2624" fmla="*/ 2157819 w 9586368"/>
              <a:gd name="connsiteY2624" fmla="*/ 4546999 h 6479439"/>
              <a:gd name="connsiteX2625" fmla="*/ 2167729 w 9586368"/>
              <a:gd name="connsiteY2625" fmla="*/ 4546999 h 6479439"/>
              <a:gd name="connsiteX2626" fmla="*/ 2171748 w 9586368"/>
              <a:gd name="connsiteY2626" fmla="*/ 4551038 h 6479439"/>
              <a:gd name="connsiteX2627" fmla="*/ 2171748 w 9586368"/>
              <a:gd name="connsiteY2627" fmla="*/ 4560909 h 6479439"/>
              <a:gd name="connsiteX2628" fmla="*/ 2167729 w 9586368"/>
              <a:gd name="connsiteY2628" fmla="*/ 4564948 h 6479439"/>
              <a:gd name="connsiteX2629" fmla="*/ 2157819 w 9586368"/>
              <a:gd name="connsiteY2629" fmla="*/ 4564948 h 6479439"/>
              <a:gd name="connsiteX2630" fmla="*/ 2153801 w 9586368"/>
              <a:gd name="connsiteY2630" fmla="*/ 4560909 h 6479439"/>
              <a:gd name="connsiteX2631" fmla="*/ 2153801 w 9586368"/>
              <a:gd name="connsiteY2631" fmla="*/ 4551038 h 6479439"/>
              <a:gd name="connsiteX2632" fmla="*/ 1918510 w 9586368"/>
              <a:gd name="connsiteY2632" fmla="*/ 4546999 h 6479439"/>
              <a:gd name="connsiteX2633" fmla="*/ 1928421 w 9586368"/>
              <a:gd name="connsiteY2633" fmla="*/ 4546999 h 6479439"/>
              <a:gd name="connsiteX2634" fmla="*/ 1932440 w 9586368"/>
              <a:gd name="connsiteY2634" fmla="*/ 4551038 h 6479439"/>
              <a:gd name="connsiteX2635" fmla="*/ 1932440 w 9586368"/>
              <a:gd name="connsiteY2635" fmla="*/ 4560909 h 6479439"/>
              <a:gd name="connsiteX2636" fmla="*/ 1928421 w 9586368"/>
              <a:gd name="connsiteY2636" fmla="*/ 4564948 h 6479439"/>
              <a:gd name="connsiteX2637" fmla="*/ 1918510 w 9586368"/>
              <a:gd name="connsiteY2637" fmla="*/ 4564948 h 6479439"/>
              <a:gd name="connsiteX2638" fmla="*/ 1914492 w 9586368"/>
              <a:gd name="connsiteY2638" fmla="*/ 4560909 h 6479439"/>
              <a:gd name="connsiteX2639" fmla="*/ 1914492 w 9586368"/>
              <a:gd name="connsiteY2639" fmla="*/ 4551038 h 6479439"/>
              <a:gd name="connsiteX2640" fmla="*/ 1679206 w 9586368"/>
              <a:gd name="connsiteY2640" fmla="*/ 4546999 h 6479439"/>
              <a:gd name="connsiteX2641" fmla="*/ 1689116 w 9586368"/>
              <a:gd name="connsiteY2641" fmla="*/ 4546999 h 6479439"/>
              <a:gd name="connsiteX2642" fmla="*/ 1693134 w 9586368"/>
              <a:gd name="connsiteY2642" fmla="*/ 4551038 h 6479439"/>
              <a:gd name="connsiteX2643" fmla="*/ 1693134 w 9586368"/>
              <a:gd name="connsiteY2643" fmla="*/ 4560909 h 6479439"/>
              <a:gd name="connsiteX2644" fmla="*/ 1689116 w 9586368"/>
              <a:gd name="connsiteY2644" fmla="*/ 4564948 h 6479439"/>
              <a:gd name="connsiteX2645" fmla="*/ 1679206 w 9586368"/>
              <a:gd name="connsiteY2645" fmla="*/ 4564948 h 6479439"/>
              <a:gd name="connsiteX2646" fmla="*/ 1675187 w 9586368"/>
              <a:gd name="connsiteY2646" fmla="*/ 4560909 h 6479439"/>
              <a:gd name="connsiteX2647" fmla="*/ 1675187 w 9586368"/>
              <a:gd name="connsiteY2647" fmla="*/ 4551038 h 6479439"/>
              <a:gd name="connsiteX2648" fmla="*/ 1439890 w 9586368"/>
              <a:gd name="connsiteY2648" fmla="*/ 4546999 h 6479439"/>
              <a:gd name="connsiteX2649" fmla="*/ 1449800 w 9586368"/>
              <a:gd name="connsiteY2649" fmla="*/ 4546999 h 6479439"/>
              <a:gd name="connsiteX2650" fmla="*/ 1453819 w 9586368"/>
              <a:gd name="connsiteY2650" fmla="*/ 4551038 h 6479439"/>
              <a:gd name="connsiteX2651" fmla="*/ 1453819 w 9586368"/>
              <a:gd name="connsiteY2651" fmla="*/ 4560909 h 6479439"/>
              <a:gd name="connsiteX2652" fmla="*/ 1449800 w 9586368"/>
              <a:gd name="connsiteY2652" fmla="*/ 4564948 h 6479439"/>
              <a:gd name="connsiteX2653" fmla="*/ 1439890 w 9586368"/>
              <a:gd name="connsiteY2653" fmla="*/ 4564948 h 6479439"/>
              <a:gd name="connsiteX2654" fmla="*/ 1435871 w 9586368"/>
              <a:gd name="connsiteY2654" fmla="*/ 4560909 h 6479439"/>
              <a:gd name="connsiteX2655" fmla="*/ 1435871 w 9586368"/>
              <a:gd name="connsiteY2655" fmla="*/ 4551038 h 6479439"/>
              <a:gd name="connsiteX2656" fmla="*/ 1200575 w 9586368"/>
              <a:gd name="connsiteY2656" fmla="*/ 4546999 h 6479439"/>
              <a:gd name="connsiteX2657" fmla="*/ 1210485 w 9586368"/>
              <a:gd name="connsiteY2657" fmla="*/ 4546999 h 6479439"/>
              <a:gd name="connsiteX2658" fmla="*/ 1214504 w 9586368"/>
              <a:gd name="connsiteY2658" fmla="*/ 4551038 h 6479439"/>
              <a:gd name="connsiteX2659" fmla="*/ 1214504 w 9586368"/>
              <a:gd name="connsiteY2659" fmla="*/ 4560909 h 6479439"/>
              <a:gd name="connsiteX2660" fmla="*/ 1210485 w 9586368"/>
              <a:gd name="connsiteY2660" fmla="*/ 4564948 h 6479439"/>
              <a:gd name="connsiteX2661" fmla="*/ 1200575 w 9586368"/>
              <a:gd name="connsiteY2661" fmla="*/ 4564948 h 6479439"/>
              <a:gd name="connsiteX2662" fmla="*/ 1196556 w 9586368"/>
              <a:gd name="connsiteY2662" fmla="*/ 4560909 h 6479439"/>
              <a:gd name="connsiteX2663" fmla="*/ 1196556 w 9586368"/>
              <a:gd name="connsiteY2663" fmla="*/ 4551038 h 6479439"/>
              <a:gd name="connsiteX2664" fmla="*/ 961262 w 9586368"/>
              <a:gd name="connsiteY2664" fmla="*/ 4546999 h 6479439"/>
              <a:gd name="connsiteX2665" fmla="*/ 971172 w 9586368"/>
              <a:gd name="connsiteY2665" fmla="*/ 4546999 h 6479439"/>
              <a:gd name="connsiteX2666" fmla="*/ 975191 w 9586368"/>
              <a:gd name="connsiteY2666" fmla="*/ 4551038 h 6479439"/>
              <a:gd name="connsiteX2667" fmla="*/ 975191 w 9586368"/>
              <a:gd name="connsiteY2667" fmla="*/ 4560909 h 6479439"/>
              <a:gd name="connsiteX2668" fmla="*/ 971172 w 9586368"/>
              <a:gd name="connsiteY2668" fmla="*/ 4564948 h 6479439"/>
              <a:gd name="connsiteX2669" fmla="*/ 961262 w 9586368"/>
              <a:gd name="connsiteY2669" fmla="*/ 4564948 h 6479439"/>
              <a:gd name="connsiteX2670" fmla="*/ 957243 w 9586368"/>
              <a:gd name="connsiteY2670" fmla="*/ 4560909 h 6479439"/>
              <a:gd name="connsiteX2671" fmla="*/ 957243 w 9586368"/>
              <a:gd name="connsiteY2671" fmla="*/ 4551038 h 6479439"/>
              <a:gd name="connsiteX2672" fmla="*/ 9572438 w 9586368"/>
              <a:gd name="connsiteY2672" fmla="*/ 4546948 h 6479439"/>
              <a:gd name="connsiteX2673" fmla="*/ 9582349 w 9586368"/>
              <a:gd name="connsiteY2673" fmla="*/ 4546948 h 6479439"/>
              <a:gd name="connsiteX2674" fmla="*/ 9586368 w 9586368"/>
              <a:gd name="connsiteY2674" fmla="*/ 4550987 h 6479439"/>
              <a:gd name="connsiteX2675" fmla="*/ 9586368 w 9586368"/>
              <a:gd name="connsiteY2675" fmla="*/ 4560858 h 6479439"/>
              <a:gd name="connsiteX2676" fmla="*/ 9582349 w 9586368"/>
              <a:gd name="connsiteY2676" fmla="*/ 4564897 h 6479439"/>
              <a:gd name="connsiteX2677" fmla="*/ 9572438 w 9586368"/>
              <a:gd name="connsiteY2677" fmla="*/ 4564897 h 6479439"/>
              <a:gd name="connsiteX2678" fmla="*/ 9568419 w 9586368"/>
              <a:gd name="connsiteY2678" fmla="*/ 4560858 h 6479439"/>
              <a:gd name="connsiteX2679" fmla="*/ 9568419 w 9586368"/>
              <a:gd name="connsiteY2679" fmla="*/ 4550987 h 6479439"/>
              <a:gd name="connsiteX2680" fmla="*/ 9333125 w 9586368"/>
              <a:gd name="connsiteY2680" fmla="*/ 4546948 h 6479439"/>
              <a:gd name="connsiteX2681" fmla="*/ 9343036 w 9586368"/>
              <a:gd name="connsiteY2681" fmla="*/ 4546948 h 6479439"/>
              <a:gd name="connsiteX2682" fmla="*/ 9347055 w 9586368"/>
              <a:gd name="connsiteY2682" fmla="*/ 4550987 h 6479439"/>
              <a:gd name="connsiteX2683" fmla="*/ 9347055 w 9586368"/>
              <a:gd name="connsiteY2683" fmla="*/ 4560858 h 6479439"/>
              <a:gd name="connsiteX2684" fmla="*/ 9343036 w 9586368"/>
              <a:gd name="connsiteY2684" fmla="*/ 4564897 h 6479439"/>
              <a:gd name="connsiteX2685" fmla="*/ 9333125 w 9586368"/>
              <a:gd name="connsiteY2685" fmla="*/ 4564897 h 6479439"/>
              <a:gd name="connsiteX2686" fmla="*/ 9329106 w 9586368"/>
              <a:gd name="connsiteY2686" fmla="*/ 4560858 h 6479439"/>
              <a:gd name="connsiteX2687" fmla="*/ 9329106 w 9586368"/>
              <a:gd name="connsiteY2687" fmla="*/ 4550987 h 6479439"/>
              <a:gd name="connsiteX2688" fmla="*/ 9093811 w 9586368"/>
              <a:gd name="connsiteY2688" fmla="*/ 4546948 h 6479439"/>
              <a:gd name="connsiteX2689" fmla="*/ 9103722 w 9586368"/>
              <a:gd name="connsiteY2689" fmla="*/ 4546948 h 6479439"/>
              <a:gd name="connsiteX2690" fmla="*/ 9107741 w 9586368"/>
              <a:gd name="connsiteY2690" fmla="*/ 4550987 h 6479439"/>
              <a:gd name="connsiteX2691" fmla="*/ 9107741 w 9586368"/>
              <a:gd name="connsiteY2691" fmla="*/ 4560858 h 6479439"/>
              <a:gd name="connsiteX2692" fmla="*/ 9103722 w 9586368"/>
              <a:gd name="connsiteY2692" fmla="*/ 4564897 h 6479439"/>
              <a:gd name="connsiteX2693" fmla="*/ 9093811 w 9586368"/>
              <a:gd name="connsiteY2693" fmla="*/ 4564897 h 6479439"/>
              <a:gd name="connsiteX2694" fmla="*/ 9089792 w 9586368"/>
              <a:gd name="connsiteY2694" fmla="*/ 4560858 h 6479439"/>
              <a:gd name="connsiteX2695" fmla="*/ 9089792 w 9586368"/>
              <a:gd name="connsiteY2695" fmla="*/ 4550987 h 6479439"/>
              <a:gd name="connsiteX2696" fmla="*/ 8854496 w 9586368"/>
              <a:gd name="connsiteY2696" fmla="*/ 4546948 h 6479439"/>
              <a:gd name="connsiteX2697" fmla="*/ 8864407 w 9586368"/>
              <a:gd name="connsiteY2697" fmla="*/ 4546948 h 6479439"/>
              <a:gd name="connsiteX2698" fmla="*/ 8868426 w 9586368"/>
              <a:gd name="connsiteY2698" fmla="*/ 4550987 h 6479439"/>
              <a:gd name="connsiteX2699" fmla="*/ 8868426 w 9586368"/>
              <a:gd name="connsiteY2699" fmla="*/ 4560858 h 6479439"/>
              <a:gd name="connsiteX2700" fmla="*/ 8864407 w 9586368"/>
              <a:gd name="connsiteY2700" fmla="*/ 4564897 h 6479439"/>
              <a:gd name="connsiteX2701" fmla="*/ 8854496 w 9586368"/>
              <a:gd name="connsiteY2701" fmla="*/ 4564897 h 6479439"/>
              <a:gd name="connsiteX2702" fmla="*/ 8850477 w 9586368"/>
              <a:gd name="connsiteY2702" fmla="*/ 4560858 h 6479439"/>
              <a:gd name="connsiteX2703" fmla="*/ 8850477 w 9586368"/>
              <a:gd name="connsiteY2703" fmla="*/ 4550987 h 6479439"/>
              <a:gd name="connsiteX2704" fmla="*/ 8615184 w 9586368"/>
              <a:gd name="connsiteY2704" fmla="*/ 4546948 h 6479439"/>
              <a:gd name="connsiteX2705" fmla="*/ 8625095 w 9586368"/>
              <a:gd name="connsiteY2705" fmla="*/ 4546948 h 6479439"/>
              <a:gd name="connsiteX2706" fmla="*/ 8629114 w 9586368"/>
              <a:gd name="connsiteY2706" fmla="*/ 4550987 h 6479439"/>
              <a:gd name="connsiteX2707" fmla="*/ 8629114 w 9586368"/>
              <a:gd name="connsiteY2707" fmla="*/ 4560858 h 6479439"/>
              <a:gd name="connsiteX2708" fmla="*/ 8625095 w 9586368"/>
              <a:gd name="connsiteY2708" fmla="*/ 4564897 h 6479439"/>
              <a:gd name="connsiteX2709" fmla="*/ 8615184 w 9586368"/>
              <a:gd name="connsiteY2709" fmla="*/ 4564897 h 6479439"/>
              <a:gd name="connsiteX2710" fmla="*/ 8611165 w 9586368"/>
              <a:gd name="connsiteY2710" fmla="*/ 4560858 h 6479439"/>
              <a:gd name="connsiteX2711" fmla="*/ 8611165 w 9586368"/>
              <a:gd name="connsiteY2711" fmla="*/ 4550987 h 6479439"/>
              <a:gd name="connsiteX2712" fmla="*/ 8375869 w 9586368"/>
              <a:gd name="connsiteY2712" fmla="*/ 4546948 h 6479439"/>
              <a:gd name="connsiteX2713" fmla="*/ 8385779 w 9586368"/>
              <a:gd name="connsiteY2713" fmla="*/ 4546948 h 6479439"/>
              <a:gd name="connsiteX2714" fmla="*/ 8389799 w 9586368"/>
              <a:gd name="connsiteY2714" fmla="*/ 4550987 h 6479439"/>
              <a:gd name="connsiteX2715" fmla="*/ 8389799 w 9586368"/>
              <a:gd name="connsiteY2715" fmla="*/ 4560858 h 6479439"/>
              <a:gd name="connsiteX2716" fmla="*/ 8385779 w 9586368"/>
              <a:gd name="connsiteY2716" fmla="*/ 4564897 h 6479439"/>
              <a:gd name="connsiteX2717" fmla="*/ 8375869 w 9586368"/>
              <a:gd name="connsiteY2717" fmla="*/ 4564897 h 6479439"/>
              <a:gd name="connsiteX2718" fmla="*/ 8371850 w 9586368"/>
              <a:gd name="connsiteY2718" fmla="*/ 4560858 h 6479439"/>
              <a:gd name="connsiteX2719" fmla="*/ 8371850 w 9586368"/>
              <a:gd name="connsiteY2719" fmla="*/ 4550987 h 6479439"/>
              <a:gd name="connsiteX2720" fmla="*/ 8136553 w 9586368"/>
              <a:gd name="connsiteY2720" fmla="*/ 4546948 h 6479439"/>
              <a:gd name="connsiteX2721" fmla="*/ 8146464 w 9586368"/>
              <a:gd name="connsiteY2721" fmla="*/ 4546948 h 6479439"/>
              <a:gd name="connsiteX2722" fmla="*/ 8150483 w 9586368"/>
              <a:gd name="connsiteY2722" fmla="*/ 4550987 h 6479439"/>
              <a:gd name="connsiteX2723" fmla="*/ 8150483 w 9586368"/>
              <a:gd name="connsiteY2723" fmla="*/ 4560858 h 6479439"/>
              <a:gd name="connsiteX2724" fmla="*/ 8146464 w 9586368"/>
              <a:gd name="connsiteY2724" fmla="*/ 4564897 h 6479439"/>
              <a:gd name="connsiteX2725" fmla="*/ 8136553 w 9586368"/>
              <a:gd name="connsiteY2725" fmla="*/ 4564897 h 6479439"/>
              <a:gd name="connsiteX2726" fmla="*/ 8132534 w 9586368"/>
              <a:gd name="connsiteY2726" fmla="*/ 4560858 h 6479439"/>
              <a:gd name="connsiteX2727" fmla="*/ 8132534 w 9586368"/>
              <a:gd name="connsiteY2727" fmla="*/ 4550987 h 6479439"/>
              <a:gd name="connsiteX2728" fmla="*/ 7897241 w 9586368"/>
              <a:gd name="connsiteY2728" fmla="*/ 4546948 h 6479439"/>
              <a:gd name="connsiteX2729" fmla="*/ 7907151 w 9586368"/>
              <a:gd name="connsiteY2729" fmla="*/ 4546948 h 6479439"/>
              <a:gd name="connsiteX2730" fmla="*/ 7911170 w 9586368"/>
              <a:gd name="connsiteY2730" fmla="*/ 4550987 h 6479439"/>
              <a:gd name="connsiteX2731" fmla="*/ 7911170 w 9586368"/>
              <a:gd name="connsiteY2731" fmla="*/ 4560858 h 6479439"/>
              <a:gd name="connsiteX2732" fmla="*/ 7907151 w 9586368"/>
              <a:gd name="connsiteY2732" fmla="*/ 4564897 h 6479439"/>
              <a:gd name="connsiteX2733" fmla="*/ 7897241 w 9586368"/>
              <a:gd name="connsiteY2733" fmla="*/ 4564897 h 6479439"/>
              <a:gd name="connsiteX2734" fmla="*/ 7893222 w 9586368"/>
              <a:gd name="connsiteY2734" fmla="*/ 4560858 h 6479439"/>
              <a:gd name="connsiteX2735" fmla="*/ 7893222 w 9586368"/>
              <a:gd name="connsiteY2735" fmla="*/ 4550987 h 6479439"/>
              <a:gd name="connsiteX2736" fmla="*/ 7657926 w 9586368"/>
              <a:gd name="connsiteY2736" fmla="*/ 4546948 h 6479439"/>
              <a:gd name="connsiteX2737" fmla="*/ 7667836 w 9586368"/>
              <a:gd name="connsiteY2737" fmla="*/ 4546948 h 6479439"/>
              <a:gd name="connsiteX2738" fmla="*/ 7671855 w 9586368"/>
              <a:gd name="connsiteY2738" fmla="*/ 4550987 h 6479439"/>
              <a:gd name="connsiteX2739" fmla="*/ 7671855 w 9586368"/>
              <a:gd name="connsiteY2739" fmla="*/ 4560858 h 6479439"/>
              <a:gd name="connsiteX2740" fmla="*/ 7667836 w 9586368"/>
              <a:gd name="connsiteY2740" fmla="*/ 4564897 h 6479439"/>
              <a:gd name="connsiteX2741" fmla="*/ 7657926 w 9586368"/>
              <a:gd name="connsiteY2741" fmla="*/ 4564897 h 6479439"/>
              <a:gd name="connsiteX2742" fmla="*/ 7653906 w 9586368"/>
              <a:gd name="connsiteY2742" fmla="*/ 4560858 h 6479439"/>
              <a:gd name="connsiteX2743" fmla="*/ 7653906 w 9586368"/>
              <a:gd name="connsiteY2743" fmla="*/ 4550987 h 6479439"/>
              <a:gd name="connsiteX2744" fmla="*/ 7418611 w 9586368"/>
              <a:gd name="connsiteY2744" fmla="*/ 4546948 h 6479439"/>
              <a:gd name="connsiteX2745" fmla="*/ 7428521 w 9586368"/>
              <a:gd name="connsiteY2745" fmla="*/ 4546948 h 6479439"/>
              <a:gd name="connsiteX2746" fmla="*/ 7432540 w 9586368"/>
              <a:gd name="connsiteY2746" fmla="*/ 4550987 h 6479439"/>
              <a:gd name="connsiteX2747" fmla="*/ 7432540 w 9586368"/>
              <a:gd name="connsiteY2747" fmla="*/ 4560858 h 6479439"/>
              <a:gd name="connsiteX2748" fmla="*/ 7428521 w 9586368"/>
              <a:gd name="connsiteY2748" fmla="*/ 4564897 h 6479439"/>
              <a:gd name="connsiteX2749" fmla="*/ 7418611 w 9586368"/>
              <a:gd name="connsiteY2749" fmla="*/ 4564897 h 6479439"/>
              <a:gd name="connsiteX2750" fmla="*/ 7414592 w 9586368"/>
              <a:gd name="connsiteY2750" fmla="*/ 4560858 h 6479439"/>
              <a:gd name="connsiteX2751" fmla="*/ 7414592 w 9586368"/>
              <a:gd name="connsiteY2751" fmla="*/ 4550987 h 6479439"/>
              <a:gd name="connsiteX2752" fmla="*/ 7179298 w 9586368"/>
              <a:gd name="connsiteY2752" fmla="*/ 4546948 h 6479439"/>
              <a:gd name="connsiteX2753" fmla="*/ 7189209 w 9586368"/>
              <a:gd name="connsiteY2753" fmla="*/ 4546948 h 6479439"/>
              <a:gd name="connsiteX2754" fmla="*/ 7193228 w 9586368"/>
              <a:gd name="connsiteY2754" fmla="*/ 4550987 h 6479439"/>
              <a:gd name="connsiteX2755" fmla="*/ 7193228 w 9586368"/>
              <a:gd name="connsiteY2755" fmla="*/ 4560858 h 6479439"/>
              <a:gd name="connsiteX2756" fmla="*/ 7189209 w 9586368"/>
              <a:gd name="connsiteY2756" fmla="*/ 4564897 h 6479439"/>
              <a:gd name="connsiteX2757" fmla="*/ 7179298 w 9586368"/>
              <a:gd name="connsiteY2757" fmla="*/ 4564897 h 6479439"/>
              <a:gd name="connsiteX2758" fmla="*/ 7175279 w 9586368"/>
              <a:gd name="connsiteY2758" fmla="*/ 4560858 h 6479439"/>
              <a:gd name="connsiteX2759" fmla="*/ 7175279 w 9586368"/>
              <a:gd name="connsiteY2759" fmla="*/ 4550987 h 6479439"/>
              <a:gd name="connsiteX2760" fmla="*/ 6939983 w 9586368"/>
              <a:gd name="connsiteY2760" fmla="*/ 4546948 h 6479439"/>
              <a:gd name="connsiteX2761" fmla="*/ 6949894 w 9586368"/>
              <a:gd name="connsiteY2761" fmla="*/ 4546948 h 6479439"/>
              <a:gd name="connsiteX2762" fmla="*/ 6953913 w 9586368"/>
              <a:gd name="connsiteY2762" fmla="*/ 4550987 h 6479439"/>
              <a:gd name="connsiteX2763" fmla="*/ 6953913 w 9586368"/>
              <a:gd name="connsiteY2763" fmla="*/ 4560858 h 6479439"/>
              <a:gd name="connsiteX2764" fmla="*/ 6949894 w 9586368"/>
              <a:gd name="connsiteY2764" fmla="*/ 4564897 h 6479439"/>
              <a:gd name="connsiteX2765" fmla="*/ 6939983 w 9586368"/>
              <a:gd name="connsiteY2765" fmla="*/ 4564897 h 6479439"/>
              <a:gd name="connsiteX2766" fmla="*/ 6935964 w 9586368"/>
              <a:gd name="connsiteY2766" fmla="*/ 4560858 h 6479439"/>
              <a:gd name="connsiteX2767" fmla="*/ 6935964 w 9586368"/>
              <a:gd name="connsiteY2767" fmla="*/ 4550987 h 6479439"/>
              <a:gd name="connsiteX2768" fmla="*/ 6700670 w 9586368"/>
              <a:gd name="connsiteY2768" fmla="*/ 4546948 h 6479439"/>
              <a:gd name="connsiteX2769" fmla="*/ 6710581 w 9586368"/>
              <a:gd name="connsiteY2769" fmla="*/ 4546948 h 6479439"/>
              <a:gd name="connsiteX2770" fmla="*/ 6714600 w 9586368"/>
              <a:gd name="connsiteY2770" fmla="*/ 4550987 h 6479439"/>
              <a:gd name="connsiteX2771" fmla="*/ 6714600 w 9586368"/>
              <a:gd name="connsiteY2771" fmla="*/ 4560858 h 6479439"/>
              <a:gd name="connsiteX2772" fmla="*/ 6710581 w 9586368"/>
              <a:gd name="connsiteY2772" fmla="*/ 4564897 h 6479439"/>
              <a:gd name="connsiteX2773" fmla="*/ 6700670 w 9586368"/>
              <a:gd name="connsiteY2773" fmla="*/ 4564897 h 6479439"/>
              <a:gd name="connsiteX2774" fmla="*/ 6696651 w 9586368"/>
              <a:gd name="connsiteY2774" fmla="*/ 4560858 h 6479439"/>
              <a:gd name="connsiteX2775" fmla="*/ 6696651 w 9586368"/>
              <a:gd name="connsiteY2775" fmla="*/ 4550987 h 6479439"/>
              <a:gd name="connsiteX2776" fmla="*/ 6461356 w 9586368"/>
              <a:gd name="connsiteY2776" fmla="*/ 4546948 h 6479439"/>
              <a:gd name="connsiteX2777" fmla="*/ 6471266 w 9586368"/>
              <a:gd name="connsiteY2777" fmla="*/ 4546948 h 6479439"/>
              <a:gd name="connsiteX2778" fmla="*/ 6475285 w 9586368"/>
              <a:gd name="connsiteY2778" fmla="*/ 4550987 h 6479439"/>
              <a:gd name="connsiteX2779" fmla="*/ 6475285 w 9586368"/>
              <a:gd name="connsiteY2779" fmla="*/ 4560858 h 6479439"/>
              <a:gd name="connsiteX2780" fmla="*/ 6471266 w 9586368"/>
              <a:gd name="connsiteY2780" fmla="*/ 4564897 h 6479439"/>
              <a:gd name="connsiteX2781" fmla="*/ 6461356 w 9586368"/>
              <a:gd name="connsiteY2781" fmla="*/ 4564897 h 6479439"/>
              <a:gd name="connsiteX2782" fmla="*/ 6457337 w 9586368"/>
              <a:gd name="connsiteY2782" fmla="*/ 4560858 h 6479439"/>
              <a:gd name="connsiteX2783" fmla="*/ 6457337 w 9586368"/>
              <a:gd name="connsiteY2783" fmla="*/ 4550987 h 6479439"/>
              <a:gd name="connsiteX2784" fmla="*/ 6222042 w 9586368"/>
              <a:gd name="connsiteY2784" fmla="*/ 4546948 h 6479439"/>
              <a:gd name="connsiteX2785" fmla="*/ 6231952 w 9586368"/>
              <a:gd name="connsiteY2785" fmla="*/ 4546948 h 6479439"/>
              <a:gd name="connsiteX2786" fmla="*/ 6235971 w 9586368"/>
              <a:gd name="connsiteY2786" fmla="*/ 4550987 h 6479439"/>
              <a:gd name="connsiteX2787" fmla="*/ 6235971 w 9586368"/>
              <a:gd name="connsiteY2787" fmla="*/ 4560858 h 6479439"/>
              <a:gd name="connsiteX2788" fmla="*/ 6231952 w 9586368"/>
              <a:gd name="connsiteY2788" fmla="*/ 4564897 h 6479439"/>
              <a:gd name="connsiteX2789" fmla="*/ 6222042 w 9586368"/>
              <a:gd name="connsiteY2789" fmla="*/ 4564897 h 6479439"/>
              <a:gd name="connsiteX2790" fmla="*/ 6218023 w 9586368"/>
              <a:gd name="connsiteY2790" fmla="*/ 4560858 h 6479439"/>
              <a:gd name="connsiteX2791" fmla="*/ 6218023 w 9586368"/>
              <a:gd name="connsiteY2791" fmla="*/ 4550987 h 6479439"/>
              <a:gd name="connsiteX2792" fmla="*/ 5982729 w 9586368"/>
              <a:gd name="connsiteY2792" fmla="*/ 4546948 h 6479439"/>
              <a:gd name="connsiteX2793" fmla="*/ 5992639 w 9586368"/>
              <a:gd name="connsiteY2793" fmla="*/ 4546948 h 6479439"/>
              <a:gd name="connsiteX2794" fmla="*/ 5996658 w 9586368"/>
              <a:gd name="connsiteY2794" fmla="*/ 4550987 h 6479439"/>
              <a:gd name="connsiteX2795" fmla="*/ 5996658 w 9586368"/>
              <a:gd name="connsiteY2795" fmla="*/ 4560858 h 6479439"/>
              <a:gd name="connsiteX2796" fmla="*/ 5992639 w 9586368"/>
              <a:gd name="connsiteY2796" fmla="*/ 4564897 h 6479439"/>
              <a:gd name="connsiteX2797" fmla="*/ 5982729 w 9586368"/>
              <a:gd name="connsiteY2797" fmla="*/ 4564897 h 6479439"/>
              <a:gd name="connsiteX2798" fmla="*/ 5978710 w 9586368"/>
              <a:gd name="connsiteY2798" fmla="*/ 4560858 h 6479439"/>
              <a:gd name="connsiteX2799" fmla="*/ 5978710 w 9586368"/>
              <a:gd name="connsiteY2799" fmla="*/ 4550987 h 6479439"/>
              <a:gd name="connsiteX2800" fmla="*/ 5743412 w 9586368"/>
              <a:gd name="connsiteY2800" fmla="*/ 4546948 h 6479439"/>
              <a:gd name="connsiteX2801" fmla="*/ 5753323 w 9586368"/>
              <a:gd name="connsiteY2801" fmla="*/ 4546948 h 6479439"/>
              <a:gd name="connsiteX2802" fmla="*/ 5757342 w 9586368"/>
              <a:gd name="connsiteY2802" fmla="*/ 4550987 h 6479439"/>
              <a:gd name="connsiteX2803" fmla="*/ 5757342 w 9586368"/>
              <a:gd name="connsiteY2803" fmla="*/ 4560858 h 6479439"/>
              <a:gd name="connsiteX2804" fmla="*/ 5753323 w 9586368"/>
              <a:gd name="connsiteY2804" fmla="*/ 4564897 h 6479439"/>
              <a:gd name="connsiteX2805" fmla="*/ 5743412 w 9586368"/>
              <a:gd name="connsiteY2805" fmla="*/ 4564897 h 6479439"/>
              <a:gd name="connsiteX2806" fmla="*/ 5739393 w 9586368"/>
              <a:gd name="connsiteY2806" fmla="*/ 4560858 h 6479439"/>
              <a:gd name="connsiteX2807" fmla="*/ 5739393 w 9586368"/>
              <a:gd name="connsiteY2807" fmla="*/ 4550987 h 6479439"/>
              <a:gd name="connsiteX2808" fmla="*/ 5504099 w 9586368"/>
              <a:gd name="connsiteY2808" fmla="*/ 4546948 h 6479439"/>
              <a:gd name="connsiteX2809" fmla="*/ 5514010 w 9586368"/>
              <a:gd name="connsiteY2809" fmla="*/ 4546948 h 6479439"/>
              <a:gd name="connsiteX2810" fmla="*/ 5518029 w 9586368"/>
              <a:gd name="connsiteY2810" fmla="*/ 4550987 h 6479439"/>
              <a:gd name="connsiteX2811" fmla="*/ 5518029 w 9586368"/>
              <a:gd name="connsiteY2811" fmla="*/ 4560858 h 6479439"/>
              <a:gd name="connsiteX2812" fmla="*/ 5514010 w 9586368"/>
              <a:gd name="connsiteY2812" fmla="*/ 4564897 h 6479439"/>
              <a:gd name="connsiteX2813" fmla="*/ 5504099 w 9586368"/>
              <a:gd name="connsiteY2813" fmla="*/ 4564897 h 6479439"/>
              <a:gd name="connsiteX2814" fmla="*/ 5500080 w 9586368"/>
              <a:gd name="connsiteY2814" fmla="*/ 4560858 h 6479439"/>
              <a:gd name="connsiteX2815" fmla="*/ 5500080 w 9586368"/>
              <a:gd name="connsiteY2815" fmla="*/ 4550987 h 6479439"/>
              <a:gd name="connsiteX2816" fmla="*/ 5264784 w 9586368"/>
              <a:gd name="connsiteY2816" fmla="*/ 4546948 h 6479439"/>
              <a:gd name="connsiteX2817" fmla="*/ 5274694 w 9586368"/>
              <a:gd name="connsiteY2817" fmla="*/ 4546948 h 6479439"/>
              <a:gd name="connsiteX2818" fmla="*/ 5278713 w 9586368"/>
              <a:gd name="connsiteY2818" fmla="*/ 4550987 h 6479439"/>
              <a:gd name="connsiteX2819" fmla="*/ 5278713 w 9586368"/>
              <a:gd name="connsiteY2819" fmla="*/ 4560858 h 6479439"/>
              <a:gd name="connsiteX2820" fmla="*/ 5274694 w 9586368"/>
              <a:gd name="connsiteY2820" fmla="*/ 4564897 h 6479439"/>
              <a:gd name="connsiteX2821" fmla="*/ 5264784 w 9586368"/>
              <a:gd name="connsiteY2821" fmla="*/ 4564897 h 6479439"/>
              <a:gd name="connsiteX2822" fmla="*/ 5260765 w 9586368"/>
              <a:gd name="connsiteY2822" fmla="*/ 4560858 h 6479439"/>
              <a:gd name="connsiteX2823" fmla="*/ 5260765 w 9586368"/>
              <a:gd name="connsiteY2823" fmla="*/ 4550987 h 6479439"/>
              <a:gd name="connsiteX2824" fmla="*/ 5025470 w 9586368"/>
              <a:gd name="connsiteY2824" fmla="*/ 4546948 h 6479439"/>
              <a:gd name="connsiteX2825" fmla="*/ 5035381 w 9586368"/>
              <a:gd name="connsiteY2825" fmla="*/ 4546948 h 6479439"/>
              <a:gd name="connsiteX2826" fmla="*/ 5039400 w 9586368"/>
              <a:gd name="connsiteY2826" fmla="*/ 4550987 h 6479439"/>
              <a:gd name="connsiteX2827" fmla="*/ 5039400 w 9586368"/>
              <a:gd name="connsiteY2827" fmla="*/ 4560858 h 6479439"/>
              <a:gd name="connsiteX2828" fmla="*/ 5035381 w 9586368"/>
              <a:gd name="connsiteY2828" fmla="*/ 4564897 h 6479439"/>
              <a:gd name="connsiteX2829" fmla="*/ 5025470 w 9586368"/>
              <a:gd name="connsiteY2829" fmla="*/ 4564897 h 6479439"/>
              <a:gd name="connsiteX2830" fmla="*/ 5021451 w 9586368"/>
              <a:gd name="connsiteY2830" fmla="*/ 4560858 h 6479439"/>
              <a:gd name="connsiteX2831" fmla="*/ 5021451 w 9586368"/>
              <a:gd name="connsiteY2831" fmla="*/ 4550987 h 6479439"/>
              <a:gd name="connsiteX2832" fmla="*/ 4786241 w 9586368"/>
              <a:gd name="connsiteY2832" fmla="*/ 4546948 h 6479439"/>
              <a:gd name="connsiteX2833" fmla="*/ 4796152 w 9586368"/>
              <a:gd name="connsiteY2833" fmla="*/ 4546948 h 6479439"/>
              <a:gd name="connsiteX2834" fmla="*/ 4800171 w 9586368"/>
              <a:gd name="connsiteY2834" fmla="*/ 4550987 h 6479439"/>
              <a:gd name="connsiteX2835" fmla="*/ 4800171 w 9586368"/>
              <a:gd name="connsiteY2835" fmla="*/ 4560858 h 6479439"/>
              <a:gd name="connsiteX2836" fmla="*/ 4796152 w 9586368"/>
              <a:gd name="connsiteY2836" fmla="*/ 4564897 h 6479439"/>
              <a:gd name="connsiteX2837" fmla="*/ 4786241 w 9586368"/>
              <a:gd name="connsiteY2837" fmla="*/ 4564897 h 6479439"/>
              <a:gd name="connsiteX2838" fmla="*/ 4782224 w 9586368"/>
              <a:gd name="connsiteY2838" fmla="*/ 4560858 h 6479439"/>
              <a:gd name="connsiteX2839" fmla="*/ 4782224 w 9586368"/>
              <a:gd name="connsiteY2839" fmla="*/ 4550987 h 6479439"/>
              <a:gd name="connsiteX2840" fmla="*/ 4546929 w 9586368"/>
              <a:gd name="connsiteY2840" fmla="*/ 4546948 h 6479439"/>
              <a:gd name="connsiteX2841" fmla="*/ 4556840 w 9586368"/>
              <a:gd name="connsiteY2841" fmla="*/ 4546948 h 6479439"/>
              <a:gd name="connsiteX2842" fmla="*/ 4560859 w 9586368"/>
              <a:gd name="connsiteY2842" fmla="*/ 4550987 h 6479439"/>
              <a:gd name="connsiteX2843" fmla="*/ 4560859 w 9586368"/>
              <a:gd name="connsiteY2843" fmla="*/ 4560858 h 6479439"/>
              <a:gd name="connsiteX2844" fmla="*/ 4556840 w 9586368"/>
              <a:gd name="connsiteY2844" fmla="*/ 4564897 h 6479439"/>
              <a:gd name="connsiteX2845" fmla="*/ 4546929 w 9586368"/>
              <a:gd name="connsiteY2845" fmla="*/ 4564897 h 6479439"/>
              <a:gd name="connsiteX2846" fmla="*/ 4542910 w 9586368"/>
              <a:gd name="connsiteY2846" fmla="*/ 4560858 h 6479439"/>
              <a:gd name="connsiteX2847" fmla="*/ 4542910 w 9586368"/>
              <a:gd name="connsiteY2847" fmla="*/ 4550987 h 6479439"/>
              <a:gd name="connsiteX2848" fmla="*/ 4307612 w 9586368"/>
              <a:gd name="connsiteY2848" fmla="*/ 4546948 h 6479439"/>
              <a:gd name="connsiteX2849" fmla="*/ 4317523 w 9586368"/>
              <a:gd name="connsiteY2849" fmla="*/ 4546948 h 6479439"/>
              <a:gd name="connsiteX2850" fmla="*/ 4321543 w 9586368"/>
              <a:gd name="connsiteY2850" fmla="*/ 4550987 h 6479439"/>
              <a:gd name="connsiteX2851" fmla="*/ 4321543 w 9586368"/>
              <a:gd name="connsiteY2851" fmla="*/ 4560858 h 6479439"/>
              <a:gd name="connsiteX2852" fmla="*/ 4317523 w 9586368"/>
              <a:gd name="connsiteY2852" fmla="*/ 4564897 h 6479439"/>
              <a:gd name="connsiteX2853" fmla="*/ 4307612 w 9586368"/>
              <a:gd name="connsiteY2853" fmla="*/ 4564897 h 6479439"/>
              <a:gd name="connsiteX2854" fmla="*/ 4303595 w 9586368"/>
              <a:gd name="connsiteY2854" fmla="*/ 4560858 h 6479439"/>
              <a:gd name="connsiteX2855" fmla="*/ 4303595 w 9586368"/>
              <a:gd name="connsiteY2855" fmla="*/ 4550987 h 6479439"/>
              <a:gd name="connsiteX2856" fmla="*/ 4068297 w 9586368"/>
              <a:gd name="connsiteY2856" fmla="*/ 4546948 h 6479439"/>
              <a:gd name="connsiteX2857" fmla="*/ 4078210 w 9586368"/>
              <a:gd name="connsiteY2857" fmla="*/ 4546948 h 6479439"/>
              <a:gd name="connsiteX2858" fmla="*/ 4082229 w 9586368"/>
              <a:gd name="connsiteY2858" fmla="*/ 4550987 h 6479439"/>
              <a:gd name="connsiteX2859" fmla="*/ 4082229 w 9586368"/>
              <a:gd name="connsiteY2859" fmla="*/ 4560858 h 6479439"/>
              <a:gd name="connsiteX2860" fmla="*/ 4078210 w 9586368"/>
              <a:gd name="connsiteY2860" fmla="*/ 4564897 h 6479439"/>
              <a:gd name="connsiteX2861" fmla="*/ 4068297 w 9586368"/>
              <a:gd name="connsiteY2861" fmla="*/ 4564897 h 6479439"/>
              <a:gd name="connsiteX2862" fmla="*/ 4064278 w 9586368"/>
              <a:gd name="connsiteY2862" fmla="*/ 4560858 h 6479439"/>
              <a:gd name="connsiteX2863" fmla="*/ 4064278 w 9586368"/>
              <a:gd name="connsiteY2863" fmla="*/ 4550987 h 6479439"/>
              <a:gd name="connsiteX2864" fmla="*/ 3828990 w 9586368"/>
              <a:gd name="connsiteY2864" fmla="*/ 4546948 h 6479439"/>
              <a:gd name="connsiteX2865" fmla="*/ 3838899 w 9586368"/>
              <a:gd name="connsiteY2865" fmla="*/ 4546948 h 6479439"/>
              <a:gd name="connsiteX2866" fmla="*/ 3842917 w 9586368"/>
              <a:gd name="connsiteY2866" fmla="*/ 4550987 h 6479439"/>
              <a:gd name="connsiteX2867" fmla="*/ 3842917 w 9586368"/>
              <a:gd name="connsiteY2867" fmla="*/ 4560858 h 6479439"/>
              <a:gd name="connsiteX2868" fmla="*/ 3838899 w 9586368"/>
              <a:gd name="connsiteY2868" fmla="*/ 4564897 h 6479439"/>
              <a:gd name="connsiteX2869" fmla="*/ 3828990 w 9586368"/>
              <a:gd name="connsiteY2869" fmla="*/ 4564897 h 6479439"/>
              <a:gd name="connsiteX2870" fmla="*/ 3824971 w 9586368"/>
              <a:gd name="connsiteY2870" fmla="*/ 4560858 h 6479439"/>
              <a:gd name="connsiteX2871" fmla="*/ 3824971 w 9586368"/>
              <a:gd name="connsiteY2871" fmla="*/ 4550987 h 6479439"/>
              <a:gd name="connsiteX2872" fmla="*/ 3589676 w 9586368"/>
              <a:gd name="connsiteY2872" fmla="*/ 4546948 h 6479439"/>
              <a:gd name="connsiteX2873" fmla="*/ 3599585 w 9586368"/>
              <a:gd name="connsiteY2873" fmla="*/ 4546948 h 6479439"/>
              <a:gd name="connsiteX2874" fmla="*/ 3603604 w 9586368"/>
              <a:gd name="connsiteY2874" fmla="*/ 4550987 h 6479439"/>
              <a:gd name="connsiteX2875" fmla="*/ 3603604 w 9586368"/>
              <a:gd name="connsiteY2875" fmla="*/ 4560858 h 6479439"/>
              <a:gd name="connsiteX2876" fmla="*/ 3599585 w 9586368"/>
              <a:gd name="connsiteY2876" fmla="*/ 4564897 h 6479439"/>
              <a:gd name="connsiteX2877" fmla="*/ 3589676 w 9586368"/>
              <a:gd name="connsiteY2877" fmla="*/ 4564897 h 6479439"/>
              <a:gd name="connsiteX2878" fmla="*/ 3585657 w 9586368"/>
              <a:gd name="connsiteY2878" fmla="*/ 4560858 h 6479439"/>
              <a:gd name="connsiteX2879" fmla="*/ 3585657 w 9586368"/>
              <a:gd name="connsiteY2879" fmla="*/ 4550987 h 6479439"/>
              <a:gd name="connsiteX2880" fmla="*/ 3350359 w 9586368"/>
              <a:gd name="connsiteY2880" fmla="*/ 4546948 h 6479439"/>
              <a:gd name="connsiteX2881" fmla="*/ 3360268 w 9586368"/>
              <a:gd name="connsiteY2881" fmla="*/ 4546948 h 6479439"/>
              <a:gd name="connsiteX2882" fmla="*/ 3364287 w 9586368"/>
              <a:gd name="connsiteY2882" fmla="*/ 4550987 h 6479439"/>
              <a:gd name="connsiteX2883" fmla="*/ 3364287 w 9586368"/>
              <a:gd name="connsiteY2883" fmla="*/ 4560858 h 6479439"/>
              <a:gd name="connsiteX2884" fmla="*/ 3360268 w 9586368"/>
              <a:gd name="connsiteY2884" fmla="*/ 4564897 h 6479439"/>
              <a:gd name="connsiteX2885" fmla="*/ 3350359 w 9586368"/>
              <a:gd name="connsiteY2885" fmla="*/ 4564897 h 6479439"/>
              <a:gd name="connsiteX2886" fmla="*/ 3346340 w 9586368"/>
              <a:gd name="connsiteY2886" fmla="*/ 4560858 h 6479439"/>
              <a:gd name="connsiteX2887" fmla="*/ 3346340 w 9586368"/>
              <a:gd name="connsiteY2887" fmla="*/ 4550987 h 6479439"/>
              <a:gd name="connsiteX2888" fmla="*/ 3111048 w 9586368"/>
              <a:gd name="connsiteY2888" fmla="*/ 4546948 h 6479439"/>
              <a:gd name="connsiteX2889" fmla="*/ 3120959 w 9586368"/>
              <a:gd name="connsiteY2889" fmla="*/ 4546948 h 6479439"/>
              <a:gd name="connsiteX2890" fmla="*/ 3124977 w 9586368"/>
              <a:gd name="connsiteY2890" fmla="*/ 4550987 h 6479439"/>
              <a:gd name="connsiteX2891" fmla="*/ 3124977 w 9586368"/>
              <a:gd name="connsiteY2891" fmla="*/ 4560858 h 6479439"/>
              <a:gd name="connsiteX2892" fmla="*/ 3120959 w 9586368"/>
              <a:gd name="connsiteY2892" fmla="*/ 4564897 h 6479439"/>
              <a:gd name="connsiteX2893" fmla="*/ 3111048 w 9586368"/>
              <a:gd name="connsiteY2893" fmla="*/ 4564897 h 6479439"/>
              <a:gd name="connsiteX2894" fmla="*/ 3107029 w 9586368"/>
              <a:gd name="connsiteY2894" fmla="*/ 4560858 h 6479439"/>
              <a:gd name="connsiteX2895" fmla="*/ 3107029 w 9586368"/>
              <a:gd name="connsiteY2895" fmla="*/ 4550987 h 6479439"/>
              <a:gd name="connsiteX2896" fmla="*/ 2871737 w 9586368"/>
              <a:gd name="connsiteY2896" fmla="*/ 4546948 h 6479439"/>
              <a:gd name="connsiteX2897" fmla="*/ 2881646 w 9586368"/>
              <a:gd name="connsiteY2897" fmla="*/ 4546948 h 6479439"/>
              <a:gd name="connsiteX2898" fmla="*/ 2885666 w 9586368"/>
              <a:gd name="connsiteY2898" fmla="*/ 4550987 h 6479439"/>
              <a:gd name="connsiteX2899" fmla="*/ 2885666 w 9586368"/>
              <a:gd name="connsiteY2899" fmla="*/ 4560858 h 6479439"/>
              <a:gd name="connsiteX2900" fmla="*/ 2881646 w 9586368"/>
              <a:gd name="connsiteY2900" fmla="*/ 4564897 h 6479439"/>
              <a:gd name="connsiteX2901" fmla="*/ 2871737 w 9586368"/>
              <a:gd name="connsiteY2901" fmla="*/ 4564897 h 6479439"/>
              <a:gd name="connsiteX2902" fmla="*/ 2867717 w 9586368"/>
              <a:gd name="connsiteY2902" fmla="*/ 4560858 h 6479439"/>
              <a:gd name="connsiteX2903" fmla="*/ 2867717 w 9586368"/>
              <a:gd name="connsiteY2903" fmla="*/ 4550987 h 6479439"/>
              <a:gd name="connsiteX2904" fmla="*/ 2632423 w 9586368"/>
              <a:gd name="connsiteY2904" fmla="*/ 4546948 h 6479439"/>
              <a:gd name="connsiteX2905" fmla="*/ 2642334 w 9586368"/>
              <a:gd name="connsiteY2905" fmla="*/ 4546948 h 6479439"/>
              <a:gd name="connsiteX2906" fmla="*/ 2646352 w 9586368"/>
              <a:gd name="connsiteY2906" fmla="*/ 4550987 h 6479439"/>
              <a:gd name="connsiteX2907" fmla="*/ 2646352 w 9586368"/>
              <a:gd name="connsiteY2907" fmla="*/ 4560858 h 6479439"/>
              <a:gd name="connsiteX2908" fmla="*/ 2642334 w 9586368"/>
              <a:gd name="connsiteY2908" fmla="*/ 4564897 h 6479439"/>
              <a:gd name="connsiteX2909" fmla="*/ 2632423 w 9586368"/>
              <a:gd name="connsiteY2909" fmla="*/ 4564897 h 6479439"/>
              <a:gd name="connsiteX2910" fmla="*/ 2628404 w 9586368"/>
              <a:gd name="connsiteY2910" fmla="*/ 4560858 h 6479439"/>
              <a:gd name="connsiteX2911" fmla="*/ 2628404 w 9586368"/>
              <a:gd name="connsiteY2911" fmla="*/ 4550987 h 6479439"/>
              <a:gd name="connsiteX2912" fmla="*/ 2393104 w 9586368"/>
              <a:gd name="connsiteY2912" fmla="*/ 4546948 h 6479439"/>
              <a:gd name="connsiteX2913" fmla="*/ 2403015 w 9586368"/>
              <a:gd name="connsiteY2913" fmla="*/ 4546948 h 6479439"/>
              <a:gd name="connsiteX2914" fmla="*/ 2407034 w 9586368"/>
              <a:gd name="connsiteY2914" fmla="*/ 4550987 h 6479439"/>
              <a:gd name="connsiteX2915" fmla="*/ 2407034 w 9586368"/>
              <a:gd name="connsiteY2915" fmla="*/ 4560858 h 6479439"/>
              <a:gd name="connsiteX2916" fmla="*/ 2403015 w 9586368"/>
              <a:gd name="connsiteY2916" fmla="*/ 4564897 h 6479439"/>
              <a:gd name="connsiteX2917" fmla="*/ 2393104 w 9586368"/>
              <a:gd name="connsiteY2917" fmla="*/ 4564897 h 6479439"/>
              <a:gd name="connsiteX2918" fmla="*/ 2389087 w 9586368"/>
              <a:gd name="connsiteY2918" fmla="*/ 4560858 h 6479439"/>
              <a:gd name="connsiteX2919" fmla="*/ 2389087 w 9586368"/>
              <a:gd name="connsiteY2919" fmla="*/ 4550987 h 6479439"/>
              <a:gd name="connsiteX2920" fmla="*/ 721964 w 9586368"/>
              <a:gd name="connsiteY2920" fmla="*/ 4546948 h 6479439"/>
              <a:gd name="connsiteX2921" fmla="*/ 731874 w 9586368"/>
              <a:gd name="connsiteY2921" fmla="*/ 4546948 h 6479439"/>
              <a:gd name="connsiteX2922" fmla="*/ 735893 w 9586368"/>
              <a:gd name="connsiteY2922" fmla="*/ 4550987 h 6479439"/>
              <a:gd name="connsiteX2923" fmla="*/ 735893 w 9586368"/>
              <a:gd name="connsiteY2923" fmla="*/ 4560858 h 6479439"/>
              <a:gd name="connsiteX2924" fmla="*/ 731874 w 9586368"/>
              <a:gd name="connsiteY2924" fmla="*/ 4564897 h 6479439"/>
              <a:gd name="connsiteX2925" fmla="*/ 721964 w 9586368"/>
              <a:gd name="connsiteY2925" fmla="*/ 4564897 h 6479439"/>
              <a:gd name="connsiteX2926" fmla="*/ 717945 w 9586368"/>
              <a:gd name="connsiteY2926" fmla="*/ 4560858 h 6479439"/>
              <a:gd name="connsiteX2927" fmla="*/ 717945 w 9586368"/>
              <a:gd name="connsiteY2927" fmla="*/ 4550987 h 6479439"/>
              <a:gd name="connsiteX2928" fmla="*/ 482651 w 9586368"/>
              <a:gd name="connsiteY2928" fmla="*/ 4546948 h 6479439"/>
              <a:gd name="connsiteX2929" fmla="*/ 492562 w 9586368"/>
              <a:gd name="connsiteY2929" fmla="*/ 4546948 h 6479439"/>
              <a:gd name="connsiteX2930" fmla="*/ 496581 w 9586368"/>
              <a:gd name="connsiteY2930" fmla="*/ 4550987 h 6479439"/>
              <a:gd name="connsiteX2931" fmla="*/ 496581 w 9586368"/>
              <a:gd name="connsiteY2931" fmla="*/ 4560858 h 6479439"/>
              <a:gd name="connsiteX2932" fmla="*/ 492562 w 9586368"/>
              <a:gd name="connsiteY2932" fmla="*/ 4564897 h 6479439"/>
              <a:gd name="connsiteX2933" fmla="*/ 482651 w 9586368"/>
              <a:gd name="connsiteY2933" fmla="*/ 4564897 h 6479439"/>
              <a:gd name="connsiteX2934" fmla="*/ 478632 w 9586368"/>
              <a:gd name="connsiteY2934" fmla="*/ 4560858 h 6479439"/>
              <a:gd name="connsiteX2935" fmla="*/ 478632 w 9586368"/>
              <a:gd name="connsiteY2935" fmla="*/ 4550987 h 6479439"/>
              <a:gd name="connsiteX2936" fmla="*/ 243338 w 9586368"/>
              <a:gd name="connsiteY2936" fmla="*/ 4546948 h 6479439"/>
              <a:gd name="connsiteX2937" fmla="*/ 253248 w 9586368"/>
              <a:gd name="connsiteY2937" fmla="*/ 4546948 h 6479439"/>
              <a:gd name="connsiteX2938" fmla="*/ 257267 w 9586368"/>
              <a:gd name="connsiteY2938" fmla="*/ 4550987 h 6479439"/>
              <a:gd name="connsiteX2939" fmla="*/ 257267 w 9586368"/>
              <a:gd name="connsiteY2939" fmla="*/ 4560858 h 6479439"/>
              <a:gd name="connsiteX2940" fmla="*/ 253248 w 9586368"/>
              <a:gd name="connsiteY2940" fmla="*/ 4564897 h 6479439"/>
              <a:gd name="connsiteX2941" fmla="*/ 243338 w 9586368"/>
              <a:gd name="connsiteY2941" fmla="*/ 4564897 h 6479439"/>
              <a:gd name="connsiteX2942" fmla="*/ 239319 w 9586368"/>
              <a:gd name="connsiteY2942" fmla="*/ 4560858 h 6479439"/>
              <a:gd name="connsiteX2943" fmla="*/ 239319 w 9586368"/>
              <a:gd name="connsiteY2943" fmla="*/ 4550987 h 6479439"/>
              <a:gd name="connsiteX2944" fmla="*/ 4025 w 9586368"/>
              <a:gd name="connsiteY2944" fmla="*/ 4546948 h 6479439"/>
              <a:gd name="connsiteX2945" fmla="*/ 13935 w 9586368"/>
              <a:gd name="connsiteY2945" fmla="*/ 4546948 h 6479439"/>
              <a:gd name="connsiteX2946" fmla="*/ 17954 w 9586368"/>
              <a:gd name="connsiteY2946" fmla="*/ 4550987 h 6479439"/>
              <a:gd name="connsiteX2947" fmla="*/ 17954 w 9586368"/>
              <a:gd name="connsiteY2947" fmla="*/ 4560858 h 6479439"/>
              <a:gd name="connsiteX2948" fmla="*/ 13935 w 9586368"/>
              <a:gd name="connsiteY2948" fmla="*/ 4564897 h 6479439"/>
              <a:gd name="connsiteX2949" fmla="*/ 4025 w 9586368"/>
              <a:gd name="connsiteY2949" fmla="*/ 4564897 h 6479439"/>
              <a:gd name="connsiteX2950" fmla="*/ 6 w 9586368"/>
              <a:gd name="connsiteY2950" fmla="*/ 4560858 h 6479439"/>
              <a:gd name="connsiteX2951" fmla="*/ 6 w 9586368"/>
              <a:gd name="connsiteY2951" fmla="*/ 4550987 h 6479439"/>
              <a:gd name="connsiteX2952" fmla="*/ 2157819 w 9586368"/>
              <a:gd name="connsiteY2952" fmla="*/ 4307669 h 6479439"/>
              <a:gd name="connsiteX2953" fmla="*/ 2167729 w 9586368"/>
              <a:gd name="connsiteY2953" fmla="*/ 4307669 h 6479439"/>
              <a:gd name="connsiteX2954" fmla="*/ 2171749 w 9586368"/>
              <a:gd name="connsiteY2954" fmla="*/ 4311708 h 6479439"/>
              <a:gd name="connsiteX2955" fmla="*/ 2171749 w 9586368"/>
              <a:gd name="connsiteY2955" fmla="*/ 4321579 h 6479439"/>
              <a:gd name="connsiteX2956" fmla="*/ 2167729 w 9586368"/>
              <a:gd name="connsiteY2956" fmla="*/ 4325618 h 6479439"/>
              <a:gd name="connsiteX2957" fmla="*/ 2157819 w 9586368"/>
              <a:gd name="connsiteY2957" fmla="*/ 4325618 h 6479439"/>
              <a:gd name="connsiteX2958" fmla="*/ 2153801 w 9586368"/>
              <a:gd name="connsiteY2958" fmla="*/ 4321579 h 6479439"/>
              <a:gd name="connsiteX2959" fmla="*/ 2153801 w 9586368"/>
              <a:gd name="connsiteY2959" fmla="*/ 4311708 h 6479439"/>
              <a:gd name="connsiteX2960" fmla="*/ 1918511 w 9586368"/>
              <a:gd name="connsiteY2960" fmla="*/ 4307669 h 6479439"/>
              <a:gd name="connsiteX2961" fmla="*/ 1928421 w 9586368"/>
              <a:gd name="connsiteY2961" fmla="*/ 4307669 h 6479439"/>
              <a:gd name="connsiteX2962" fmla="*/ 1932440 w 9586368"/>
              <a:gd name="connsiteY2962" fmla="*/ 4311708 h 6479439"/>
              <a:gd name="connsiteX2963" fmla="*/ 1932440 w 9586368"/>
              <a:gd name="connsiteY2963" fmla="*/ 4321579 h 6479439"/>
              <a:gd name="connsiteX2964" fmla="*/ 1928421 w 9586368"/>
              <a:gd name="connsiteY2964" fmla="*/ 4325618 h 6479439"/>
              <a:gd name="connsiteX2965" fmla="*/ 1918511 w 9586368"/>
              <a:gd name="connsiteY2965" fmla="*/ 4325618 h 6479439"/>
              <a:gd name="connsiteX2966" fmla="*/ 1914492 w 9586368"/>
              <a:gd name="connsiteY2966" fmla="*/ 4321579 h 6479439"/>
              <a:gd name="connsiteX2967" fmla="*/ 1914492 w 9586368"/>
              <a:gd name="connsiteY2967" fmla="*/ 4311708 h 6479439"/>
              <a:gd name="connsiteX2968" fmla="*/ 1679206 w 9586368"/>
              <a:gd name="connsiteY2968" fmla="*/ 4307669 h 6479439"/>
              <a:gd name="connsiteX2969" fmla="*/ 1689117 w 9586368"/>
              <a:gd name="connsiteY2969" fmla="*/ 4307669 h 6479439"/>
              <a:gd name="connsiteX2970" fmla="*/ 1693136 w 9586368"/>
              <a:gd name="connsiteY2970" fmla="*/ 4311708 h 6479439"/>
              <a:gd name="connsiteX2971" fmla="*/ 1693136 w 9586368"/>
              <a:gd name="connsiteY2971" fmla="*/ 4321579 h 6479439"/>
              <a:gd name="connsiteX2972" fmla="*/ 1689117 w 9586368"/>
              <a:gd name="connsiteY2972" fmla="*/ 4325618 h 6479439"/>
              <a:gd name="connsiteX2973" fmla="*/ 1679206 w 9586368"/>
              <a:gd name="connsiteY2973" fmla="*/ 4325618 h 6479439"/>
              <a:gd name="connsiteX2974" fmla="*/ 1675188 w 9586368"/>
              <a:gd name="connsiteY2974" fmla="*/ 4321579 h 6479439"/>
              <a:gd name="connsiteX2975" fmla="*/ 1675188 w 9586368"/>
              <a:gd name="connsiteY2975" fmla="*/ 4311708 h 6479439"/>
              <a:gd name="connsiteX2976" fmla="*/ 1439891 w 9586368"/>
              <a:gd name="connsiteY2976" fmla="*/ 4307669 h 6479439"/>
              <a:gd name="connsiteX2977" fmla="*/ 1449801 w 9586368"/>
              <a:gd name="connsiteY2977" fmla="*/ 4307669 h 6479439"/>
              <a:gd name="connsiteX2978" fmla="*/ 1453819 w 9586368"/>
              <a:gd name="connsiteY2978" fmla="*/ 4311708 h 6479439"/>
              <a:gd name="connsiteX2979" fmla="*/ 1453819 w 9586368"/>
              <a:gd name="connsiteY2979" fmla="*/ 4321579 h 6479439"/>
              <a:gd name="connsiteX2980" fmla="*/ 1449801 w 9586368"/>
              <a:gd name="connsiteY2980" fmla="*/ 4325618 h 6479439"/>
              <a:gd name="connsiteX2981" fmla="*/ 1439891 w 9586368"/>
              <a:gd name="connsiteY2981" fmla="*/ 4325618 h 6479439"/>
              <a:gd name="connsiteX2982" fmla="*/ 1435871 w 9586368"/>
              <a:gd name="connsiteY2982" fmla="*/ 4321579 h 6479439"/>
              <a:gd name="connsiteX2983" fmla="*/ 1435871 w 9586368"/>
              <a:gd name="connsiteY2983" fmla="*/ 4311708 h 6479439"/>
              <a:gd name="connsiteX2984" fmla="*/ 1200575 w 9586368"/>
              <a:gd name="connsiteY2984" fmla="*/ 4307669 h 6479439"/>
              <a:gd name="connsiteX2985" fmla="*/ 1210486 w 9586368"/>
              <a:gd name="connsiteY2985" fmla="*/ 4307669 h 6479439"/>
              <a:gd name="connsiteX2986" fmla="*/ 1214505 w 9586368"/>
              <a:gd name="connsiteY2986" fmla="*/ 4311708 h 6479439"/>
              <a:gd name="connsiteX2987" fmla="*/ 1214505 w 9586368"/>
              <a:gd name="connsiteY2987" fmla="*/ 4321579 h 6479439"/>
              <a:gd name="connsiteX2988" fmla="*/ 1210486 w 9586368"/>
              <a:gd name="connsiteY2988" fmla="*/ 4325618 h 6479439"/>
              <a:gd name="connsiteX2989" fmla="*/ 1200575 w 9586368"/>
              <a:gd name="connsiteY2989" fmla="*/ 4325618 h 6479439"/>
              <a:gd name="connsiteX2990" fmla="*/ 1196556 w 9586368"/>
              <a:gd name="connsiteY2990" fmla="*/ 4321579 h 6479439"/>
              <a:gd name="connsiteX2991" fmla="*/ 1196556 w 9586368"/>
              <a:gd name="connsiteY2991" fmla="*/ 4311708 h 6479439"/>
              <a:gd name="connsiteX2992" fmla="*/ 961263 w 9586368"/>
              <a:gd name="connsiteY2992" fmla="*/ 4307669 h 6479439"/>
              <a:gd name="connsiteX2993" fmla="*/ 971173 w 9586368"/>
              <a:gd name="connsiteY2993" fmla="*/ 4307669 h 6479439"/>
              <a:gd name="connsiteX2994" fmla="*/ 975191 w 9586368"/>
              <a:gd name="connsiteY2994" fmla="*/ 4311708 h 6479439"/>
              <a:gd name="connsiteX2995" fmla="*/ 975191 w 9586368"/>
              <a:gd name="connsiteY2995" fmla="*/ 4321579 h 6479439"/>
              <a:gd name="connsiteX2996" fmla="*/ 971173 w 9586368"/>
              <a:gd name="connsiteY2996" fmla="*/ 4325618 h 6479439"/>
              <a:gd name="connsiteX2997" fmla="*/ 961263 w 9586368"/>
              <a:gd name="connsiteY2997" fmla="*/ 4325618 h 6479439"/>
              <a:gd name="connsiteX2998" fmla="*/ 957244 w 9586368"/>
              <a:gd name="connsiteY2998" fmla="*/ 4321579 h 6479439"/>
              <a:gd name="connsiteX2999" fmla="*/ 957244 w 9586368"/>
              <a:gd name="connsiteY2999" fmla="*/ 4311708 h 6479439"/>
              <a:gd name="connsiteX3000" fmla="*/ 9572438 w 9586368"/>
              <a:gd name="connsiteY3000" fmla="*/ 4307617 h 6479439"/>
              <a:gd name="connsiteX3001" fmla="*/ 9582349 w 9586368"/>
              <a:gd name="connsiteY3001" fmla="*/ 4307617 h 6479439"/>
              <a:gd name="connsiteX3002" fmla="*/ 9586368 w 9586368"/>
              <a:gd name="connsiteY3002" fmla="*/ 4311656 h 6479439"/>
              <a:gd name="connsiteX3003" fmla="*/ 9586368 w 9586368"/>
              <a:gd name="connsiteY3003" fmla="*/ 4321527 h 6479439"/>
              <a:gd name="connsiteX3004" fmla="*/ 9582349 w 9586368"/>
              <a:gd name="connsiteY3004" fmla="*/ 4325566 h 6479439"/>
              <a:gd name="connsiteX3005" fmla="*/ 9572438 w 9586368"/>
              <a:gd name="connsiteY3005" fmla="*/ 4325566 h 6479439"/>
              <a:gd name="connsiteX3006" fmla="*/ 9568419 w 9586368"/>
              <a:gd name="connsiteY3006" fmla="*/ 4321527 h 6479439"/>
              <a:gd name="connsiteX3007" fmla="*/ 9568419 w 9586368"/>
              <a:gd name="connsiteY3007" fmla="*/ 4311656 h 6479439"/>
              <a:gd name="connsiteX3008" fmla="*/ 9333125 w 9586368"/>
              <a:gd name="connsiteY3008" fmla="*/ 4307617 h 6479439"/>
              <a:gd name="connsiteX3009" fmla="*/ 9343036 w 9586368"/>
              <a:gd name="connsiteY3009" fmla="*/ 4307617 h 6479439"/>
              <a:gd name="connsiteX3010" fmla="*/ 9347055 w 9586368"/>
              <a:gd name="connsiteY3010" fmla="*/ 4311656 h 6479439"/>
              <a:gd name="connsiteX3011" fmla="*/ 9347055 w 9586368"/>
              <a:gd name="connsiteY3011" fmla="*/ 4321527 h 6479439"/>
              <a:gd name="connsiteX3012" fmla="*/ 9343036 w 9586368"/>
              <a:gd name="connsiteY3012" fmla="*/ 4325566 h 6479439"/>
              <a:gd name="connsiteX3013" fmla="*/ 9333125 w 9586368"/>
              <a:gd name="connsiteY3013" fmla="*/ 4325566 h 6479439"/>
              <a:gd name="connsiteX3014" fmla="*/ 9329106 w 9586368"/>
              <a:gd name="connsiteY3014" fmla="*/ 4321527 h 6479439"/>
              <a:gd name="connsiteX3015" fmla="*/ 9329106 w 9586368"/>
              <a:gd name="connsiteY3015" fmla="*/ 4311656 h 6479439"/>
              <a:gd name="connsiteX3016" fmla="*/ 9093811 w 9586368"/>
              <a:gd name="connsiteY3016" fmla="*/ 4307617 h 6479439"/>
              <a:gd name="connsiteX3017" fmla="*/ 9103722 w 9586368"/>
              <a:gd name="connsiteY3017" fmla="*/ 4307617 h 6479439"/>
              <a:gd name="connsiteX3018" fmla="*/ 9107741 w 9586368"/>
              <a:gd name="connsiteY3018" fmla="*/ 4311656 h 6479439"/>
              <a:gd name="connsiteX3019" fmla="*/ 9107741 w 9586368"/>
              <a:gd name="connsiteY3019" fmla="*/ 4321527 h 6479439"/>
              <a:gd name="connsiteX3020" fmla="*/ 9103722 w 9586368"/>
              <a:gd name="connsiteY3020" fmla="*/ 4325566 h 6479439"/>
              <a:gd name="connsiteX3021" fmla="*/ 9093811 w 9586368"/>
              <a:gd name="connsiteY3021" fmla="*/ 4325566 h 6479439"/>
              <a:gd name="connsiteX3022" fmla="*/ 9089792 w 9586368"/>
              <a:gd name="connsiteY3022" fmla="*/ 4321527 h 6479439"/>
              <a:gd name="connsiteX3023" fmla="*/ 9089792 w 9586368"/>
              <a:gd name="connsiteY3023" fmla="*/ 4311656 h 6479439"/>
              <a:gd name="connsiteX3024" fmla="*/ 8854496 w 9586368"/>
              <a:gd name="connsiteY3024" fmla="*/ 4307617 h 6479439"/>
              <a:gd name="connsiteX3025" fmla="*/ 8864407 w 9586368"/>
              <a:gd name="connsiteY3025" fmla="*/ 4307617 h 6479439"/>
              <a:gd name="connsiteX3026" fmla="*/ 8868426 w 9586368"/>
              <a:gd name="connsiteY3026" fmla="*/ 4311656 h 6479439"/>
              <a:gd name="connsiteX3027" fmla="*/ 8868426 w 9586368"/>
              <a:gd name="connsiteY3027" fmla="*/ 4321527 h 6479439"/>
              <a:gd name="connsiteX3028" fmla="*/ 8864407 w 9586368"/>
              <a:gd name="connsiteY3028" fmla="*/ 4325566 h 6479439"/>
              <a:gd name="connsiteX3029" fmla="*/ 8854496 w 9586368"/>
              <a:gd name="connsiteY3029" fmla="*/ 4325566 h 6479439"/>
              <a:gd name="connsiteX3030" fmla="*/ 8850477 w 9586368"/>
              <a:gd name="connsiteY3030" fmla="*/ 4321527 h 6479439"/>
              <a:gd name="connsiteX3031" fmla="*/ 8850477 w 9586368"/>
              <a:gd name="connsiteY3031" fmla="*/ 4311656 h 6479439"/>
              <a:gd name="connsiteX3032" fmla="*/ 8615184 w 9586368"/>
              <a:gd name="connsiteY3032" fmla="*/ 4307617 h 6479439"/>
              <a:gd name="connsiteX3033" fmla="*/ 8625095 w 9586368"/>
              <a:gd name="connsiteY3033" fmla="*/ 4307617 h 6479439"/>
              <a:gd name="connsiteX3034" fmla="*/ 8629114 w 9586368"/>
              <a:gd name="connsiteY3034" fmla="*/ 4311656 h 6479439"/>
              <a:gd name="connsiteX3035" fmla="*/ 8629114 w 9586368"/>
              <a:gd name="connsiteY3035" fmla="*/ 4321527 h 6479439"/>
              <a:gd name="connsiteX3036" fmla="*/ 8625095 w 9586368"/>
              <a:gd name="connsiteY3036" fmla="*/ 4325566 h 6479439"/>
              <a:gd name="connsiteX3037" fmla="*/ 8615184 w 9586368"/>
              <a:gd name="connsiteY3037" fmla="*/ 4325566 h 6479439"/>
              <a:gd name="connsiteX3038" fmla="*/ 8611165 w 9586368"/>
              <a:gd name="connsiteY3038" fmla="*/ 4321527 h 6479439"/>
              <a:gd name="connsiteX3039" fmla="*/ 8611165 w 9586368"/>
              <a:gd name="connsiteY3039" fmla="*/ 4311656 h 6479439"/>
              <a:gd name="connsiteX3040" fmla="*/ 8375869 w 9586368"/>
              <a:gd name="connsiteY3040" fmla="*/ 4307617 h 6479439"/>
              <a:gd name="connsiteX3041" fmla="*/ 8385779 w 9586368"/>
              <a:gd name="connsiteY3041" fmla="*/ 4307617 h 6479439"/>
              <a:gd name="connsiteX3042" fmla="*/ 8389799 w 9586368"/>
              <a:gd name="connsiteY3042" fmla="*/ 4311656 h 6479439"/>
              <a:gd name="connsiteX3043" fmla="*/ 8389799 w 9586368"/>
              <a:gd name="connsiteY3043" fmla="*/ 4321527 h 6479439"/>
              <a:gd name="connsiteX3044" fmla="*/ 8385779 w 9586368"/>
              <a:gd name="connsiteY3044" fmla="*/ 4325566 h 6479439"/>
              <a:gd name="connsiteX3045" fmla="*/ 8375869 w 9586368"/>
              <a:gd name="connsiteY3045" fmla="*/ 4325566 h 6479439"/>
              <a:gd name="connsiteX3046" fmla="*/ 8371850 w 9586368"/>
              <a:gd name="connsiteY3046" fmla="*/ 4321527 h 6479439"/>
              <a:gd name="connsiteX3047" fmla="*/ 8371850 w 9586368"/>
              <a:gd name="connsiteY3047" fmla="*/ 4311656 h 6479439"/>
              <a:gd name="connsiteX3048" fmla="*/ 8136553 w 9586368"/>
              <a:gd name="connsiteY3048" fmla="*/ 4307617 h 6479439"/>
              <a:gd name="connsiteX3049" fmla="*/ 8146464 w 9586368"/>
              <a:gd name="connsiteY3049" fmla="*/ 4307617 h 6479439"/>
              <a:gd name="connsiteX3050" fmla="*/ 8150483 w 9586368"/>
              <a:gd name="connsiteY3050" fmla="*/ 4311656 h 6479439"/>
              <a:gd name="connsiteX3051" fmla="*/ 8150483 w 9586368"/>
              <a:gd name="connsiteY3051" fmla="*/ 4321527 h 6479439"/>
              <a:gd name="connsiteX3052" fmla="*/ 8146464 w 9586368"/>
              <a:gd name="connsiteY3052" fmla="*/ 4325566 h 6479439"/>
              <a:gd name="connsiteX3053" fmla="*/ 8136553 w 9586368"/>
              <a:gd name="connsiteY3053" fmla="*/ 4325566 h 6479439"/>
              <a:gd name="connsiteX3054" fmla="*/ 8132534 w 9586368"/>
              <a:gd name="connsiteY3054" fmla="*/ 4321527 h 6479439"/>
              <a:gd name="connsiteX3055" fmla="*/ 8132534 w 9586368"/>
              <a:gd name="connsiteY3055" fmla="*/ 4311656 h 6479439"/>
              <a:gd name="connsiteX3056" fmla="*/ 7897241 w 9586368"/>
              <a:gd name="connsiteY3056" fmla="*/ 4307617 h 6479439"/>
              <a:gd name="connsiteX3057" fmla="*/ 7907151 w 9586368"/>
              <a:gd name="connsiteY3057" fmla="*/ 4307617 h 6479439"/>
              <a:gd name="connsiteX3058" fmla="*/ 7911170 w 9586368"/>
              <a:gd name="connsiteY3058" fmla="*/ 4311656 h 6479439"/>
              <a:gd name="connsiteX3059" fmla="*/ 7911170 w 9586368"/>
              <a:gd name="connsiteY3059" fmla="*/ 4321527 h 6479439"/>
              <a:gd name="connsiteX3060" fmla="*/ 7907151 w 9586368"/>
              <a:gd name="connsiteY3060" fmla="*/ 4325566 h 6479439"/>
              <a:gd name="connsiteX3061" fmla="*/ 7897241 w 9586368"/>
              <a:gd name="connsiteY3061" fmla="*/ 4325566 h 6479439"/>
              <a:gd name="connsiteX3062" fmla="*/ 7893222 w 9586368"/>
              <a:gd name="connsiteY3062" fmla="*/ 4321527 h 6479439"/>
              <a:gd name="connsiteX3063" fmla="*/ 7893222 w 9586368"/>
              <a:gd name="connsiteY3063" fmla="*/ 4311656 h 6479439"/>
              <a:gd name="connsiteX3064" fmla="*/ 7657926 w 9586368"/>
              <a:gd name="connsiteY3064" fmla="*/ 4307617 h 6479439"/>
              <a:gd name="connsiteX3065" fmla="*/ 7667836 w 9586368"/>
              <a:gd name="connsiteY3065" fmla="*/ 4307617 h 6479439"/>
              <a:gd name="connsiteX3066" fmla="*/ 7671855 w 9586368"/>
              <a:gd name="connsiteY3066" fmla="*/ 4311656 h 6479439"/>
              <a:gd name="connsiteX3067" fmla="*/ 7671855 w 9586368"/>
              <a:gd name="connsiteY3067" fmla="*/ 4321527 h 6479439"/>
              <a:gd name="connsiteX3068" fmla="*/ 7667836 w 9586368"/>
              <a:gd name="connsiteY3068" fmla="*/ 4325566 h 6479439"/>
              <a:gd name="connsiteX3069" fmla="*/ 7657926 w 9586368"/>
              <a:gd name="connsiteY3069" fmla="*/ 4325566 h 6479439"/>
              <a:gd name="connsiteX3070" fmla="*/ 7653906 w 9586368"/>
              <a:gd name="connsiteY3070" fmla="*/ 4321527 h 6479439"/>
              <a:gd name="connsiteX3071" fmla="*/ 7653906 w 9586368"/>
              <a:gd name="connsiteY3071" fmla="*/ 4311656 h 6479439"/>
              <a:gd name="connsiteX3072" fmla="*/ 7418611 w 9586368"/>
              <a:gd name="connsiteY3072" fmla="*/ 4307617 h 6479439"/>
              <a:gd name="connsiteX3073" fmla="*/ 7428521 w 9586368"/>
              <a:gd name="connsiteY3073" fmla="*/ 4307617 h 6479439"/>
              <a:gd name="connsiteX3074" fmla="*/ 7432540 w 9586368"/>
              <a:gd name="connsiteY3074" fmla="*/ 4311656 h 6479439"/>
              <a:gd name="connsiteX3075" fmla="*/ 7432540 w 9586368"/>
              <a:gd name="connsiteY3075" fmla="*/ 4321527 h 6479439"/>
              <a:gd name="connsiteX3076" fmla="*/ 7428521 w 9586368"/>
              <a:gd name="connsiteY3076" fmla="*/ 4325566 h 6479439"/>
              <a:gd name="connsiteX3077" fmla="*/ 7418611 w 9586368"/>
              <a:gd name="connsiteY3077" fmla="*/ 4325566 h 6479439"/>
              <a:gd name="connsiteX3078" fmla="*/ 7414592 w 9586368"/>
              <a:gd name="connsiteY3078" fmla="*/ 4321527 h 6479439"/>
              <a:gd name="connsiteX3079" fmla="*/ 7414592 w 9586368"/>
              <a:gd name="connsiteY3079" fmla="*/ 4311656 h 6479439"/>
              <a:gd name="connsiteX3080" fmla="*/ 7179298 w 9586368"/>
              <a:gd name="connsiteY3080" fmla="*/ 4307617 h 6479439"/>
              <a:gd name="connsiteX3081" fmla="*/ 7189209 w 9586368"/>
              <a:gd name="connsiteY3081" fmla="*/ 4307617 h 6479439"/>
              <a:gd name="connsiteX3082" fmla="*/ 7193228 w 9586368"/>
              <a:gd name="connsiteY3082" fmla="*/ 4311656 h 6479439"/>
              <a:gd name="connsiteX3083" fmla="*/ 7193228 w 9586368"/>
              <a:gd name="connsiteY3083" fmla="*/ 4321527 h 6479439"/>
              <a:gd name="connsiteX3084" fmla="*/ 7189209 w 9586368"/>
              <a:gd name="connsiteY3084" fmla="*/ 4325566 h 6479439"/>
              <a:gd name="connsiteX3085" fmla="*/ 7179298 w 9586368"/>
              <a:gd name="connsiteY3085" fmla="*/ 4325566 h 6479439"/>
              <a:gd name="connsiteX3086" fmla="*/ 7175279 w 9586368"/>
              <a:gd name="connsiteY3086" fmla="*/ 4321527 h 6479439"/>
              <a:gd name="connsiteX3087" fmla="*/ 7175279 w 9586368"/>
              <a:gd name="connsiteY3087" fmla="*/ 4311656 h 6479439"/>
              <a:gd name="connsiteX3088" fmla="*/ 6939983 w 9586368"/>
              <a:gd name="connsiteY3088" fmla="*/ 4307617 h 6479439"/>
              <a:gd name="connsiteX3089" fmla="*/ 6949894 w 9586368"/>
              <a:gd name="connsiteY3089" fmla="*/ 4307617 h 6479439"/>
              <a:gd name="connsiteX3090" fmla="*/ 6953913 w 9586368"/>
              <a:gd name="connsiteY3090" fmla="*/ 4311656 h 6479439"/>
              <a:gd name="connsiteX3091" fmla="*/ 6953913 w 9586368"/>
              <a:gd name="connsiteY3091" fmla="*/ 4321527 h 6479439"/>
              <a:gd name="connsiteX3092" fmla="*/ 6949894 w 9586368"/>
              <a:gd name="connsiteY3092" fmla="*/ 4325566 h 6479439"/>
              <a:gd name="connsiteX3093" fmla="*/ 6939983 w 9586368"/>
              <a:gd name="connsiteY3093" fmla="*/ 4325566 h 6479439"/>
              <a:gd name="connsiteX3094" fmla="*/ 6935964 w 9586368"/>
              <a:gd name="connsiteY3094" fmla="*/ 4321527 h 6479439"/>
              <a:gd name="connsiteX3095" fmla="*/ 6935964 w 9586368"/>
              <a:gd name="connsiteY3095" fmla="*/ 4311656 h 6479439"/>
              <a:gd name="connsiteX3096" fmla="*/ 6700670 w 9586368"/>
              <a:gd name="connsiteY3096" fmla="*/ 4307617 h 6479439"/>
              <a:gd name="connsiteX3097" fmla="*/ 6710581 w 9586368"/>
              <a:gd name="connsiteY3097" fmla="*/ 4307617 h 6479439"/>
              <a:gd name="connsiteX3098" fmla="*/ 6714600 w 9586368"/>
              <a:gd name="connsiteY3098" fmla="*/ 4311656 h 6479439"/>
              <a:gd name="connsiteX3099" fmla="*/ 6714600 w 9586368"/>
              <a:gd name="connsiteY3099" fmla="*/ 4321527 h 6479439"/>
              <a:gd name="connsiteX3100" fmla="*/ 6710581 w 9586368"/>
              <a:gd name="connsiteY3100" fmla="*/ 4325566 h 6479439"/>
              <a:gd name="connsiteX3101" fmla="*/ 6700670 w 9586368"/>
              <a:gd name="connsiteY3101" fmla="*/ 4325566 h 6479439"/>
              <a:gd name="connsiteX3102" fmla="*/ 6696651 w 9586368"/>
              <a:gd name="connsiteY3102" fmla="*/ 4321527 h 6479439"/>
              <a:gd name="connsiteX3103" fmla="*/ 6696651 w 9586368"/>
              <a:gd name="connsiteY3103" fmla="*/ 4311656 h 6479439"/>
              <a:gd name="connsiteX3104" fmla="*/ 6461356 w 9586368"/>
              <a:gd name="connsiteY3104" fmla="*/ 4307617 h 6479439"/>
              <a:gd name="connsiteX3105" fmla="*/ 6471266 w 9586368"/>
              <a:gd name="connsiteY3105" fmla="*/ 4307617 h 6479439"/>
              <a:gd name="connsiteX3106" fmla="*/ 6475285 w 9586368"/>
              <a:gd name="connsiteY3106" fmla="*/ 4311656 h 6479439"/>
              <a:gd name="connsiteX3107" fmla="*/ 6475285 w 9586368"/>
              <a:gd name="connsiteY3107" fmla="*/ 4321527 h 6479439"/>
              <a:gd name="connsiteX3108" fmla="*/ 6471266 w 9586368"/>
              <a:gd name="connsiteY3108" fmla="*/ 4325566 h 6479439"/>
              <a:gd name="connsiteX3109" fmla="*/ 6461356 w 9586368"/>
              <a:gd name="connsiteY3109" fmla="*/ 4325566 h 6479439"/>
              <a:gd name="connsiteX3110" fmla="*/ 6457337 w 9586368"/>
              <a:gd name="connsiteY3110" fmla="*/ 4321527 h 6479439"/>
              <a:gd name="connsiteX3111" fmla="*/ 6457337 w 9586368"/>
              <a:gd name="connsiteY3111" fmla="*/ 4311656 h 6479439"/>
              <a:gd name="connsiteX3112" fmla="*/ 6222042 w 9586368"/>
              <a:gd name="connsiteY3112" fmla="*/ 4307617 h 6479439"/>
              <a:gd name="connsiteX3113" fmla="*/ 6231952 w 9586368"/>
              <a:gd name="connsiteY3113" fmla="*/ 4307617 h 6479439"/>
              <a:gd name="connsiteX3114" fmla="*/ 6235971 w 9586368"/>
              <a:gd name="connsiteY3114" fmla="*/ 4311656 h 6479439"/>
              <a:gd name="connsiteX3115" fmla="*/ 6235971 w 9586368"/>
              <a:gd name="connsiteY3115" fmla="*/ 4321527 h 6479439"/>
              <a:gd name="connsiteX3116" fmla="*/ 6231952 w 9586368"/>
              <a:gd name="connsiteY3116" fmla="*/ 4325566 h 6479439"/>
              <a:gd name="connsiteX3117" fmla="*/ 6222042 w 9586368"/>
              <a:gd name="connsiteY3117" fmla="*/ 4325566 h 6479439"/>
              <a:gd name="connsiteX3118" fmla="*/ 6218023 w 9586368"/>
              <a:gd name="connsiteY3118" fmla="*/ 4321527 h 6479439"/>
              <a:gd name="connsiteX3119" fmla="*/ 6218023 w 9586368"/>
              <a:gd name="connsiteY3119" fmla="*/ 4311656 h 6479439"/>
              <a:gd name="connsiteX3120" fmla="*/ 5982729 w 9586368"/>
              <a:gd name="connsiteY3120" fmla="*/ 4307617 h 6479439"/>
              <a:gd name="connsiteX3121" fmla="*/ 5992639 w 9586368"/>
              <a:gd name="connsiteY3121" fmla="*/ 4307617 h 6479439"/>
              <a:gd name="connsiteX3122" fmla="*/ 5996658 w 9586368"/>
              <a:gd name="connsiteY3122" fmla="*/ 4311656 h 6479439"/>
              <a:gd name="connsiteX3123" fmla="*/ 5996658 w 9586368"/>
              <a:gd name="connsiteY3123" fmla="*/ 4321527 h 6479439"/>
              <a:gd name="connsiteX3124" fmla="*/ 5992639 w 9586368"/>
              <a:gd name="connsiteY3124" fmla="*/ 4325566 h 6479439"/>
              <a:gd name="connsiteX3125" fmla="*/ 5982729 w 9586368"/>
              <a:gd name="connsiteY3125" fmla="*/ 4325566 h 6479439"/>
              <a:gd name="connsiteX3126" fmla="*/ 5978710 w 9586368"/>
              <a:gd name="connsiteY3126" fmla="*/ 4321527 h 6479439"/>
              <a:gd name="connsiteX3127" fmla="*/ 5978710 w 9586368"/>
              <a:gd name="connsiteY3127" fmla="*/ 4311656 h 6479439"/>
              <a:gd name="connsiteX3128" fmla="*/ 5743412 w 9586368"/>
              <a:gd name="connsiteY3128" fmla="*/ 4307617 h 6479439"/>
              <a:gd name="connsiteX3129" fmla="*/ 5753323 w 9586368"/>
              <a:gd name="connsiteY3129" fmla="*/ 4307617 h 6479439"/>
              <a:gd name="connsiteX3130" fmla="*/ 5757342 w 9586368"/>
              <a:gd name="connsiteY3130" fmla="*/ 4311656 h 6479439"/>
              <a:gd name="connsiteX3131" fmla="*/ 5757342 w 9586368"/>
              <a:gd name="connsiteY3131" fmla="*/ 4321527 h 6479439"/>
              <a:gd name="connsiteX3132" fmla="*/ 5753323 w 9586368"/>
              <a:gd name="connsiteY3132" fmla="*/ 4325566 h 6479439"/>
              <a:gd name="connsiteX3133" fmla="*/ 5743412 w 9586368"/>
              <a:gd name="connsiteY3133" fmla="*/ 4325566 h 6479439"/>
              <a:gd name="connsiteX3134" fmla="*/ 5739393 w 9586368"/>
              <a:gd name="connsiteY3134" fmla="*/ 4321527 h 6479439"/>
              <a:gd name="connsiteX3135" fmla="*/ 5739393 w 9586368"/>
              <a:gd name="connsiteY3135" fmla="*/ 4311656 h 6479439"/>
              <a:gd name="connsiteX3136" fmla="*/ 5504099 w 9586368"/>
              <a:gd name="connsiteY3136" fmla="*/ 4307617 h 6479439"/>
              <a:gd name="connsiteX3137" fmla="*/ 5514010 w 9586368"/>
              <a:gd name="connsiteY3137" fmla="*/ 4307617 h 6479439"/>
              <a:gd name="connsiteX3138" fmla="*/ 5518029 w 9586368"/>
              <a:gd name="connsiteY3138" fmla="*/ 4311656 h 6479439"/>
              <a:gd name="connsiteX3139" fmla="*/ 5518029 w 9586368"/>
              <a:gd name="connsiteY3139" fmla="*/ 4321527 h 6479439"/>
              <a:gd name="connsiteX3140" fmla="*/ 5514010 w 9586368"/>
              <a:gd name="connsiteY3140" fmla="*/ 4325566 h 6479439"/>
              <a:gd name="connsiteX3141" fmla="*/ 5504099 w 9586368"/>
              <a:gd name="connsiteY3141" fmla="*/ 4325566 h 6479439"/>
              <a:gd name="connsiteX3142" fmla="*/ 5500080 w 9586368"/>
              <a:gd name="connsiteY3142" fmla="*/ 4321527 h 6479439"/>
              <a:gd name="connsiteX3143" fmla="*/ 5500080 w 9586368"/>
              <a:gd name="connsiteY3143" fmla="*/ 4311656 h 6479439"/>
              <a:gd name="connsiteX3144" fmla="*/ 5264784 w 9586368"/>
              <a:gd name="connsiteY3144" fmla="*/ 4307617 h 6479439"/>
              <a:gd name="connsiteX3145" fmla="*/ 5274694 w 9586368"/>
              <a:gd name="connsiteY3145" fmla="*/ 4307617 h 6479439"/>
              <a:gd name="connsiteX3146" fmla="*/ 5278713 w 9586368"/>
              <a:gd name="connsiteY3146" fmla="*/ 4311656 h 6479439"/>
              <a:gd name="connsiteX3147" fmla="*/ 5278713 w 9586368"/>
              <a:gd name="connsiteY3147" fmla="*/ 4321527 h 6479439"/>
              <a:gd name="connsiteX3148" fmla="*/ 5274694 w 9586368"/>
              <a:gd name="connsiteY3148" fmla="*/ 4325566 h 6479439"/>
              <a:gd name="connsiteX3149" fmla="*/ 5264784 w 9586368"/>
              <a:gd name="connsiteY3149" fmla="*/ 4325566 h 6479439"/>
              <a:gd name="connsiteX3150" fmla="*/ 5260765 w 9586368"/>
              <a:gd name="connsiteY3150" fmla="*/ 4321527 h 6479439"/>
              <a:gd name="connsiteX3151" fmla="*/ 5260765 w 9586368"/>
              <a:gd name="connsiteY3151" fmla="*/ 4311656 h 6479439"/>
              <a:gd name="connsiteX3152" fmla="*/ 5025470 w 9586368"/>
              <a:gd name="connsiteY3152" fmla="*/ 4307617 h 6479439"/>
              <a:gd name="connsiteX3153" fmla="*/ 5035381 w 9586368"/>
              <a:gd name="connsiteY3153" fmla="*/ 4307617 h 6479439"/>
              <a:gd name="connsiteX3154" fmla="*/ 5039400 w 9586368"/>
              <a:gd name="connsiteY3154" fmla="*/ 4311656 h 6479439"/>
              <a:gd name="connsiteX3155" fmla="*/ 5039400 w 9586368"/>
              <a:gd name="connsiteY3155" fmla="*/ 4321527 h 6479439"/>
              <a:gd name="connsiteX3156" fmla="*/ 5035381 w 9586368"/>
              <a:gd name="connsiteY3156" fmla="*/ 4325566 h 6479439"/>
              <a:gd name="connsiteX3157" fmla="*/ 5025470 w 9586368"/>
              <a:gd name="connsiteY3157" fmla="*/ 4325566 h 6479439"/>
              <a:gd name="connsiteX3158" fmla="*/ 5021451 w 9586368"/>
              <a:gd name="connsiteY3158" fmla="*/ 4321527 h 6479439"/>
              <a:gd name="connsiteX3159" fmla="*/ 5021451 w 9586368"/>
              <a:gd name="connsiteY3159" fmla="*/ 4311656 h 6479439"/>
              <a:gd name="connsiteX3160" fmla="*/ 4786241 w 9586368"/>
              <a:gd name="connsiteY3160" fmla="*/ 4307617 h 6479439"/>
              <a:gd name="connsiteX3161" fmla="*/ 4796152 w 9586368"/>
              <a:gd name="connsiteY3161" fmla="*/ 4307617 h 6479439"/>
              <a:gd name="connsiteX3162" fmla="*/ 4800171 w 9586368"/>
              <a:gd name="connsiteY3162" fmla="*/ 4311656 h 6479439"/>
              <a:gd name="connsiteX3163" fmla="*/ 4800171 w 9586368"/>
              <a:gd name="connsiteY3163" fmla="*/ 4321527 h 6479439"/>
              <a:gd name="connsiteX3164" fmla="*/ 4796152 w 9586368"/>
              <a:gd name="connsiteY3164" fmla="*/ 4325566 h 6479439"/>
              <a:gd name="connsiteX3165" fmla="*/ 4786241 w 9586368"/>
              <a:gd name="connsiteY3165" fmla="*/ 4325566 h 6479439"/>
              <a:gd name="connsiteX3166" fmla="*/ 4782224 w 9586368"/>
              <a:gd name="connsiteY3166" fmla="*/ 4321527 h 6479439"/>
              <a:gd name="connsiteX3167" fmla="*/ 4782224 w 9586368"/>
              <a:gd name="connsiteY3167" fmla="*/ 4311656 h 6479439"/>
              <a:gd name="connsiteX3168" fmla="*/ 4546929 w 9586368"/>
              <a:gd name="connsiteY3168" fmla="*/ 4307617 h 6479439"/>
              <a:gd name="connsiteX3169" fmla="*/ 4556840 w 9586368"/>
              <a:gd name="connsiteY3169" fmla="*/ 4307617 h 6479439"/>
              <a:gd name="connsiteX3170" fmla="*/ 4560859 w 9586368"/>
              <a:gd name="connsiteY3170" fmla="*/ 4311656 h 6479439"/>
              <a:gd name="connsiteX3171" fmla="*/ 4560859 w 9586368"/>
              <a:gd name="connsiteY3171" fmla="*/ 4321527 h 6479439"/>
              <a:gd name="connsiteX3172" fmla="*/ 4556840 w 9586368"/>
              <a:gd name="connsiteY3172" fmla="*/ 4325566 h 6479439"/>
              <a:gd name="connsiteX3173" fmla="*/ 4546929 w 9586368"/>
              <a:gd name="connsiteY3173" fmla="*/ 4325566 h 6479439"/>
              <a:gd name="connsiteX3174" fmla="*/ 4542910 w 9586368"/>
              <a:gd name="connsiteY3174" fmla="*/ 4321527 h 6479439"/>
              <a:gd name="connsiteX3175" fmla="*/ 4542910 w 9586368"/>
              <a:gd name="connsiteY3175" fmla="*/ 4311656 h 6479439"/>
              <a:gd name="connsiteX3176" fmla="*/ 4307612 w 9586368"/>
              <a:gd name="connsiteY3176" fmla="*/ 4307617 h 6479439"/>
              <a:gd name="connsiteX3177" fmla="*/ 4317523 w 9586368"/>
              <a:gd name="connsiteY3177" fmla="*/ 4307617 h 6479439"/>
              <a:gd name="connsiteX3178" fmla="*/ 4321543 w 9586368"/>
              <a:gd name="connsiteY3178" fmla="*/ 4311656 h 6479439"/>
              <a:gd name="connsiteX3179" fmla="*/ 4321543 w 9586368"/>
              <a:gd name="connsiteY3179" fmla="*/ 4321527 h 6479439"/>
              <a:gd name="connsiteX3180" fmla="*/ 4317523 w 9586368"/>
              <a:gd name="connsiteY3180" fmla="*/ 4325566 h 6479439"/>
              <a:gd name="connsiteX3181" fmla="*/ 4307612 w 9586368"/>
              <a:gd name="connsiteY3181" fmla="*/ 4325566 h 6479439"/>
              <a:gd name="connsiteX3182" fmla="*/ 4303595 w 9586368"/>
              <a:gd name="connsiteY3182" fmla="*/ 4321527 h 6479439"/>
              <a:gd name="connsiteX3183" fmla="*/ 4303595 w 9586368"/>
              <a:gd name="connsiteY3183" fmla="*/ 4311656 h 6479439"/>
              <a:gd name="connsiteX3184" fmla="*/ 4068297 w 9586368"/>
              <a:gd name="connsiteY3184" fmla="*/ 4307617 h 6479439"/>
              <a:gd name="connsiteX3185" fmla="*/ 4078210 w 9586368"/>
              <a:gd name="connsiteY3185" fmla="*/ 4307617 h 6479439"/>
              <a:gd name="connsiteX3186" fmla="*/ 4082229 w 9586368"/>
              <a:gd name="connsiteY3186" fmla="*/ 4311656 h 6479439"/>
              <a:gd name="connsiteX3187" fmla="*/ 4082229 w 9586368"/>
              <a:gd name="connsiteY3187" fmla="*/ 4321527 h 6479439"/>
              <a:gd name="connsiteX3188" fmla="*/ 4078210 w 9586368"/>
              <a:gd name="connsiteY3188" fmla="*/ 4325566 h 6479439"/>
              <a:gd name="connsiteX3189" fmla="*/ 4068297 w 9586368"/>
              <a:gd name="connsiteY3189" fmla="*/ 4325566 h 6479439"/>
              <a:gd name="connsiteX3190" fmla="*/ 4064278 w 9586368"/>
              <a:gd name="connsiteY3190" fmla="*/ 4321527 h 6479439"/>
              <a:gd name="connsiteX3191" fmla="*/ 4064278 w 9586368"/>
              <a:gd name="connsiteY3191" fmla="*/ 4311656 h 6479439"/>
              <a:gd name="connsiteX3192" fmla="*/ 3828990 w 9586368"/>
              <a:gd name="connsiteY3192" fmla="*/ 4307617 h 6479439"/>
              <a:gd name="connsiteX3193" fmla="*/ 3838899 w 9586368"/>
              <a:gd name="connsiteY3193" fmla="*/ 4307617 h 6479439"/>
              <a:gd name="connsiteX3194" fmla="*/ 3842917 w 9586368"/>
              <a:gd name="connsiteY3194" fmla="*/ 4311656 h 6479439"/>
              <a:gd name="connsiteX3195" fmla="*/ 3842917 w 9586368"/>
              <a:gd name="connsiteY3195" fmla="*/ 4321527 h 6479439"/>
              <a:gd name="connsiteX3196" fmla="*/ 3838899 w 9586368"/>
              <a:gd name="connsiteY3196" fmla="*/ 4325566 h 6479439"/>
              <a:gd name="connsiteX3197" fmla="*/ 3828990 w 9586368"/>
              <a:gd name="connsiteY3197" fmla="*/ 4325566 h 6479439"/>
              <a:gd name="connsiteX3198" fmla="*/ 3824971 w 9586368"/>
              <a:gd name="connsiteY3198" fmla="*/ 4321527 h 6479439"/>
              <a:gd name="connsiteX3199" fmla="*/ 3824971 w 9586368"/>
              <a:gd name="connsiteY3199" fmla="*/ 4311656 h 6479439"/>
              <a:gd name="connsiteX3200" fmla="*/ 3589676 w 9586368"/>
              <a:gd name="connsiteY3200" fmla="*/ 4307617 h 6479439"/>
              <a:gd name="connsiteX3201" fmla="*/ 3599585 w 9586368"/>
              <a:gd name="connsiteY3201" fmla="*/ 4307617 h 6479439"/>
              <a:gd name="connsiteX3202" fmla="*/ 3603604 w 9586368"/>
              <a:gd name="connsiteY3202" fmla="*/ 4311656 h 6479439"/>
              <a:gd name="connsiteX3203" fmla="*/ 3603604 w 9586368"/>
              <a:gd name="connsiteY3203" fmla="*/ 4321527 h 6479439"/>
              <a:gd name="connsiteX3204" fmla="*/ 3599585 w 9586368"/>
              <a:gd name="connsiteY3204" fmla="*/ 4325566 h 6479439"/>
              <a:gd name="connsiteX3205" fmla="*/ 3589676 w 9586368"/>
              <a:gd name="connsiteY3205" fmla="*/ 4325566 h 6479439"/>
              <a:gd name="connsiteX3206" fmla="*/ 3585657 w 9586368"/>
              <a:gd name="connsiteY3206" fmla="*/ 4321527 h 6479439"/>
              <a:gd name="connsiteX3207" fmla="*/ 3585657 w 9586368"/>
              <a:gd name="connsiteY3207" fmla="*/ 4311656 h 6479439"/>
              <a:gd name="connsiteX3208" fmla="*/ 3350359 w 9586368"/>
              <a:gd name="connsiteY3208" fmla="*/ 4307617 h 6479439"/>
              <a:gd name="connsiteX3209" fmla="*/ 3360268 w 9586368"/>
              <a:gd name="connsiteY3209" fmla="*/ 4307617 h 6479439"/>
              <a:gd name="connsiteX3210" fmla="*/ 3364287 w 9586368"/>
              <a:gd name="connsiteY3210" fmla="*/ 4311656 h 6479439"/>
              <a:gd name="connsiteX3211" fmla="*/ 3364287 w 9586368"/>
              <a:gd name="connsiteY3211" fmla="*/ 4321527 h 6479439"/>
              <a:gd name="connsiteX3212" fmla="*/ 3360268 w 9586368"/>
              <a:gd name="connsiteY3212" fmla="*/ 4325566 h 6479439"/>
              <a:gd name="connsiteX3213" fmla="*/ 3350359 w 9586368"/>
              <a:gd name="connsiteY3213" fmla="*/ 4325566 h 6479439"/>
              <a:gd name="connsiteX3214" fmla="*/ 3346340 w 9586368"/>
              <a:gd name="connsiteY3214" fmla="*/ 4321527 h 6479439"/>
              <a:gd name="connsiteX3215" fmla="*/ 3346340 w 9586368"/>
              <a:gd name="connsiteY3215" fmla="*/ 4311656 h 6479439"/>
              <a:gd name="connsiteX3216" fmla="*/ 3111048 w 9586368"/>
              <a:gd name="connsiteY3216" fmla="*/ 4307617 h 6479439"/>
              <a:gd name="connsiteX3217" fmla="*/ 3120959 w 9586368"/>
              <a:gd name="connsiteY3217" fmla="*/ 4307617 h 6479439"/>
              <a:gd name="connsiteX3218" fmla="*/ 3124977 w 9586368"/>
              <a:gd name="connsiteY3218" fmla="*/ 4311656 h 6479439"/>
              <a:gd name="connsiteX3219" fmla="*/ 3124977 w 9586368"/>
              <a:gd name="connsiteY3219" fmla="*/ 4321527 h 6479439"/>
              <a:gd name="connsiteX3220" fmla="*/ 3120959 w 9586368"/>
              <a:gd name="connsiteY3220" fmla="*/ 4325566 h 6479439"/>
              <a:gd name="connsiteX3221" fmla="*/ 3111048 w 9586368"/>
              <a:gd name="connsiteY3221" fmla="*/ 4325566 h 6479439"/>
              <a:gd name="connsiteX3222" fmla="*/ 3107029 w 9586368"/>
              <a:gd name="connsiteY3222" fmla="*/ 4321527 h 6479439"/>
              <a:gd name="connsiteX3223" fmla="*/ 3107029 w 9586368"/>
              <a:gd name="connsiteY3223" fmla="*/ 4311656 h 6479439"/>
              <a:gd name="connsiteX3224" fmla="*/ 2871737 w 9586368"/>
              <a:gd name="connsiteY3224" fmla="*/ 4307617 h 6479439"/>
              <a:gd name="connsiteX3225" fmla="*/ 2881646 w 9586368"/>
              <a:gd name="connsiteY3225" fmla="*/ 4307617 h 6479439"/>
              <a:gd name="connsiteX3226" fmla="*/ 2885666 w 9586368"/>
              <a:gd name="connsiteY3226" fmla="*/ 4311656 h 6479439"/>
              <a:gd name="connsiteX3227" fmla="*/ 2885666 w 9586368"/>
              <a:gd name="connsiteY3227" fmla="*/ 4321527 h 6479439"/>
              <a:gd name="connsiteX3228" fmla="*/ 2881646 w 9586368"/>
              <a:gd name="connsiteY3228" fmla="*/ 4325566 h 6479439"/>
              <a:gd name="connsiteX3229" fmla="*/ 2871737 w 9586368"/>
              <a:gd name="connsiteY3229" fmla="*/ 4325566 h 6479439"/>
              <a:gd name="connsiteX3230" fmla="*/ 2867717 w 9586368"/>
              <a:gd name="connsiteY3230" fmla="*/ 4321527 h 6479439"/>
              <a:gd name="connsiteX3231" fmla="*/ 2867717 w 9586368"/>
              <a:gd name="connsiteY3231" fmla="*/ 4311656 h 6479439"/>
              <a:gd name="connsiteX3232" fmla="*/ 2632423 w 9586368"/>
              <a:gd name="connsiteY3232" fmla="*/ 4307617 h 6479439"/>
              <a:gd name="connsiteX3233" fmla="*/ 2642334 w 9586368"/>
              <a:gd name="connsiteY3233" fmla="*/ 4307617 h 6479439"/>
              <a:gd name="connsiteX3234" fmla="*/ 2646352 w 9586368"/>
              <a:gd name="connsiteY3234" fmla="*/ 4311656 h 6479439"/>
              <a:gd name="connsiteX3235" fmla="*/ 2646352 w 9586368"/>
              <a:gd name="connsiteY3235" fmla="*/ 4321527 h 6479439"/>
              <a:gd name="connsiteX3236" fmla="*/ 2642334 w 9586368"/>
              <a:gd name="connsiteY3236" fmla="*/ 4325566 h 6479439"/>
              <a:gd name="connsiteX3237" fmla="*/ 2632423 w 9586368"/>
              <a:gd name="connsiteY3237" fmla="*/ 4325566 h 6479439"/>
              <a:gd name="connsiteX3238" fmla="*/ 2628404 w 9586368"/>
              <a:gd name="connsiteY3238" fmla="*/ 4321527 h 6479439"/>
              <a:gd name="connsiteX3239" fmla="*/ 2628404 w 9586368"/>
              <a:gd name="connsiteY3239" fmla="*/ 4311656 h 6479439"/>
              <a:gd name="connsiteX3240" fmla="*/ 2393104 w 9586368"/>
              <a:gd name="connsiteY3240" fmla="*/ 4307617 h 6479439"/>
              <a:gd name="connsiteX3241" fmla="*/ 2403015 w 9586368"/>
              <a:gd name="connsiteY3241" fmla="*/ 4307617 h 6479439"/>
              <a:gd name="connsiteX3242" fmla="*/ 2407034 w 9586368"/>
              <a:gd name="connsiteY3242" fmla="*/ 4311656 h 6479439"/>
              <a:gd name="connsiteX3243" fmla="*/ 2407034 w 9586368"/>
              <a:gd name="connsiteY3243" fmla="*/ 4321527 h 6479439"/>
              <a:gd name="connsiteX3244" fmla="*/ 2403015 w 9586368"/>
              <a:gd name="connsiteY3244" fmla="*/ 4325566 h 6479439"/>
              <a:gd name="connsiteX3245" fmla="*/ 2393104 w 9586368"/>
              <a:gd name="connsiteY3245" fmla="*/ 4325566 h 6479439"/>
              <a:gd name="connsiteX3246" fmla="*/ 2389087 w 9586368"/>
              <a:gd name="connsiteY3246" fmla="*/ 4321527 h 6479439"/>
              <a:gd name="connsiteX3247" fmla="*/ 2389087 w 9586368"/>
              <a:gd name="connsiteY3247" fmla="*/ 4311656 h 6479439"/>
              <a:gd name="connsiteX3248" fmla="*/ 721965 w 9586368"/>
              <a:gd name="connsiteY3248" fmla="*/ 4307617 h 6479439"/>
              <a:gd name="connsiteX3249" fmla="*/ 731874 w 9586368"/>
              <a:gd name="connsiteY3249" fmla="*/ 4307617 h 6479439"/>
              <a:gd name="connsiteX3250" fmla="*/ 735893 w 9586368"/>
              <a:gd name="connsiteY3250" fmla="*/ 4311656 h 6479439"/>
              <a:gd name="connsiteX3251" fmla="*/ 735893 w 9586368"/>
              <a:gd name="connsiteY3251" fmla="*/ 4321527 h 6479439"/>
              <a:gd name="connsiteX3252" fmla="*/ 731874 w 9586368"/>
              <a:gd name="connsiteY3252" fmla="*/ 4325566 h 6479439"/>
              <a:gd name="connsiteX3253" fmla="*/ 721965 w 9586368"/>
              <a:gd name="connsiteY3253" fmla="*/ 4325566 h 6479439"/>
              <a:gd name="connsiteX3254" fmla="*/ 717945 w 9586368"/>
              <a:gd name="connsiteY3254" fmla="*/ 4321527 h 6479439"/>
              <a:gd name="connsiteX3255" fmla="*/ 717945 w 9586368"/>
              <a:gd name="connsiteY3255" fmla="*/ 4311656 h 6479439"/>
              <a:gd name="connsiteX3256" fmla="*/ 482652 w 9586368"/>
              <a:gd name="connsiteY3256" fmla="*/ 4307617 h 6479439"/>
              <a:gd name="connsiteX3257" fmla="*/ 492562 w 9586368"/>
              <a:gd name="connsiteY3257" fmla="*/ 4307617 h 6479439"/>
              <a:gd name="connsiteX3258" fmla="*/ 496581 w 9586368"/>
              <a:gd name="connsiteY3258" fmla="*/ 4311656 h 6479439"/>
              <a:gd name="connsiteX3259" fmla="*/ 496581 w 9586368"/>
              <a:gd name="connsiteY3259" fmla="*/ 4321527 h 6479439"/>
              <a:gd name="connsiteX3260" fmla="*/ 492562 w 9586368"/>
              <a:gd name="connsiteY3260" fmla="*/ 4325566 h 6479439"/>
              <a:gd name="connsiteX3261" fmla="*/ 482652 w 9586368"/>
              <a:gd name="connsiteY3261" fmla="*/ 4325566 h 6479439"/>
              <a:gd name="connsiteX3262" fmla="*/ 478633 w 9586368"/>
              <a:gd name="connsiteY3262" fmla="*/ 4321527 h 6479439"/>
              <a:gd name="connsiteX3263" fmla="*/ 478633 w 9586368"/>
              <a:gd name="connsiteY3263" fmla="*/ 4311656 h 6479439"/>
              <a:gd name="connsiteX3264" fmla="*/ 243339 w 9586368"/>
              <a:gd name="connsiteY3264" fmla="*/ 4307617 h 6479439"/>
              <a:gd name="connsiteX3265" fmla="*/ 253249 w 9586368"/>
              <a:gd name="connsiteY3265" fmla="*/ 4307617 h 6479439"/>
              <a:gd name="connsiteX3266" fmla="*/ 257268 w 9586368"/>
              <a:gd name="connsiteY3266" fmla="*/ 4311656 h 6479439"/>
              <a:gd name="connsiteX3267" fmla="*/ 257268 w 9586368"/>
              <a:gd name="connsiteY3267" fmla="*/ 4321527 h 6479439"/>
              <a:gd name="connsiteX3268" fmla="*/ 253249 w 9586368"/>
              <a:gd name="connsiteY3268" fmla="*/ 4325566 h 6479439"/>
              <a:gd name="connsiteX3269" fmla="*/ 243339 w 9586368"/>
              <a:gd name="connsiteY3269" fmla="*/ 4325566 h 6479439"/>
              <a:gd name="connsiteX3270" fmla="*/ 239320 w 9586368"/>
              <a:gd name="connsiteY3270" fmla="*/ 4321527 h 6479439"/>
              <a:gd name="connsiteX3271" fmla="*/ 239320 w 9586368"/>
              <a:gd name="connsiteY3271" fmla="*/ 4311656 h 6479439"/>
              <a:gd name="connsiteX3272" fmla="*/ 4025 w 9586368"/>
              <a:gd name="connsiteY3272" fmla="*/ 4307617 h 6479439"/>
              <a:gd name="connsiteX3273" fmla="*/ 13936 w 9586368"/>
              <a:gd name="connsiteY3273" fmla="*/ 4307617 h 6479439"/>
              <a:gd name="connsiteX3274" fmla="*/ 17955 w 9586368"/>
              <a:gd name="connsiteY3274" fmla="*/ 4311656 h 6479439"/>
              <a:gd name="connsiteX3275" fmla="*/ 17955 w 9586368"/>
              <a:gd name="connsiteY3275" fmla="*/ 4321527 h 6479439"/>
              <a:gd name="connsiteX3276" fmla="*/ 13936 w 9586368"/>
              <a:gd name="connsiteY3276" fmla="*/ 4325566 h 6479439"/>
              <a:gd name="connsiteX3277" fmla="*/ 4025 w 9586368"/>
              <a:gd name="connsiteY3277" fmla="*/ 4325566 h 6479439"/>
              <a:gd name="connsiteX3278" fmla="*/ 7 w 9586368"/>
              <a:gd name="connsiteY3278" fmla="*/ 4321527 h 6479439"/>
              <a:gd name="connsiteX3279" fmla="*/ 7 w 9586368"/>
              <a:gd name="connsiteY3279" fmla="*/ 4311656 h 6479439"/>
              <a:gd name="connsiteX3280" fmla="*/ 9572438 w 9586368"/>
              <a:gd name="connsiteY3280" fmla="*/ 4068339 h 6479439"/>
              <a:gd name="connsiteX3281" fmla="*/ 9582349 w 9586368"/>
              <a:gd name="connsiteY3281" fmla="*/ 4068339 h 6479439"/>
              <a:gd name="connsiteX3282" fmla="*/ 9586368 w 9586368"/>
              <a:gd name="connsiteY3282" fmla="*/ 4072377 h 6479439"/>
              <a:gd name="connsiteX3283" fmla="*/ 9586368 w 9586368"/>
              <a:gd name="connsiteY3283" fmla="*/ 4082248 h 6479439"/>
              <a:gd name="connsiteX3284" fmla="*/ 9582349 w 9586368"/>
              <a:gd name="connsiteY3284" fmla="*/ 4086287 h 6479439"/>
              <a:gd name="connsiteX3285" fmla="*/ 9572438 w 9586368"/>
              <a:gd name="connsiteY3285" fmla="*/ 4086287 h 6479439"/>
              <a:gd name="connsiteX3286" fmla="*/ 9568419 w 9586368"/>
              <a:gd name="connsiteY3286" fmla="*/ 4082248 h 6479439"/>
              <a:gd name="connsiteX3287" fmla="*/ 9568419 w 9586368"/>
              <a:gd name="connsiteY3287" fmla="*/ 4072377 h 6479439"/>
              <a:gd name="connsiteX3288" fmla="*/ 9333125 w 9586368"/>
              <a:gd name="connsiteY3288" fmla="*/ 4068339 h 6479439"/>
              <a:gd name="connsiteX3289" fmla="*/ 9343036 w 9586368"/>
              <a:gd name="connsiteY3289" fmla="*/ 4068339 h 6479439"/>
              <a:gd name="connsiteX3290" fmla="*/ 9347055 w 9586368"/>
              <a:gd name="connsiteY3290" fmla="*/ 4072377 h 6479439"/>
              <a:gd name="connsiteX3291" fmla="*/ 9347055 w 9586368"/>
              <a:gd name="connsiteY3291" fmla="*/ 4082248 h 6479439"/>
              <a:gd name="connsiteX3292" fmla="*/ 9343036 w 9586368"/>
              <a:gd name="connsiteY3292" fmla="*/ 4086287 h 6479439"/>
              <a:gd name="connsiteX3293" fmla="*/ 9333125 w 9586368"/>
              <a:gd name="connsiteY3293" fmla="*/ 4086287 h 6479439"/>
              <a:gd name="connsiteX3294" fmla="*/ 9329106 w 9586368"/>
              <a:gd name="connsiteY3294" fmla="*/ 4082248 h 6479439"/>
              <a:gd name="connsiteX3295" fmla="*/ 9329106 w 9586368"/>
              <a:gd name="connsiteY3295" fmla="*/ 4072377 h 6479439"/>
              <a:gd name="connsiteX3296" fmla="*/ 9093811 w 9586368"/>
              <a:gd name="connsiteY3296" fmla="*/ 4068339 h 6479439"/>
              <a:gd name="connsiteX3297" fmla="*/ 9103722 w 9586368"/>
              <a:gd name="connsiteY3297" fmla="*/ 4068339 h 6479439"/>
              <a:gd name="connsiteX3298" fmla="*/ 9107741 w 9586368"/>
              <a:gd name="connsiteY3298" fmla="*/ 4072377 h 6479439"/>
              <a:gd name="connsiteX3299" fmla="*/ 9107741 w 9586368"/>
              <a:gd name="connsiteY3299" fmla="*/ 4082248 h 6479439"/>
              <a:gd name="connsiteX3300" fmla="*/ 9103722 w 9586368"/>
              <a:gd name="connsiteY3300" fmla="*/ 4086287 h 6479439"/>
              <a:gd name="connsiteX3301" fmla="*/ 9093811 w 9586368"/>
              <a:gd name="connsiteY3301" fmla="*/ 4086287 h 6479439"/>
              <a:gd name="connsiteX3302" fmla="*/ 9089792 w 9586368"/>
              <a:gd name="connsiteY3302" fmla="*/ 4082248 h 6479439"/>
              <a:gd name="connsiteX3303" fmla="*/ 9089792 w 9586368"/>
              <a:gd name="connsiteY3303" fmla="*/ 4072377 h 6479439"/>
              <a:gd name="connsiteX3304" fmla="*/ 8854496 w 9586368"/>
              <a:gd name="connsiteY3304" fmla="*/ 4068339 h 6479439"/>
              <a:gd name="connsiteX3305" fmla="*/ 8864407 w 9586368"/>
              <a:gd name="connsiteY3305" fmla="*/ 4068339 h 6479439"/>
              <a:gd name="connsiteX3306" fmla="*/ 8868426 w 9586368"/>
              <a:gd name="connsiteY3306" fmla="*/ 4072377 h 6479439"/>
              <a:gd name="connsiteX3307" fmla="*/ 8868426 w 9586368"/>
              <a:gd name="connsiteY3307" fmla="*/ 4082248 h 6479439"/>
              <a:gd name="connsiteX3308" fmla="*/ 8864407 w 9586368"/>
              <a:gd name="connsiteY3308" fmla="*/ 4086287 h 6479439"/>
              <a:gd name="connsiteX3309" fmla="*/ 8854496 w 9586368"/>
              <a:gd name="connsiteY3309" fmla="*/ 4086287 h 6479439"/>
              <a:gd name="connsiteX3310" fmla="*/ 8850477 w 9586368"/>
              <a:gd name="connsiteY3310" fmla="*/ 4082248 h 6479439"/>
              <a:gd name="connsiteX3311" fmla="*/ 8850477 w 9586368"/>
              <a:gd name="connsiteY3311" fmla="*/ 4072377 h 6479439"/>
              <a:gd name="connsiteX3312" fmla="*/ 8615184 w 9586368"/>
              <a:gd name="connsiteY3312" fmla="*/ 4068339 h 6479439"/>
              <a:gd name="connsiteX3313" fmla="*/ 8625095 w 9586368"/>
              <a:gd name="connsiteY3313" fmla="*/ 4068339 h 6479439"/>
              <a:gd name="connsiteX3314" fmla="*/ 8629114 w 9586368"/>
              <a:gd name="connsiteY3314" fmla="*/ 4072377 h 6479439"/>
              <a:gd name="connsiteX3315" fmla="*/ 8629114 w 9586368"/>
              <a:gd name="connsiteY3315" fmla="*/ 4082248 h 6479439"/>
              <a:gd name="connsiteX3316" fmla="*/ 8625095 w 9586368"/>
              <a:gd name="connsiteY3316" fmla="*/ 4086287 h 6479439"/>
              <a:gd name="connsiteX3317" fmla="*/ 8615184 w 9586368"/>
              <a:gd name="connsiteY3317" fmla="*/ 4086287 h 6479439"/>
              <a:gd name="connsiteX3318" fmla="*/ 8611165 w 9586368"/>
              <a:gd name="connsiteY3318" fmla="*/ 4082248 h 6479439"/>
              <a:gd name="connsiteX3319" fmla="*/ 8611165 w 9586368"/>
              <a:gd name="connsiteY3319" fmla="*/ 4072377 h 6479439"/>
              <a:gd name="connsiteX3320" fmla="*/ 8375869 w 9586368"/>
              <a:gd name="connsiteY3320" fmla="*/ 4068339 h 6479439"/>
              <a:gd name="connsiteX3321" fmla="*/ 8385779 w 9586368"/>
              <a:gd name="connsiteY3321" fmla="*/ 4068339 h 6479439"/>
              <a:gd name="connsiteX3322" fmla="*/ 8389799 w 9586368"/>
              <a:gd name="connsiteY3322" fmla="*/ 4072377 h 6479439"/>
              <a:gd name="connsiteX3323" fmla="*/ 8389799 w 9586368"/>
              <a:gd name="connsiteY3323" fmla="*/ 4082248 h 6479439"/>
              <a:gd name="connsiteX3324" fmla="*/ 8385779 w 9586368"/>
              <a:gd name="connsiteY3324" fmla="*/ 4086287 h 6479439"/>
              <a:gd name="connsiteX3325" fmla="*/ 8375869 w 9586368"/>
              <a:gd name="connsiteY3325" fmla="*/ 4086287 h 6479439"/>
              <a:gd name="connsiteX3326" fmla="*/ 8371850 w 9586368"/>
              <a:gd name="connsiteY3326" fmla="*/ 4082248 h 6479439"/>
              <a:gd name="connsiteX3327" fmla="*/ 8371850 w 9586368"/>
              <a:gd name="connsiteY3327" fmla="*/ 4072377 h 6479439"/>
              <a:gd name="connsiteX3328" fmla="*/ 8136553 w 9586368"/>
              <a:gd name="connsiteY3328" fmla="*/ 4068339 h 6479439"/>
              <a:gd name="connsiteX3329" fmla="*/ 8146464 w 9586368"/>
              <a:gd name="connsiteY3329" fmla="*/ 4068339 h 6479439"/>
              <a:gd name="connsiteX3330" fmla="*/ 8150483 w 9586368"/>
              <a:gd name="connsiteY3330" fmla="*/ 4072377 h 6479439"/>
              <a:gd name="connsiteX3331" fmla="*/ 8150483 w 9586368"/>
              <a:gd name="connsiteY3331" fmla="*/ 4082248 h 6479439"/>
              <a:gd name="connsiteX3332" fmla="*/ 8146464 w 9586368"/>
              <a:gd name="connsiteY3332" fmla="*/ 4086287 h 6479439"/>
              <a:gd name="connsiteX3333" fmla="*/ 8136553 w 9586368"/>
              <a:gd name="connsiteY3333" fmla="*/ 4086287 h 6479439"/>
              <a:gd name="connsiteX3334" fmla="*/ 8132534 w 9586368"/>
              <a:gd name="connsiteY3334" fmla="*/ 4082248 h 6479439"/>
              <a:gd name="connsiteX3335" fmla="*/ 8132534 w 9586368"/>
              <a:gd name="connsiteY3335" fmla="*/ 4072377 h 6479439"/>
              <a:gd name="connsiteX3336" fmla="*/ 7897241 w 9586368"/>
              <a:gd name="connsiteY3336" fmla="*/ 4068339 h 6479439"/>
              <a:gd name="connsiteX3337" fmla="*/ 7907151 w 9586368"/>
              <a:gd name="connsiteY3337" fmla="*/ 4068339 h 6479439"/>
              <a:gd name="connsiteX3338" fmla="*/ 7911170 w 9586368"/>
              <a:gd name="connsiteY3338" fmla="*/ 4072377 h 6479439"/>
              <a:gd name="connsiteX3339" fmla="*/ 7911170 w 9586368"/>
              <a:gd name="connsiteY3339" fmla="*/ 4082248 h 6479439"/>
              <a:gd name="connsiteX3340" fmla="*/ 7907151 w 9586368"/>
              <a:gd name="connsiteY3340" fmla="*/ 4086287 h 6479439"/>
              <a:gd name="connsiteX3341" fmla="*/ 7897241 w 9586368"/>
              <a:gd name="connsiteY3341" fmla="*/ 4086287 h 6479439"/>
              <a:gd name="connsiteX3342" fmla="*/ 7893222 w 9586368"/>
              <a:gd name="connsiteY3342" fmla="*/ 4082248 h 6479439"/>
              <a:gd name="connsiteX3343" fmla="*/ 7893222 w 9586368"/>
              <a:gd name="connsiteY3343" fmla="*/ 4072377 h 6479439"/>
              <a:gd name="connsiteX3344" fmla="*/ 7657926 w 9586368"/>
              <a:gd name="connsiteY3344" fmla="*/ 4068339 h 6479439"/>
              <a:gd name="connsiteX3345" fmla="*/ 7667836 w 9586368"/>
              <a:gd name="connsiteY3345" fmla="*/ 4068339 h 6479439"/>
              <a:gd name="connsiteX3346" fmla="*/ 7671855 w 9586368"/>
              <a:gd name="connsiteY3346" fmla="*/ 4072377 h 6479439"/>
              <a:gd name="connsiteX3347" fmla="*/ 7671855 w 9586368"/>
              <a:gd name="connsiteY3347" fmla="*/ 4082248 h 6479439"/>
              <a:gd name="connsiteX3348" fmla="*/ 7667836 w 9586368"/>
              <a:gd name="connsiteY3348" fmla="*/ 4086287 h 6479439"/>
              <a:gd name="connsiteX3349" fmla="*/ 7657926 w 9586368"/>
              <a:gd name="connsiteY3349" fmla="*/ 4086287 h 6479439"/>
              <a:gd name="connsiteX3350" fmla="*/ 7653906 w 9586368"/>
              <a:gd name="connsiteY3350" fmla="*/ 4082248 h 6479439"/>
              <a:gd name="connsiteX3351" fmla="*/ 7653906 w 9586368"/>
              <a:gd name="connsiteY3351" fmla="*/ 4072377 h 6479439"/>
              <a:gd name="connsiteX3352" fmla="*/ 7418611 w 9586368"/>
              <a:gd name="connsiteY3352" fmla="*/ 4068339 h 6479439"/>
              <a:gd name="connsiteX3353" fmla="*/ 7428521 w 9586368"/>
              <a:gd name="connsiteY3353" fmla="*/ 4068339 h 6479439"/>
              <a:gd name="connsiteX3354" fmla="*/ 7432540 w 9586368"/>
              <a:gd name="connsiteY3354" fmla="*/ 4072377 h 6479439"/>
              <a:gd name="connsiteX3355" fmla="*/ 7432540 w 9586368"/>
              <a:gd name="connsiteY3355" fmla="*/ 4082248 h 6479439"/>
              <a:gd name="connsiteX3356" fmla="*/ 7428521 w 9586368"/>
              <a:gd name="connsiteY3356" fmla="*/ 4086287 h 6479439"/>
              <a:gd name="connsiteX3357" fmla="*/ 7418611 w 9586368"/>
              <a:gd name="connsiteY3357" fmla="*/ 4086287 h 6479439"/>
              <a:gd name="connsiteX3358" fmla="*/ 7414592 w 9586368"/>
              <a:gd name="connsiteY3358" fmla="*/ 4082248 h 6479439"/>
              <a:gd name="connsiteX3359" fmla="*/ 7414592 w 9586368"/>
              <a:gd name="connsiteY3359" fmla="*/ 4072377 h 6479439"/>
              <a:gd name="connsiteX3360" fmla="*/ 7179298 w 9586368"/>
              <a:gd name="connsiteY3360" fmla="*/ 4068339 h 6479439"/>
              <a:gd name="connsiteX3361" fmla="*/ 7189209 w 9586368"/>
              <a:gd name="connsiteY3361" fmla="*/ 4068339 h 6479439"/>
              <a:gd name="connsiteX3362" fmla="*/ 7193228 w 9586368"/>
              <a:gd name="connsiteY3362" fmla="*/ 4072377 h 6479439"/>
              <a:gd name="connsiteX3363" fmla="*/ 7193228 w 9586368"/>
              <a:gd name="connsiteY3363" fmla="*/ 4082248 h 6479439"/>
              <a:gd name="connsiteX3364" fmla="*/ 7189209 w 9586368"/>
              <a:gd name="connsiteY3364" fmla="*/ 4086287 h 6479439"/>
              <a:gd name="connsiteX3365" fmla="*/ 7179298 w 9586368"/>
              <a:gd name="connsiteY3365" fmla="*/ 4086287 h 6479439"/>
              <a:gd name="connsiteX3366" fmla="*/ 7175279 w 9586368"/>
              <a:gd name="connsiteY3366" fmla="*/ 4082248 h 6479439"/>
              <a:gd name="connsiteX3367" fmla="*/ 7175279 w 9586368"/>
              <a:gd name="connsiteY3367" fmla="*/ 4072377 h 6479439"/>
              <a:gd name="connsiteX3368" fmla="*/ 6939983 w 9586368"/>
              <a:gd name="connsiteY3368" fmla="*/ 4068339 h 6479439"/>
              <a:gd name="connsiteX3369" fmla="*/ 6949894 w 9586368"/>
              <a:gd name="connsiteY3369" fmla="*/ 4068339 h 6479439"/>
              <a:gd name="connsiteX3370" fmla="*/ 6953913 w 9586368"/>
              <a:gd name="connsiteY3370" fmla="*/ 4072377 h 6479439"/>
              <a:gd name="connsiteX3371" fmla="*/ 6953913 w 9586368"/>
              <a:gd name="connsiteY3371" fmla="*/ 4082248 h 6479439"/>
              <a:gd name="connsiteX3372" fmla="*/ 6949894 w 9586368"/>
              <a:gd name="connsiteY3372" fmla="*/ 4086287 h 6479439"/>
              <a:gd name="connsiteX3373" fmla="*/ 6939983 w 9586368"/>
              <a:gd name="connsiteY3373" fmla="*/ 4086287 h 6479439"/>
              <a:gd name="connsiteX3374" fmla="*/ 6935964 w 9586368"/>
              <a:gd name="connsiteY3374" fmla="*/ 4082248 h 6479439"/>
              <a:gd name="connsiteX3375" fmla="*/ 6935964 w 9586368"/>
              <a:gd name="connsiteY3375" fmla="*/ 4072377 h 6479439"/>
              <a:gd name="connsiteX3376" fmla="*/ 6700670 w 9586368"/>
              <a:gd name="connsiteY3376" fmla="*/ 4068339 h 6479439"/>
              <a:gd name="connsiteX3377" fmla="*/ 6710581 w 9586368"/>
              <a:gd name="connsiteY3377" fmla="*/ 4068339 h 6479439"/>
              <a:gd name="connsiteX3378" fmla="*/ 6714600 w 9586368"/>
              <a:gd name="connsiteY3378" fmla="*/ 4072377 h 6479439"/>
              <a:gd name="connsiteX3379" fmla="*/ 6714600 w 9586368"/>
              <a:gd name="connsiteY3379" fmla="*/ 4082248 h 6479439"/>
              <a:gd name="connsiteX3380" fmla="*/ 6710581 w 9586368"/>
              <a:gd name="connsiteY3380" fmla="*/ 4086287 h 6479439"/>
              <a:gd name="connsiteX3381" fmla="*/ 6700670 w 9586368"/>
              <a:gd name="connsiteY3381" fmla="*/ 4086287 h 6479439"/>
              <a:gd name="connsiteX3382" fmla="*/ 6696651 w 9586368"/>
              <a:gd name="connsiteY3382" fmla="*/ 4082248 h 6479439"/>
              <a:gd name="connsiteX3383" fmla="*/ 6696651 w 9586368"/>
              <a:gd name="connsiteY3383" fmla="*/ 4072377 h 6479439"/>
              <a:gd name="connsiteX3384" fmla="*/ 6461356 w 9586368"/>
              <a:gd name="connsiteY3384" fmla="*/ 4068339 h 6479439"/>
              <a:gd name="connsiteX3385" fmla="*/ 6471266 w 9586368"/>
              <a:gd name="connsiteY3385" fmla="*/ 4068339 h 6479439"/>
              <a:gd name="connsiteX3386" fmla="*/ 6475285 w 9586368"/>
              <a:gd name="connsiteY3386" fmla="*/ 4072377 h 6479439"/>
              <a:gd name="connsiteX3387" fmla="*/ 6475285 w 9586368"/>
              <a:gd name="connsiteY3387" fmla="*/ 4082248 h 6479439"/>
              <a:gd name="connsiteX3388" fmla="*/ 6471266 w 9586368"/>
              <a:gd name="connsiteY3388" fmla="*/ 4086287 h 6479439"/>
              <a:gd name="connsiteX3389" fmla="*/ 6461356 w 9586368"/>
              <a:gd name="connsiteY3389" fmla="*/ 4086287 h 6479439"/>
              <a:gd name="connsiteX3390" fmla="*/ 6457337 w 9586368"/>
              <a:gd name="connsiteY3390" fmla="*/ 4082248 h 6479439"/>
              <a:gd name="connsiteX3391" fmla="*/ 6457337 w 9586368"/>
              <a:gd name="connsiteY3391" fmla="*/ 4072377 h 6479439"/>
              <a:gd name="connsiteX3392" fmla="*/ 6222042 w 9586368"/>
              <a:gd name="connsiteY3392" fmla="*/ 4068339 h 6479439"/>
              <a:gd name="connsiteX3393" fmla="*/ 6231952 w 9586368"/>
              <a:gd name="connsiteY3393" fmla="*/ 4068339 h 6479439"/>
              <a:gd name="connsiteX3394" fmla="*/ 6235971 w 9586368"/>
              <a:gd name="connsiteY3394" fmla="*/ 4072377 h 6479439"/>
              <a:gd name="connsiteX3395" fmla="*/ 6235971 w 9586368"/>
              <a:gd name="connsiteY3395" fmla="*/ 4082248 h 6479439"/>
              <a:gd name="connsiteX3396" fmla="*/ 6231952 w 9586368"/>
              <a:gd name="connsiteY3396" fmla="*/ 4086287 h 6479439"/>
              <a:gd name="connsiteX3397" fmla="*/ 6222042 w 9586368"/>
              <a:gd name="connsiteY3397" fmla="*/ 4086287 h 6479439"/>
              <a:gd name="connsiteX3398" fmla="*/ 6218023 w 9586368"/>
              <a:gd name="connsiteY3398" fmla="*/ 4082248 h 6479439"/>
              <a:gd name="connsiteX3399" fmla="*/ 6218023 w 9586368"/>
              <a:gd name="connsiteY3399" fmla="*/ 4072377 h 6479439"/>
              <a:gd name="connsiteX3400" fmla="*/ 5982729 w 9586368"/>
              <a:gd name="connsiteY3400" fmla="*/ 4068339 h 6479439"/>
              <a:gd name="connsiteX3401" fmla="*/ 5992639 w 9586368"/>
              <a:gd name="connsiteY3401" fmla="*/ 4068339 h 6479439"/>
              <a:gd name="connsiteX3402" fmla="*/ 5996658 w 9586368"/>
              <a:gd name="connsiteY3402" fmla="*/ 4072377 h 6479439"/>
              <a:gd name="connsiteX3403" fmla="*/ 5996658 w 9586368"/>
              <a:gd name="connsiteY3403" fmla="*/ 4082248 h 6479439"/>
              <a:gd name="connsiteX3404" fmla="*/ 5992639 w 9586368"/>
              <a:gd name="connsiteY3404" fmla="*/ 4086287 h 6479439"/>
              <a:gd name="connsiteX3405" fmla="*/ 5982729 w 9586368"/>
              <a:gd name="connsiteY3405" fmla="*/ 4086287 h 6479439"/>
              <a:gd name="connsiteX3406" fmla="*/ 5978710 w 9586368"/>
              <a:gd name="connsiteY3406" fmla="*/ 4082248 h 6479439"/>
              <a:gd name="connsiteX3407" fmla="*/ 5978710 w 9586368"/>
              <a:gd name="connsiteY3407" fmla="*/ 4072377 h 6479439"/>
              <a:gd name="connsiteX3408" fmla="*/ 5743412 w 9586368"/>
              <a:gd name="connsiteY3408" fmla="*/ 4068339 h 6479439"/>
              <a:gd name="connsiteX3409" fmla="*/ 5753323 w 9586368"/>
              <a:gd name="connsiteY3409" fmla="*/ 4068339 h 6479439"/>
              <a:gd name="connsiteX3410" fmla="*/ 5757342 w 9586368"/>
              <a:gd name="connsiteY3410" fmla="*/ 4072377 h 6479439"/>
              <a:gd name="connsiteX3411" fmla="*/ 5757342 w 9586368"/>
              <a:gd name="connsiteY3411" fmla="*/ 4082248 h 6479439"/>
              <a:gd name="connsiteX3412" fmla="*/ 5753323 w 9586368"/>
              <a:gd name="connsiteY3412" fmla="*/ 4086287 h 6479439"/>
              <a:gd name="connsiteX3413" fmla="*/ 5743412 w 9586368"/>
              <a:gd name="connsiteY3413" fmla="*/ 4086287 h 6479439"/>
              <a:gd name="connsiteX3414" fmla="*/ 5739393 w 9586368"/>
              <a:gd name="connsiteY3414" fmla="*/ 4082248 h 6479439"/>
              <a:gd name="connsiteX3415" fmla="*/ 5739393 w 9586368"/>
              <a:gd name="connsiteY3415" fmla="*/ 4072377 h 6479439"/>
              <a:gd name="connsiteX3416" fmla="*/ 5504099 w 9586368"/>
              <a:gd name="connsiteY3416" fmla="*/ 4068339 h 6479439"/>
              <a:gd name="connsiteX3417" fmla="*/ 5514010 w 9586368"/>
              <a:gd name="connsiteY3417" fmla="*/ 4068339 h 6479439"/>
              <a:gd name="connsiteX3418" fmla="*/ 5518029 w 9586368"/>
              <a:gd name="connsiteY3418" fmla="*/ 4072377 h 6479439"/>
              <a:gd name="connsiteX3419" fmla="*/ 5518029 w 9586368"/>
              <a:gd name="connsiteY3419" fmla="*/ 4082248 h 6479439"/>
              <a:gd name="connsiteX3420" fmla="*/ 5514010 w 9586368"/>
              <a:gd name="connsiteY3420" fmla="*/ 4086287 h 6479439"/>
              <a:gd name="connsiteX3421" fmla="*/ 5504099 w 9586368"/>
              <a:gd name="connsiteY3421" fmla="*/ 4086287 h 6479439"/>
              <a:gd name="connsiteX3422" fmla="*/ 5500080 w 9586368"/>
              <a:gd name="connsiteY3422" fmla="*/ 4082248 h 6479439"/>
              <a:gd name="connsiteX3423" fmla="*/ 5500080 w 9586368"/>
              <a:gd name="connsiteY3423" fmla="*/ 4072377 h 6479439"/>
              <a:gd name="connsiteX3424" fmla="*/ 5264784 w 9586368"/>
              <a:gd name="connsiteY3424" fmla="*/ 4068339 h 6479439"/>
              <a:gd name="connsiteX3425" fmla="*/ 5274694 w 9586368"/>
              <a:gd name="connsiteY3425" fmla="*/ 4068339 h 6479439"/>
              <a:gd name="connsiteX3426" fmla="*/ 5278713 w 9586368"/>
              <a:gd name="connsiteY3426" fmla="*/ 4072377 h 6479439"/>
              <a:gd name="connsiteX3427" fmla="*/ 5278713 w 9586368"/>
              <a:gd name="connsiteY3427" fmla="*/ 4082248 h 6479439"/>
              <a:gd name="connsiteX3428" fmla="*/ 5274694 w 9586368"/>
              <a:gd name="connsiteY3428" fmla="*/ 4086287 h 6479439"/>
              <a:gd name="connsiteX3429" fmla="*/ 5264784 w 9586368"/>
              <a:gd name="connsiteY3429" fmla="*/ 4086287 h 6479439"/>
              <a:gd name="connsiteX3430" fmla="*/ 5260765 w 9586368"/>
              <a:gd name="connsiteY3430" fmla="*/ 4082248 h 6479439"/>
              <a:gd name="connsiteX3431" fmla="*/ 5260765 w 9586368"/>
              <a:gd name="connsiteY3431" fmla="*/ 4072377 h 6479439"/>
              <a:gd name="connsiteX3432" fmla="*/ 5025470 w 9586368"/>
              <a:gd name="connsiteY3432" fmla="*/ 4068339 h 6479439"/>
              <a:gd name="connsiteX3433" fmla="*/ 5035381 w 9586368"/>
              <a:gd name="connsiteY3433" fmla="*/ 4068339 h 6479439"/>
              <a:gd name="connsiteX3434" fmla="*/ 5039400 w 9586368"/>
              <a:gd name="connsiteY3434" fmla="*/ 4072377 h 6479439"/>
              <a:gd name="connsiteX3435" fmla="*/ 5039400 w 9586368"/>
              <a:gd name="connsiteY3435" fmla="*/ 4082248 h 6479439"/>
              <a:gd name="connsiteX3436" fmla="*/ 5035381 w 9586368"/>
              <a:gd name="connsiteY3436" fmla="*/ 4086287 h 6479439"/>
              <a:gd name="connsiteX3437" fmla="*/ 5025470 w 9586368"/>
              <a:gd name="connsiteY3437" fmla="*/ 4086287 h 6479439"/>
              <a:gd name="connsiteX3438" fmla="*/ 5021451 w 9586368"/>
              <a:gd name="connsiteY3438" fmla="*/ 4082248 h 6479439"/>
              <a:gd name="connsiteX3439" fmla="*/ 5021451 w 9586368"/>
              <a:gd name="connsiteY3439" fmla="*/ 4072377 h 6479439"/>
              <a:gd name="connsiteX3440" fmla="*/ 4786241 w 9586368"/>
              <a:gd name="connsiteY3440" fmla="*/ 4068339 h 6479439"/>
              <a:gd name="connsiteX3441" fmla="*/ 4796152 w 9586368"/>
              <a:gd name="connsiteY3441" fmla="*/ 4068339 h 6479439"/>
              <a:gd name="connsiteX3442" fmla="*/ 4800171 w 9586368"/>
              <a:gd name="connsiteY3442" fmla="*/ 4072377 h 6479439"/>
              <a:gd name="connsiteX3443" fmla="*/ 4800171 w 9586368"/>
              <a:gd name="connsiteY3443" fmla="*/ 4082248 h 6479439"/>
              <a:gd name="connsiteX3444" fmla="*/ 4796152 w 9586368"/>
              <a:gd name="connsiteY3444" fmla="*/ 4086287 h 6479439"/>
              <a:gd name="connsiteX3445" fmla="*/ 4786241 w 9586368"/>
              <a:gd name="connsiteY3445" fmla="*/ 4086287 h 6479439"/>
              <a:gd name="connsiteX3446" fmla="*/ 4782224 w 9586368"/>
              <a:gd name="connsiteY3446" fmla="*/ 4082248 h 6479439"/>
              <a:gd name="connsiteX3447" fmla="*/ 4782224 w 9586368"/>
              <a:gd name="connsiteY3447" fmla="*/ 4072377 h 6479439"/>
              <a:gd name="connsiteX3448" fmla="*/ 4546929 w 9586368"/>
              <a:gd name="connsiteY3448" fmla="*/ 4068339 h 6479439"/>
              <a:gd name="connsiteX3449" fmla="*/ 4556840 w 9586368"/>
              <a:gd name="connsiteY3449" fmla="*/ 4068339 h 6479439"/>
              <a:gd name="connsiteX3450" fmla="*/ 4560859 w 9586368"/>
              <a:gd name="connsiteY3450" fmla="*/ 4072377 h 6479439"/>
              <a:gd name="connsiteX3451" fmla="*/ 4560859 w 9586368"/>
              <a:gd name="connsiteY3451" fmla="*/ 4082248 h 6479439"/>
              <a:gd name="connsiteX3452" fmla="*/ 4556840 w 9586368"/>
              <a:gd name="connsiteY3452" fmla="*/ 4086287 h 6479439"/>
              <a:gd name="connsiteX3453" fmla="*/ 4546929 w 9586368"/>
              <a:gd name="connsiteY3453" fmla="*/ 4086287 h 6479439"/>
              <a:gd name="connsiteX3454" fmla="*/ 4542910 w 9586368"/>
              <a:gd name="connsiteY3454" fmla="*/ 4082248 h 6479439"/>
              <a:gd name="connsiteX3455" fmla="*/ 4542910 w 9586368"/>
              <a:gd name="connsiteY3455" fmla="*/ 4072377 h 6479439"/>
              <a:gd name="connsiteX3456" fmla="*/ 4307612 w 9586368"/>
              <a:gd name="connsiteY3456" fmla="*/ 4068339 h 6479439"/>
              <a:gd name="connsiteX3457" fmla="*/ 4317523 w 9586368"/>
              <a:gd name="connsiteY3457" fmla="*/ 4068339 h 6479439"/>
              <a:gd name="connsiteX3458" fmla="*/ 4321543 w 9586368"/>
              <a:gd name="connsiteY3458" fmla="*/ 4072377 h 6479439"/>
              <a:gd name="connsiteX3459" fmla="*/ 4321543 w 9586368"/>
              <a:gd name="connsiteY3459" fmla="*/ 4082248 h 6479439"/>
              <a:gd name="connsiteX3460" fmla="*/ 4317523 w 9586368"/>
              <a:gd name="connsiteY3460" fmla="*/ 4086287 h 6479439"/>
              <a:gd name="connsiteX3461" fmla="*/ 4307612 w 9586368"/>
              <a:gd name="connsiteY3461" fmla="*/ 4086287 h 6479439"/>
              <a:gd name="connsiteX3462" fmla="*/ 4303595 w 9586368"/>
              <a:gd name="connsiteY3462" fmla="*/ 4082248 h 6479439"/>
              <a:gd name="connsiteX3463" fmla="*/ 4303595 w 9586368"/>
              <a:gd name="connsiteY3463" fmla="*/ 4072377 h 6479439"/>
              <a:gd name="connsiteX3464" fmla="*/ 4068297 w 9586368"/>
              <a:gd name="connsiteY3464" fmla="*/ 4068339 h 6479439"/>
              <a:gd name="connsiteX3465" fmla="*/ 4078210 w 9586368"/>
              <a:gd name="connsiteY3465" fmla="*/ 4068339 h 6479439"/>
              <a:gd name="connsiteX3466" fmla="*/ 4082229 w 9586368"/>
              <a:gd name="connsiteY3466" fmla="*/ 4072377 h 6479439"/>
              <a:gd name="connsiteX3467" fmla="*/ 4082229 w 9586368"/>
              <a:gd name="connsiteY3467" fmla="*/ 4082248 h 6479439"/>
              <a:gd name="connsiteX3468" fmla="*/ 4078210 w 9586368"/>
              <a:gd name="connsiteY3468" fmla="*/ 4086287 h 6479439"/>
              <a:gd name="connsiteX3469" fmla="*/ 4068297 w 9586368"/>
              <a:gd name="connsiteY3469" fmla="*/ 4086287 h 6479439"/>
              <a:gd name="connsiteX3470" fmla="*/ 4064278 w 9586368"/>
              <a:gd name="connsiteY3470" fmla="*/ 4082248 h 6479439"/>
              <a:gd name="connsiteX3471" fmla="*/ 4064278 w 9586368"/>
              <a:gd name="connsiteY3471" fmla="*/ 4072377 h 6479439"/>
              <a:gd name="connsiteX3472" fmla="*/ 3828990 w 9586368"/>
              <a:gd name="connsiteY3472" fmla="*/ 4068339 h 6479439"/>
              <a:gd name="connsiteX3473" fmla="*/ 3838899 w 9586368"/>
              <a:gd name="connsiteY3473" fmla="*/ 4068339 h 6479439"/>
              <a:gd name="connsiteX3474" fmla="*/ 3842917 w 9586368"/>
              <a:gd name="connsiteY3474" fmla="*/ 4072377 h 6479439"/>
              <a:gd name="connsiteX3475" fmla="*/ 3842917 w 9586368"/>
              <a:gd name="connsiteY3475" fmla="*/ 4082248 h 6479439"/>
              <a:gd name="connsiteX3476" fmla="*/ 3838899 w 9586368"/>
              <a:gd name="connsiteY3476" fmla="*/ 4086287 h 6479439"/>
              <a:gd name="connsiteX3477" fmla="*/ 3828990 w 9586368"/>
              <a:gd name="connsiteY3477" fmla="*/ 4086287 h 6479439"/>
              <a:gd name="connsiteX3478" fmla="*/ 3824971 w 9586368"/>
              <a:gd name="connsiteY3478" fmla="*/ 4082248 h 6479439"/>
              <a:gd name="connsiteX3479" fmla="*/ 3824971 w 9586368"/>
              <a:gd name="connsiteY3479" fmla="*/ 4072377 h 6479439"/>
              <a:gd name="connsiteX3480" fmla="*/ 3589676 w 9586368"/>
              <a:gd name="connsiteY3480" fmla="*/ 4068339 h 6479439"/>
              <a:gd name="connsiteX3481" fmla="*/ 3599585 w 9586368"/>
              <a:gd name="connsiteY3481" fmla="*/ 4068339 h 6479439"/>
              <a:gd name="connsiteX3482" fmla="*/ 3603604 w 9586368"/>
              <a:gd name="connsiteY3482" fmla="*/ 4072377 h 6479439"/>
              <a:gd name="connsiteX3483" fmla="*/ 3603604 w 9586368"/>
              <a:gd name="connsiteY3483" fmla="*/ 4082248 h 6479439"/>
              <a:gd name="connsiteX3484" fmla="*/ 3599585 w 9586368"/>
              <a:gd name="connsiteY3484" fmla="*/ 4086287 h 6479439"/>
              <a:gd name="connsiteX3485" fmla="*/ 3589676 w 9586368"/>
              <a:gd name="connsiteY3485" fmla="*/ 4086287 h 6479439"/>
              <a:gd name="connsiteX3486" fmla="*/ 3585657 w 9586368"/>
              <a:gd name="connsiteY3486" fmla="*/ 4082248 h 6479439"/>
              <a:gd name="connsiteX3487" fmla="*/ 3585657 w 9586368"/>
              <a:gd name="connsiteY3487" fmla="*/ 4072377 h 6479439"/>
              <a:gd name="connsiteX3488" fmla="*/ 3350359 w 9586368"/>
              <a:gd name="connsiteY3488" fmla="*/ 4068339 h 6479439"/>
              <a:gd name="connsiteX3489" fmla="*/ 3360268 w 9586368"/>
              <a:gd name="connsiteY3489" fmla="*/ 4068339 h 6479439"/>
              <a:gd name="connsiteX3490" fmla="*/ 3364287 w 9586368"/>
              <a:gd name="connsiteY3490" fmla="*/ 4072377 h 6479439"/>
              <a:gd name="connsiteX3491" fmla="*/ 3364287 w 9586368"/>
              <a:gd name="connsiteY3491" fmla="*/ 4082248 h 6479439"/>
              <a:gd name="connsiteX3492" fmla="*/ 3360268 w 9586368"/>
              <a:gd name="connsiteY3492" fmla="*/ 4086287 h 6479439"/>
              <a:gd name="connsiteX3493" fmla="*/ 3350359 w 9586368"/>
              <a:gd name="connsiteY3493" fmla="*/ 4086287 h 6479439"/>
              <a:gd name="connsiteX3494" fmla="*/ 3346340 w 9586368"/>
              <a:gd name="connsiteY3494" fmla="*/ 4082248 h 6479439"/>
              <a:gd name="connsiteX3495" fmla="*/ 3346340 w 9586368"/>
              <a:gd name="connsiteY3495" fmla="*/ 4072377 h 6479439"/>
              <a:gd name="connsiteX3496" fmla="*/ 3111048 w 9586368"/>
              <a:gd name="connsiteY3496" fmla="*/ 4068339 h 6479439"/>
              <a:gd name="connsiteX3497" fmla="*/ 3120959 w 9586368"/>
              <a:gd name="connsiteY3497" fmla="*/ 4068339 h 6479439"/>
              <a:gd name="connsiteX3498" fmla="*/ 3124977 w 9586368"/>
              <a:gd name="connsiteY3498" fmla="*/ 4072377 h 6479439"/>
              <a:gd name="connsiteX3499" fmla="*/ 3124977 w 9586368"/>
              <a:gd name="connsiteY3499" fmla="*/ 4082248 h 6479439"/>
              <a:gd name="connsiteX3500" fmla="*/ 3120959 w 9586368"/>
              <a:gd name="connsiteY3500" fmla="*/ 4086287 h 6479439"/>
              <a:gd name="connsiteX3501" fmla="*/ 3111048 w 9586368"/>
              <a:gd name="connsiteY3501" fmla="*/ 4086287 h 6479439"/>
              <a:gd name="connsiteX3502" fmla="*/ 3107029 w 9586368"/>
              <a:gd name="connsiteY3502" fmla="*/ 4082248 h 6479439"/>
              <a:gd name="connsiteX3503" fmla="*/ 3107029 w 9586368"/>
              <a:gd name="connsiteY3503" fmla="*/ 4072377 h 6479439"/>
              <a:gd name="connsiteX3504" fmla="*/ 2871737 w 9586368"/>
              <a:gd name="connsiteY3504" fmla="*/ 4068339 h 6479439"/>
              <a:gd name="connsiteX3505" fmla="*/ 2881646 w 9586368"/>
              <a:gd name="connsiteY3505" fmla="*/ 4068339 h 6479439"/>
              <a:gd name="connsiteX3506" fmla="*/ 2885666 w 9586368"/>
              <a:gd name="connsiteY3506" fmla="*/ 4072377 h 6479439"/>
              <a:gd name="connsiteX3507" fmla="*/ 2885666 w 9586368"/>
              <a:gd name="connsiteY3507" fmla="*/ 4082248 h 6479439"/>
              <a:gd name="connsiteX3508" fmla="*/ 2881646 w 9586368"/>
              <a:gd name="connsiteY3508" fmla="*/ 4086287 h 6479439"/>
              <a:gd name="connsiteX3509" fmla="*/ 2871737 w 9586368"/>
              <a:gd name="connsiteY3509" fmla="*/ 4086287 h 6479439"/>
              <a:gd name="connsiteX3510" fmla="*/ 2867717 w 9586368"/>
              <a:gd name="connsiteY3510" fmla="*/ 4082248 h 6479439"/>
              <a:gd name="connsiteX3511" fmla="*/ 2867717 w 9586368"/>
              <a:gd name="connsiteY3511" fmla="*/ 4072377 h 6479439"/>
              <a:gd name="connsiteX3512" fmla="*/ 2632423 w 9586368"/>
              <a:gd name="connsiteY3512" fmla="*/ 4068339 h 6479439"/>
              <a:gd name="connsiteX3513" fmla="*/ 2642334 w 9586368"/>
              <a:gd name="connsiteY3513" fmla="*/ 4068339 h 6479439"/>
              <a:gd name="connsiteX3514" fmla="*/ 2646352 w 9586368"/>
              <a:gd name="connsiteY3514" fmla="*/ 4072377 h 6479439"/>
              <a:gd name="connsiteX3515" fmla="*/ 2646352 w 9586368"/>
              <a:gd name="connsiteY3515" fmla="*/ 4082248 h 6479439"/>
              <a:gd name="connsiteX3516" fmla="*/ 2642334 w 9586368"/>
              <a:gd name="connsiteY3516" fmla="*/ 4086287 h 6479439"/>
              <a:gd name="connsiteX3517" fmla="*/ 2632423 w 9586368"/>
              <a:gd name="connsiteY3517" fmla="*/ 4086287 h 6479439"/>
              <a:gd name="connsiteX3518" fmla="*/ 2628404 w 9586368"/>
              <a:gd name="connsiteY3518" fmla="*/ 4082248 h 6479439"/>
              <a:gd name="connsiteX3519" fmla="*/ 2628404 w 9586368"/>
              <a:gd name="connsiteY3519" fmla="*/ 4072377 h 6479439"/>
              <a:gd name="connsiteX3520" fmla="*/ 2393104 w 9586368"/>
              <a:gd name="connsiteY3520" fmla="*/ 4068339 h 6479439"/>
              <a:gd name="connsiteX3521" fmla="*/ 2403015 w 9586368"/>
              <a:gd name="connsiteY3521" fmla="*/ 4068339 h 6479439"/>
              <a:gd name="connsiteX3522" fmla="*/ 2407034 w 9586368"/>
              <a:gd name="connsiteY3522" fmla="*/ 4072377 h 6479439"/>
              <a:gd name="connsiteX3523" fmla="*/ 2407034 w 9586368"/>
              <a:gd name="connsiteY3523" fmla="*/ 4082248 h 6479439"/>
              <a:gd name="connsiteX3524" fmla="*/ 2403015 w 9586368"/>
              <a:gd name="connsiteY3524" fmla="*/ 4086287 h 6479439"/>
              <a:gd name="connsiteX3525" fmla="*/ 2393104 w 9586368"/>
              <a:gd name="connsiteY3525" fmla="*/ 4086287 h 6479439"/>
              <a:gd name="connsiteX3526" fmla="*/ 2389087 w 9586368"/>
              <a:gd name="connsiteY3526" fmla="*/ 4082248 h 6479439"/>
              <a:gd name="connsiteX3527" fmla="*/ 2389087 w 9586368"/>
              <a:gd name="connsiteY3527" fmla="*/ 4072377 h 6479439"/>
              <a:gd name="connsiteX3528" fmla="*/ 2157819 w 9586368"/>
              <a:gd name="connsiteY3528" fmla="*/ 4068339 h 6479439"/>
              <a:gd name="connsiteX3529" fmla="*/ 2167729 w 9586368"/>
              <a:gd name="connsiteY3529" fmla="*/ 4068339 h 6479439"/>
              <a:gd name="connsiteX3530" fmla="*/ 2171749 w 9586368"/>
              <a:gd name="connsiteY3530" fmla="*/ 4072377 h 6479439"/>
              <a:gd name="connsiteX3531" fmla="*/ 2171749 w 9586368"/>
              <a:gd name="connsiteY3531" fmla="*/ 4082248 h 6479439"/>
              <a:gd name="connsiteX3532" fmla="*/ 2167729 w 9586368"/>
              <a:gd name="connsiteY3532" fmla="*/ 4086287 h 6479439"/>
              <a:gd name="connsiteX3533" fmla="*/ 2157819 w 9586368"/>
              <a:gd name="connsiteY3533" fmla="*/ 4086287 h 6479439"/>
              <a:gd name="connsiteX3534" fmla="*/ 2153801 w 9586368"/>
              <a:gd name="connsiteY3534" fmla="*/ 4082248 h 6479439"/>
              <a:gd name="connsiteX3535" fmla="*/ 2153801 w 9586368"/>
              <a:gd name="connsiteY3535" fmla="*/ 4072377 h 6479439"/>
              <a:gd name="connsiteX3536" fmla="*/ 1918511 w 9586368"/>
              <a:gd name="connsiteY3536" fmla="*/ 4068339 h 6479439"/>
              <a:gd name="connsiteX3537" fmla="*/ 1928421 w 9586368"/>
              <a:gd name="connsiteY3537" fmla="*/ 4068339 h 6479439"/>
              <a:gd name="connsiteX3538" fmla="*/ 1932440 w 9586368"/>
              <a:gd name="connsiteY3538" fmla="*/ 4072377 h 6479439"/>
              <a:gd name="connsiteX3539" fmla="*/ 1932440 w 9586368"/>
              <a:gd name="connsiteY3539" fmla="*/ 4082248 h 6479439"/>
              <a:gd name="connsiteX3540" fmla="*/ 1928421 w 9586368"/>
              <a:gd name="connsiteY3540" fmla="*/ 4086287 h 6479439"/>
              <a:gd name="connsiteX3541" fmla="*/ 1918511 w 9586368"/>
              <a:gd name="connsiteY3541" fmla="*/ 4086287 h 6479439"/>
              <a:gd name="connsiteX3542" fmla="*/ 1914492 w 9586368"/>
              <a:gd name="connsiteY3542" fmla="*/ 4082248 h 6479439"/>
              <a:gd name="connsiteX3543" fmla="*/ 1914492 w 9586368"/>
              <a:gd name="connsiteY3543" fmla="*/ 4072377 h 6479439"/>
              <a:gd name="connsiteX3544" fmla="*/ 1679207 w 9586368"/>
              <a:gd name="connsiteY3544" fmla="*/ 4068339 h 6479439"/>
              <a:gd name="connsiteX3545" fmla="*/ 1689117 w 9586368"/>
              <a:gd name="connsiteY3545" fmla="*/ 4068339 h 6479439"/>
              <a:gd name="connsiteX3546" fmla="*/ 1693137 w 9586368"/>
              <a:gd name="connsiteY3546" fmla="*/ 4072377 h 6479439"/>
              <a:gd name="connsiteX3547" fmla="*/ 1693137 w 9586368"/>
              <a:gd name="connsiteY3547" fmla="*/ 4082248 h 6479439"/>
              <a:gd name="connsiteX3548" fmla="*/ 1689117 w 9586368"/>
              <a:gd name="connsiteY3548" fmla="*/ 4086287 h 6479439"/>
              <a:gd name="connsiteX3549" fmla="*/ 1679207 w 9586368"/>
              <a:gd name="connsiteY3549" fmla="*/ 4086287 h 6479439"/>
              <a:gd name="connsiteX3550" fmla="*/ 1675189 w 9586368"/>
              <a:gd name="connsiteY3550" fmla="*/ 4082248 h 6479439"/>
              <a:gd name="connsiteX3551" fmla="*/ 1675189 w 9586368"/>
              <a:gd name="connsiteY3551" fmla="*/ 4072377 h 6479439"/>
              <a:gd name="connsiteX3552" fmla="*/ 1439891 w 9586368"/>
              <a:gd name="connsiteY3552" fmla="*/ 4068339 h 6479439"/>
              <a:gd name="connsiteX3553" fmla="*/ 1449802 w 9586368"/>
              <a:gd name="connsiteY3553" fmla="*/ 4068339 h 6479439"/>
              <a:gd name="connsiteX3554" fmla="*/ 1453820 w 9586368"/>
              <a:gd name="connsiteY3554" fmla="*/ 4072377 h 6479439"/>
              <a:gd name="connsiteX3555" fmla="*/ 1453820 w 9586368"/>
              <a:gd name="connsiteY3555" fmla="*/ 4082248 h 6479439"/>
              <a:gd name="connsiteX3556" fmla="*/ 1449802 w 9586368"/>
              <a:gd name="connsiteY3556" fmla="*/ 4086287 h 6479439"/>
              <a:gd name="connsiteX3557" fmla="*/ 1439891 w 9586368"/>
              <a:gd name="connsiteY3557" fmla="*/ 4086287 h 6479439"/>
              <a:gd name="connsiteX3558" fmla="*/ 1435873 w 9586368"/>
              <a:gd name="connsiteY3558" fmla="*/ 4082248 h 6479439"/>
              <a:gd name="connsiteX3559" fmla="*/ 1435873 w 9586368"/>
              <a:gd name="connsiteY3559" fmla="*/ 4072377 h 6479439"/>
              <a:gd name="connsiteX3560" fmla="*/ 1200576 w 9586368"/>
              <a:gd name="connsiteY3560" fmla="*/ 4068339 h 6479439"/>
              <a:gd name="connsiteX3561" fmla="*/ 1210486 w 9586368"/>
              <a:gd name="connsiteY3561" fmla="*/ 4068339 h 6479439"/>
              <a:gd name="connsiteX3562" fmla="*/ 1214505 w 9586368"/>
              <a:gd name="connsiteY3562" fmla="*/ 4072377 h 6479439"/>
              <a:gd name="connsiteX3563" fmla="*/ 1214505 w 9586368"/>
              <a:gd name="connsiteY3563" fmla="*/ 4082248 h 6479439"/>
              <a:gd name="connsiteX3564" fmla="*/ 1210486 w 9586368"/>
              <a:gd name="connsiteY3564" fmla="*/ 4086287 h 6479439"/>
              <a:gd name="connsiteX3565" fmla="*/ 1200576 w 9586368"/>
              <a:gd name="connsiteY3565" fmla="*/ 4086287 h 6479439"/>
              <a:gd name="connsiteX3566" fmla="*/ 1196558 w 9586368"/>
              <a:gd name="connsiteY3566" fmla="*/ 4082248 h 6479439"/>
              <a:gd name="connsiteX3567" fmla="*/ 1196558 w 9586368"/>
              <a:gd name="connsiteY3567" fmla="*/ 4072377 h 6479439"/>
              <a:gd name="connsiteX3568" fmla="*/ 961263 w 9586368"/>
              <a:gd name="connsiteY3568" fmla="*/ 4068339 h 6479439"/>
              <a:gd name="connsiteX3569" fmla="*/ 971174 w 9586368"/>
              <a:gd name="connsiteY3569" fmla="*/ 4068339 h 6479439"/>
              <a:gd name="connsiteX3570" fmla="*/ 975192 w 9586368"/>
              <a:gd name="connsiteY3570" fmla="*/ 4072377 h 6479439"/>
              <a:gd name="connsiteX3571" fmla="*/ 975192 w 9586368"/>
              <a:gd name="connsiteY3571" fmla="*/ 4082248 h 6479439"/>
              <a:gd name="connsiteX3572" fmla="*/ 971174 w 9586368"/>
              <a:gd name="connsiteY3572" fmla="*/ 4086287 h 6479439"/>
              <a:gd name="connsiteX3573" fmla="*/ 961263 w 9586368"/>
              <a:gd name="connsiteY3573" fmla="*/ 4086287 h 6479439"/>
              <a:gd name="connsiteX3574" fmla="*/ 957244 w 9586368"/>
              <a:gd name="connsiteY3574" fmla="*/ 4082248 h 6479439"/>
              <a:gd name="connsiteX3575" fmla="*/ 957244 w 9586368"/>
              <a:gd name="connsiteY3575" fmla="*/ 4072377 h 6479439"/>
              <a:gd name="connsiteX3576" fmla="*/ 721965 w 9586368"/>
              <a:gd name="connsiteY3576" fmla="*/ 4068339 h 6479439"/>
              <a:gd name="connsiteX3577" fmla="*/ 731876 w 9586368"/>
              <a:gd name="connsiteY3577" fmla="*/ 4068339 h 6479439"/>
              <a:gd name="connsiteX3578" fmla="*/ 735894 w 9586368"/>
              <a:gd name="connsiteY3578" fmla="*/ 4072377 h 6479439"/>
              <a:gd name="connsiteX3579" fmla="*/ 735894 w 9586368"/>
              <a:gd name="connsiteY3579" fmla="*/ 4082248 h 6479439"/>
              <a:gd name="connsiteX3580" fmla="*/ 731876 w 9586368"/>
              <a:gd name="connsiteY3580" fmla="*/ 4086287 h 6479439"/>
              <a:gd name="connsiteX3581" fmla="*/ 721965 w 9586368"/>
              <a:gd name="connsiteY3581" fmla="*/ 4086287 h 6479439"/>
              <a:gd name="connsiteX3582" fmla="*/ 717946 w 9586368"/>
              <a:gd name="connsiteY3582" fmla="*/ 4082248 h 6479439"/>
              <a:gd name="connsiteX3583" fmla="*/ 717946 w 9586368"/>
              <a:gd name="connsiteY3583" fmla="*/ 4072377 h 6479439"/>
              <a:gd name="connsiteX3584" fmla="*/ 482653 w 9586368"/>
              <a:gd name="connsiteY3584" fmla="*/ 4068339 h 6479439"/>
              <a:gd name="connsiteX3585" fmla="*/ 492563 w 9586368"/>
              <a:gd name="connsiteY3585" fmla="*/ 4068339 h 6479439"/>
              <a:gd name="connsiteX3586" fmla="*/ 496583 w 9586368"/>
              <a:gd name="connsiteY3586" fmla="*/ 4072377 h 6479439"/>
              <a:gd name="connsiteX3587" fmla="*/ 496583 w 9586368"/>
              <a:gd name="connsiteY3587" fmla="*/ 4082248 h 6479439"/>
              <a:gd name="connsiteX3588" fmla="*/ 492563 w 9586368"/>
              <a:gd name="connsiteY3588" fmla="*/ 4086287 h 6479439"/>
              <a:gd name="connsiteX3589" fmla="*/ 482653 w 9586368"/>
              <a:gd name="connsiteY3589" fmla="*/ 4086287 h 6479439"/>
              <a:gd name="connsiteX3590" fmla="*/ 478634 w 9586368"/>
              <a:gd name="connsiteY3590" fmla="*/ 4082248 h 6479439"/>
              <a:gd name="connsiteX3591" fmla="*/ 478634 w 9586368"/>
              <a:gd name="connsiteY3591" fmla="*/ 4072377 h 6479439"/>
              <a:gd name="connsiteX3592" fmla="*/ 243339 w 9586368"/>
              <a:gd name="connsiteY3592" fmla="*/ 4068339 h 6479439"/>
              <a:gd name="connsiteX3593" fmla="*/ 253250 w 9586368"/>
              <a:gd name="connsiteY3593" fmla="*/ 4068339 h 6479439"/>
              <a:gd name="connsiteX3594" fmla="*/ 257269 w 9586368"/>
              <a:gd name="connsiteY3594" fmla="*/ 4072377 h 6479439"/>
              <a:gd name="connsiteX3595" fmla="*/ 257269 w 9586368"/>
              <a:gd name="connsiteY3595" fmla="*/ 4082248 h 6479439"/>
              <a:gd name="connsiteX3596" fmla="*/ 253250 w 9586368"/>
              <a:gd name="connsiteY3596" fmla="*/ 4086287 h 6479439"/>
              <a:gd name="connsiteX3597" fmla="*/ 243339 w 9586368"/>
              <a:gd name="connsiteY3597" fmla="*/ 4086287 h 6479439"/>
              <a:gd name="connsiteX3598" fmla="*/ 239320 w 9586368"/>
              <a:gd name="connsiteY3598" fmla="*/ 4082248 h 6479439"/>
              <a:gd name="connsiteX3599" fmla="*/ 239320 w 9586368"/>
              <a:gd name="connsiteY3599" fmla="*/ 4072377 h 6479439"/>
              <a:gd name="connsiteX3600" fmla="*/ 4026 w 9586368"/>
              <a:gd name="connsiteY3600" fmla="*/ 4068339 h 6479439"/>
              <a:gd name="connsiteX3601" fmla="*/ 13936 w 9586368"/>
              <a:gd name="connsiteY3601" fmla="*/ 4068339 h 6479439"/>
              <a:gd name="connsiteX3602" fmla="*/ 17956 w 9586368"/>
              <a:gd name="connsiteY3602" fmla="*/ 4072377 h 6479439"/>
              <a:gd name="connsiteX3603" fmla="*/ 17956 w 9586368"/>
              <a:gd name="connsiteY3603" fmla="*/ 4082248 h 6479439"/>
              <a:gd name="connsiteX3604" fmla="*/ 13936 w 9586368"/>
              <a:gd name="connsiteY3604" fmla="*/ 4086287 h 6479439"/>
              <a:gd name="connsiteX3605" fmla="*/ 4026 w 9586368"/>
              <a:gd name="connsiteY3605" fmla="*/ 4086287 h 6479439"/>
              <a:gd name="connsiteX3606" fmla="*/ 7 w 9586368"/>
              <a:gd name="connsiteY3606" fmla="*/ 4082248 h 6479439"/>
              <a:gd name="connsiteX3607" fmla="*/ 7 w 9586368"/>
              <a:gd name="connsiteY3607" fmla="*/ 4072377 h 6479439"/>
              <a:gd name="connsiteX3608" fmla="*/ 2157820 w 9586368"/>
              <a:gd name="connsiteY3608" fmla="*/ 3829058 h 6479439"/>
              <a:gd name="connsiteX3609" fmla="*/ 2167731 w 9586368"/>
              <a:gd name="connsiteY3609" fmla="*/ 3829058 h 6479439"/>
              <a:gd name="connsiteX3610" fmla="*/ 2171749 w 9586368"/>
              <a:gd name="connsiteY3610" fmla="*/ 3833097 h 6479439"/>
              <a:gd name="connsiteX3611" fmla="*/ 2171749 w 9586368"/>
              <a:gd name="connsiteY3611" fmla="*/ 3842968 h 6479439"/>
              <a:gd name="connsiteX3612" fmla="*/ 2167731 w 9586368"/>
              <a:gd name="connsiteY3612" fmla="*/ 3847007 h 6479439"/>
              <a:gd name="connsiteX3613" fmla="*/ 2157820 w 9586368"/>
              <a:gd name="connsiteY3613" fmla="*/ 3847007 h 6479439"/>
              <a:gd name="connsiteX3614" fmla="*/ 2153801 w 9586368"/>
              <a:gd name="connsiteY3614" fmla="*/ 3842968 h 6479439"/>
              <a:gd name="connsiteX3615" fmla="*/ 2153801 w 9586368"/>
              <a:gd name="connsiteY3615" fmla="*/ 3833097 h 6479439"/>
              <a:gd name="connsiteX3616" fmla="*/ 1918511 w 9586368"/>
              <a:gd name="connsiteY3616" fmla="*/ 3829058 h 6479439"/>
              <a:gd name="connsiteX3617" fmla="*/ 1928421 w 9586368"/>
              <a:gd name="connsiteY3617" fmla="*/ 3829058 h 6479439"/>
              <a:gd name="connsiteX3618" fmla="*/ 1932440 w 9586368"/>
              <a:gd name="connsiteY3618" fmla="*/ 3833097 h 6479439"/>
              <a:gd name="connsiteX3619" fmla="*/ 1932440 w 9586368"/>
              <a:gd name="connsiteY3619" fmla="*/ 3842968 h 6479439"/>
              <a:gd name="connsiteX3620" fmla="*/ 1928421 w 9586368"/>
              <a:gd name="connsiteY3620" fmla="*/ 3847007 h 6479439"/>
              <a:gd name="connsiteX3621" fmla="*/ 1918511 w 9586368"/>
              <a:gd name="connsiteY3621" fmla="*/ 3847007 h 6479439"/>
              <a:gd name="connsiteX3622" fmla="*/ 1914493 w 9586368"/>
              <a:gd name="connsiteY3622" fmla="*/ 3842968 h 6479439"/>
              <a:gd name="connsiteX3623" fmla="*/ 1914493 w 9586368"/>
              <a:gd name="connsiteY3623" fmla="*/ 3833097 h 6479439"/>
              <a:gd name="connsiteX3624" fmla="*/ 1679209 w 9586368"/>
              <a:gd name="connsiteY3624" fmla="*/ 3829058 h 6479439"/>
              <a:gd name="connsiteX3625" fmla="*/ 1689118 w 9586368"/>
              <a:gd name="connsiteY3625" fmla="*/ 3829058 h 6479439"/>
              <a:gd name="connsiteX3626" fmla="*/ 1693137 w 9586368"/>
              <a:gd name="connsiteY3626" fmla="*/ 3833097 h 6479439"/>
              <a:gd name="connsiteX3627" fmla="*/ 1693137 w 9586368"/>
              <a:gd name="connsiteY3627" fmla="*/ 3842968 h 6479439"/>
              <a:gd name="connsiteX3628" fmla="*/ 1689118 w 9586368"/>
              <a:gd name="connsiteY3628" fmla="*/ 3847007 h 6479439"/>
              <a:gd name="connsiteX3629" fmla="*/ 1679209 w 9586368"/>
              <a:gd name="connsiteY3629" fmla="*/ 3847007 h 6479439"/>
              <a:gd name="connsiteX3630" fmla="*/ 1675189 w 9586368"/>
              <a:gd name="connsiteY3630" fmla="*/ 3842968 h 6479439"/>
              <a:gd name="connsiteX3631" fmla="*/ 1675189 w 9586368"/>
              <a:gd name="connsiteY3631" fmla="*/ 3833097 h 6479439"/>
              <a:gd name="connsiteX3632" fmla="*/ 1439892 w 9586368"/>
              <a:gd name="connsiteY3632" fmla="*/ 3829058 h 6479439"/>
              <a:gd name="connsiteX3633" fmla="*/ 1449802 w 9586368"/>
              <a:gd name="connsiteY3633" fmla="*/ 3829058 h 6479439"/>
              <a:gd name="connsiteX3634" fmla="*/ 1453820 w 9586368"/>
              <a:gd name="connsiteY3634" fmla="*/ 3833097 h 6479439"/>
              <a:gd name="connsiteX3635" fmla="*/ 1453820 w 9586368"/>
              <a:gd name="connsiteY3635" fmla="*/ 3842968 h 6479439"/>
              <a:gd name="connsiteX3636" fmla="*/ 1449802 w 9586368"/>
              <a:gd name="connsiteY3636" fmla="*/ 3847007 h 6479439"/>
              <a:gd name="connsiteX3637" fmla="*/ 1439892 w 9586368"/>
              <a:gd name="connsiteY3637" fmla="*/ 3847007 h 6479439"/>
              <a:gd name="connsiteX3638" fmla="*/ 1435874 w 9586368"/>
              <a:gd name="connsiteY3638" fmla="*/ 3842968 h 6479439"/>
              <a:gd name="connsiteX3639" fmla="*/ 1435874 w 9586368"/>
              <a:gd name="connsiteY3639" fmla="*/ 3833097 h 6479439"/>
              <a:gd name="connsiteX3640" fmla="*/ 1200577 w 9586368"/>
              <a:gd name="connsiteY3640" fmla="*/ 3829058 h 6479439"/>
              <a:gd name="connsiteX3641" fmla="*/ 1210487 w 9586368"/>
              <a:gd name="connsiteY3641" fmla="*/ 3829058 h 6479439"/>
              <a:gd name="connsiteX3642" fmla="*/ 1214506 w 9586368"/>
              <a:gd name="connsiteY3642" fmla="*/ 3833097 h 6479439"/>
              <a:gd name="connsiteX3643" fmla="*/ 1214506 w 9586368"/>
              <a:gd name="connsiteY3643" fmla="*/ 3842968 h 6479439"/>
              <a:gd name="connsiteX3644" fmla="*/ 1210487 w 9586368"/>
              <a:gd name="connsiteY3644" fmla="*/ 3847007 h 6479439"/>
              <a:gd name="connsiteX3645" fmla="*/ 1200577 w 9586368"/>
              <a:gd name="connsiteY3645" fmla="*/ 3847007 h 6479439"/>
              <a:gd name="connsiteX3646" fmla="*/ 1196558 w 9586368"/>
              <a:gd name="connsiteY3646" fmla="*/ 3842968 h 6479439"/>
              <a:gd name="connsiteX3647" fmla="*/ 1196558 w 9586368"/>
              <a:gd name="connsiteY3647" fmla="*/ 3833097 h 6479439"/>
              <a:gd name="connsiteX3648" fmla="*/ 961264 w 9586368"/>
              <a:gd name="connsiteY3648" fmla="*/ 3829058 h 6479439"/>
              <a:gd name="connsiteX3649" fmla="*/ 971174 w 9586368"/>
              <a:gd name="connsiteY3649" fmla="*/ 3829058 h 6479439"/>
              <a:gd name="connsiteX3650" fmla="*/ 975193 w 9586368"/>
              <a:gd name="connsiteY3650" fmla="*/ 3833097 h 6479439"/>
              <a:gd name="connsiteX3651" fmla="*/ 975193 w 9586368"/>
              <a:gd name="connsiteY3651" fmla="*/ 3842968 h 6479439"/>
              <a:gd name="connsiteX3652" fmla="*/ 971174 w 9586368"/>
              <a:gd name="connsiteY3652" fmla="*/ 3847007 h 6479439"/>
              <a:gd name="connsiteX3653" fmla="*/ 961264 w 9586368"/>
              <a:gd name="connsiteY3653" fmla="*/ 3847007 h 6479439"/>
              <a:gd name="connsiteX3654" fmla="*/ 957245 w 9586368"/>
              <a:gd name="connsiteY3654" fmla="*/ 3842968 h 6479439"/>
              <a:gd name="connsiteX3655" fmla="*/ 957245 w 9586368"/>
              <a:gd name="connsiteY3655" fmla="*/ 3833097 h 6479439"/>
              <a:gd name="connsiteX3656" fmla="*/ 9572438 w 9586368"/>
              <a:gd name="connsiteY3656" fmla="*/ 3829008 h 6479439"/>
              <a:gd name="connsiteX3657" fmla="*/ 9582349 w 9586368"/>
              <a:gd name="connsiteY3657" fmla="*/ 3829008 h 6479439"/>
              <a:gd name="connsiteX3658" fmla="*/ 9586368 w 9586368"/>
              <a:gd name="connsiteY3658" fmla="*/ 3833046 h 6479439"/>
              <a:gd name="connsiteX3659" fmla="*/ 9586368 w 9586368"/>
              <a:gd name="connsiteY3659" fmla="*/ 3842917 h 6479439"/>
              <a:gd name="connsiteX3660" fmla="*/ 9582349 w 9586368"/>
              <a:gd name="connsiteY3660" fmla="*/ 3846956 h 6479439"/>
              <a:gd name="connsiteX3661" fmla="*/ 9572438 w 9586368"/>
              <a:gd name="connsiteY3661" fmla="*/ 3846956 h 6479439"/>
              <a:gd name="connsiteX3662" fmla="*/ 9568419 w 9586368"/>
              <a:gd name="connsiteY3662" fmla="*/ 3842917 h 6479439"/>
              <a:gd name="connsiteX3663" fmla="*/ 9568419 w 9586368"/>
              <a:gd name="connsiteY3663" fmla="*/ 3833046 h 6479439"/>
              <a:gd name="connsiteX3664" fmla="*/ 9333125 w 9586368"/>
              <a:gd name="connsiteY3664" fmla="*/ 3829008 h 6479439"/>
              <a:gd name="connsiteX3665" fmla="*/ 9343036 w 9586368"/>
              <a:gd name="connsiteY3665" fmla="*/ 3829008 h 6479439"/>
              <a:gd name="connsiteX3666" fmla="*/ 9347055 w 9586368"/>
              <a:gd name="connsiteY3666" fmla="*/ 3833046 h 6479439"/>
              <a:gd name="connsiteX3667" fmla="*/ 9347055 w 9586368"/>
              <a:gd name="connsiteY3667" fmla="*/ 3842917 h 6479439"/>
              <a:gd name="connsiteX3668" fmla="*/ 9343036 w 9586368"/>
              <a:gd name="connsiteY3668" fmla="*/ 3846956 h 6479439"/>
              <a:gd name="connsiteX3669" fmla="*/ 9333125 w 9586368"/>
              <a:gd name="connsiteY3669" fmla="*/ 3846956 h 6479439"/>
              <a:gd name="connsiteX3670" fmla="*/ 9329106 w 9586368"/>
              <a:gd name="connsiteY3670" fmla="*/ 3842917 h 6479439"/>
              <a:gd name="connsiteX3671" fmla="*/ 9329106 w 9586368"/>
              <a:gd name="connsiteY3671" fmla="*/ 3833046 h 6479439"/>
              <a:gd name="connsiteX3672" fmla="*/ 9093811 w 9586368"/>
              <a:gd name="connsiteY3672" fmla="*/ 3829008 h 6479439"/>
              <a:gd name="connsiteX3673" fmla="*/ 9103722 w 9586368"/>
              <a:gd name="connsiteY3673" fmla="*/ 3829008 h 6479439"/>
              <a:gd name="connsiteX3674" fmla="*/ 9107741 w 9586368"/>
              <a:gd name="connsiteY3674" fmla="*/ 3833046 h 6479439"/>
              <a:gd name="connsiteX3675" fmla="*/ 9107741 w 9586368"/>
              <a:gd name="connsiteY3675" fmla="*/ 3842917 h 6479439"/>
              <a:gd name="connsiteX3676" fmla="*/ 9103722 w 9586368"/>
              <a:gd name="connsiteY3676" fmla="*/ 3846956 h 6479439"/>
              <a:gd name="connsiteX3677" fmla="*/ 9093811 w 9586368"/>
              <a:gd name="connsiteY3677" fmla="*/ 3846956 h 6479439"/>
              <a:gd name="connsiteX3678" fmla="*/ 9089792 w 9586368"/>
              <a:gd name="connsiteY3678" fmla="*/ 3842917 h 6479439"/>
              <a:gd name="connsiteX3679" fmla="*/ 9089792 w 9586368"/>
              <a:gd name="connsiteY3679" fmla="*/ 3833046 h 6479439"/>
              <a:gd name="connsiteX3680" fmla="*/ 8854496 w 9586368"/>
              <a:gd name="connsiteY3680" fmla="*/ 3829008 h 6479439"/>
              <a:gd name="connsiteX3681" fmla="*/ 8864407 w 9586368"/>
              <a:gd name="connsiteY3681" fmla="*/ 3829008 h 6479439"/>
              <a:gd name="connsiteX3682" fmla="*/ 8868426 w 9586368"/>
              <a:gd name="connsiteY3682" fmla="*/ 3833046 h 6479439"/>
              <a:gd name="connsiteX3683" fmla="*/ 8868426 w 9586368"/>
              <a:gd name="connsiteY3683" fmla="*/ 3842917 h 6479439"/>
              <a:gd name="connsiteX3684" fmla="*/ 8864407 w 9586368"/>
              <a:gd name="connsiteY3684" fmla="*/ 3846956 h 6479439"/>
              <a:gd name="connsiteX3685" fmla="*/ 8854496 w 9586368"/>
              <a:gd name="connsiteY3685" fmla="*/ 3846956 h 6479439"/>
              <a:gd name="connsiteX3686" fmla="*/ 8850477 w 9586368"/>
              <a:gd name="connsiteY3686" fmla="*/ 3842917 h 6479439"/>
              <a:gd name="connsiteX3687" fmla="*/ 8850477 w 9586368"/>
              <a:gd name="connsiteY3687" fmla="*/ 3833046 h 6479439"/>
              <a:gd name="connsiteX3688" fmla="*/ 8615184 w 9586368"/>
              <a:gd name="connsiteY3688" fmla="*/ 3829008 h 6479439"/>
              <a:gd name="connsiteX3689" fmla="*/ 8625095 w 9586368"/>
              <a:gd name="connsiteY3689" fmla="*/ 3829008 h 6479439"/>
              <a:gd name="connsiteX3690" fmla="*/ 8629114 w 9586368"/>
              <a:gd name="connsiteY3690" fmla="*/ 3833046 h 6479439"/>
              <a:gd name="connsiteX3691" fmla="*/ 8629114 w 9586368"/>
              <a:gd name="connsiteY3691" fmla="*/ 3842917 h 6479439"/>
              <a:gd name="connsiteX3692" fmla="*/ 8625095 w 9586368"/>
              <a:gd name="connsiteY3692" fmla="*/ 3846956 h 6479439"/>
              <a:gd name="connsiteX3693" fmla="*/ 8615184 w 9586368"/>
              <a:gd name="connsiteY3693" fmla="*/ 3846956 h 6479439"/>
              <a:gd name="connsiteX3694" fmla="*/ 8611165 w 9586368"/>
              <a:gd name="connsiteY3694" fmla="*/ 3842917 h 6479439"/>
              <a:gd name="connsiteX3695" fmla="*/ 8611165 w 9586368"/>
              <a:gd name="connsiteY3695" fmla="*/ 3833046 h 6479439"/>
              <a:gd name="connsiteX3696" fmla="*/ 8375869 w 9586368"/>
              <a:gd name="connsiteY3696" fmla="*/ 3829008 h 6479439"/>
              <a:gd name="connsiteX3697" fmla="*/ 8385779 w 9586368"/>
              <a:gd name="connsiteY3697" fmla="*/ 3829008 h 6479439"/>
              <a:gd name="connsiteX3698" fmla="*/ 8389799 w 9586368"/>
              <a:gd name="connsiteY3698" fmla="*/ 3833046 h 6479439"/>
              <a:gd name="connsiteX3699" fmla="*/ 8389799 w 9586368"/>
              <a:gd name="connsiteY3699" fmla="*/ 3842917 h 6479439"/>
              <a:gd name="connsiteX3700" fmla="*/ 8385779 w 9586368"/>
              <a:gd name="connsiteY3700" fmla="*/ 3846956 h 6479439"/>
              <a:gd name="connsiteX3701" fmla="*/ 8375869 w 9586368"/>
              <a:gd name="connsiteY3701" fmla="*/ 3846956 h 6479439"/>
              <a:gd name="connsiteX3702" fmla="*/ 8371850 w 9586368"/>
              <a:gd name="connsiteY3702" fmla="*/ 3842917 h 6479439"/>
              <a:gd name="connsiteX3703" fmla="*/ 8371850 w 9586368"/>
              <a:gd name="connsiteY3703" fmla="*/ 3833046 h 6479439"/>
              <a:gd name="connsiteX3704" fmla="*/ 8136553 w 9586368"/>
              <a:gd name="connsiteY3704" fmla="*/ 3829008 h 6479439"/>
              <a:gd name="connsiteX3705" fmla="*/ 8146464 w 9586368"/>
              <a:gd name="connsiteY3705" fmla="*/ 3829008 h 6479439"/>
              <a:gd name="connsiteX3706" fmla="*/ 8150483 w 9586368"/>
              <a:gd name="connsiteY3706" fmla="*/ 3833046 h 6479439"/>
              <a:gd name="connsiteX3707" fmla="*/ 8150483 w 9586368"/>
              <a:gd name="connsiteY3707" fmla="*/ 3842917 h 6479439"/>
              <a:gd name="connsiteX3708" fmla="*/ 8146464 w 9586368"/>
              <a:gd name="connsiteY3708" fmla="*/ 3846956 h 6479439"/>
              <a:gd name="connsiteX3709" fmla="*/ 8136553 w 9586368"/>
              <a:gd name="connsiteY3709" fmla="*/ 3846956 h 6479439"/>
              <a:gd name="connsiteX3710" fmla="*/ 8132534 w 9586368"/>
              <a:gd name="connsiteY3710" fmla="*/ 3842917 h 6479439"/>
              <a:gd name="connsiteX3711" fmla="*/ 8132534 w 9586368"/>
              <a:gd name="connsiteY3711" fmla="*/ 3833046 h 6479439"/>
              <a:gd name="connsiteX3712" fmla="*/ 7897241 w 9586368"/>
              <a:gd name="connsiteY3712" fmla="*/ 3829008 h 6479439"/>
              <a:gd name="connsiteX3713" fmla="*/ 7907151 w 9586368"/>
              <a:gd name="connsiteY3713" fmla="*/ 3829008 h 6479439"/>
              <a:gd name="connsiteX3714" fmla="*/ 7911170 w 9586368"/>
              <a:gd name="connsiteY3714" fmla="*/ 3833046 h 6479439"/>
              <a:gd name="connsiteX3715" fmla="*/ 7911170 w 9586368"/>
              <a:gd name="connsiteY3715" fmla="*/ 3842917 h 6479439"/>
              <a:gd name="connsiteX3716" fmla="*/ 7907151 w 9586368"/>
              <a:gd name="connsiteY3716" fmla="*/ 3846956 h 6479439"/>
              <a:gd name="connsiteX3717" fmla="*/ 7897241 w 9586368"/>
              <a:gd name="connsiteY3717" fmla="*/ 3846956 h 6479439"/>
              <a:gd name="connsiteX3718" fmla="*/ 7893222 w 9586368"/>
              <a:gd name="connsiteY3718" fmla="*/ 3842917 h 6479439"/>
              <a:gd name="connsiteX3719" fmla="*/ 7893222 w 9586368"/>
              <a:gd name="connsiteY3719" fmla="*/ 3833046 h 6479439"/>
              <a:gd name="connsiteX3720" fmla="*/ 7657926 w 9586368"/>
              <a:gd name="connsiteY3720" fmla="*/ 3829008 h 6479439"/>
              <a:gd name="connsiteX3721" fmla="*/ 7667836 w 9586368"/>
              <a:gd name="connsiteY3721" fmla="*/ 3829008 h 6479439"/>
              <a:gd name="connsiteX3722" fmla="*/ 7671855 w 9586368"/>
              <a:gd name="connsiteY3722" fmla="*/ 3833046 h 6479439"/>
              <a:gd name="connsiteX3723" fmla="*/ 7671855 w 9586368"/>
              <a:gd name="connsiteY3723" fmla="*/ 3842917 h 6479439"/>
              <a:gd name="connsiteX3724" fmla="*/ 7667836 w 9586368"/>
              <a:gd name="connsiteY3724" fmla="*/ 3846956 h 6479439"/>
              <a:gd name="connsiteX3725" fmla="*/ 7657926 w 9586368"/>
              <a:gd name="connsiteY3725" fmla="*/ 3846956 h 6479439"/>
              <a:gd name="connsiteX3726" fmla="*/ 7653906 w 9586368"/>
              <a:gd name="connsiteY3726" fmla="*/ 3842917 h 6479439"/>
              <a:gd name="connsiteX3727" fmla="*/ 7653906 w 9586368"/>
              <a:gd name="connsiteY3727" fmla="*/ 3833046 h 6479439"/>
              <a:gd name="connsiteX3728" fmla="*/ 7418611 w 9586368"/>
              <a:gd name="connsiteY3728" fmla="*/ 3829008 h 6479439"/>
              <a:gd name="connsiteX3729" fmla="*/ 7428521 w 9586368"/>
              <a:gd name="connsiteY3729" fmla="*/ 3829008 h 6479439"/>
              <a:gd name="connsiteX3730" fmla="*/ 7432540 w 9586368"/>
              <a:gd name="connsiteY3730" fmla="*/ 3833046 h 6479439"/>
              <a:gd name="connsiteX3731" fmla="*/ 7432540 w 9586368"/>
              <a:gd name="connsiteY3731" fmla="*/ 3842917 h 6479439"/>
              <a:gd name="connsiteX3732" fmla="*/ 7428521 w 9586368"/>
              <a:gd name="connsiteY3732" fmla="*/ 3846956 h 6479439"/>
              <a:gd name="connsiteX3733" fmla="*/ 7418611 w 9586368"/>
              <a:gd name="connsiteY3733" fmla="*/ 3846956 h 6479439"/>
              <a:gd name="connsiteX3734" fmla="*/ 7414592 w 9586368"/>
              <a:gd name="connsiteY3734" fmla="*/ 3842917 h 6479439"/>
              <a:gd name="connsiteX3735" fmla="*/ 7414592 w 9586368"/>
              <a:gd name="connsiteY3735" fmla="*/ 3833046 h 6479439"/>
              <a:gd name="connsiteX3736" fmla="*/ 7179298 w 9586368"/>
              <a:gd name="connsiteY3736" fmla="*/ 3829008 h 6479439"/>
              <a:gd name="connsiteX3737" fmla="*/ 7189209 w 9586368"/>
              <a:gd name="connsiteY3737" fmla="*/ 3829008 h 6479439"/>
              <a:gd name="connsiteX3738" fmla="*/ 7193228 w 9586368"/>
              <a:gd name="connsiteY3738" fmla="*/ 3833046 h 6479439"/>
              <a:gd name="connsiteX3739" fmla="*/ 7193228 w 9586368"/>
              <a:gd name="connsiteY3739" fmla="*/ 3842917 h 6479439"/>
              <a:gd name="connsiteX3740" fmla="*/ 7189209 w 9586368"/>
              <a:gd name="connsiteY3740" fmla="*/ 3846956 h 6479439"/>
              <a:gd name="connsiteX3741" fmla="*/ 7179298 w 9586368"/>
              <a:gd name="connsiteY3741" fmla="*/ 3846956 h 6479439"/>
              <a:gd name="connsiteX3742" fmla="*/ 7175279 w 9586368"/>
              <a:gd name="connsiteY3742" fmla="*/ 3842917 h 6479439"/>
              <a:gd name="connsiteX3743" fmla="*/ 7175279 w 9586368"/>
              <a:gd name="connsiteY3743" fmla="*/ 3833046 h 6479439"/>
              <a:gd name="connsiteX3744" fmla="*/ 6939983 w 9586368"/>
              <a:gd name="connsiteY3744" fmla="*/ 3829008 h 6479439"/>
              <a:gd name="connsiteX3745" fmla="*/ 6949894 w 9586368"/>
              <a:gd name="connsiteY3745" fmla="*/ 3829008 h 6479439"/>
              <a:gd name="connsiteX3746" fmla="*/ 6953913 w 9586368"/>
              <a:gd name="connsiteY3746" fmla="*/ 3833046 h 6479439"/>
              <a:gd name="connsiteX3747" fmla="*/ 6953913 w 9586368"/>
              <a:gd name="connsiteY3747" fmla="*/ 3842917 h 6479439"/>
              <a:gd name="connsiteX3748" fmla="*/ 6949894 w 9586368"/>
              <a:gd name="connsiteY3748" fmla="*/ 3846956 h 6479439"/>
              <a:gd name="connsiteX3749" fmla="*/ 6939983 w 9586368"/>
              <a:gd name="connsiteY3749" fmla="*/ 3846956 h 6479439"/>
              <a:gd name="connsiteX3750" fmla="*/ 6935964 w 9586368"/>
              <a:gd name="connsiteY3750" fmla="*/ 3842917 h 6479439"/>
              <a:gd name="connsiteX3751" fmla="*/ 6935964 w 9586368"/>
              <a:gd name="connsiteY3751" fmla="*/ 3833046 h 6479439"/>
              <a:gd name="connsiteX3752" fmla="*/ 6700670 w 9586368"/>
              <a:gd name="connsiteY3752" fmla="*/ 3829008 h 6479439"/>
              <a:gd name="connsiteX3753" fmla="*/ 6710581 w 9586368"/>
              <a:gd name="connsiteY3753" fmla="*/ 3829008 h 6479439"/>
              <a:gd name="connsiteX3754" fmla="*/ 6714600 w 9586368"/>
              <a:gd name="connsiteY3754" fmla="*/ 3833046 h 6479439"/>
              <a:gd name="connsiteX3755" fmla="*/ 6714600 w 9586368"/>
              <a:gd name="connsiteY3755" fmla="*/ 3842917 h 6479439"/>
              <a:gd name="connsiteX3756" fmla="*/ 6710581 w 9586368"/>
              <a:gd name="connsiteY3756" fmla="*/ 3846956 h 6479439"/>
              <a:gd name="connsiteX3757" fmla="*/ 6700670 w 9586368"/>
              <a:gd name="connsiteY3757" fmla="*/ 3846956 h 6479439"/>
              <a:gd name="connsiteX3758" fmla="*/ 6696651 w 9586368"/>
              <a:gd name="connsiteY3758" fmla="*/ 3842917 h 6479439"/>
              <a:gd name="connsiteX3759" fmla="*/ 6696651 w 9586368"/>
              <a:gd name="connsiteY3759" fmla="*/ 3833046 h 6479439"/>
              <a:gd name="connsiteX3760" fmla="*/ 6461356 w 9586368"/>
              <a:gd name="connsiteY3760" fmla="*/ 3829008 h 6479439"/>
              <a:gd name="connsiteX3761" fmla="*/ 6471266 w 9586368"/>
              <a:gd name="connsiteY3761" fmla="*/ 3829008 h 6479439"/>
              <a:gd name="connsiteX3762" fmla="*/ 6475285 w 9586368"/>
              <a:gd name="connsiteY3762" fmla="*/ 3833046 h 6479439"/>
              <a:gd name="connsiteX3763" fmla="*/ 6475285 w 9586368"/>
              <a:gd name="connsiteY3763" fmla="*/ 3842917 h 6479439"/>
              <a:gd name="connsiteX3764" fmla="*/ 6471266 w 9586368"/>
              <a:gd name="connsiteY3764" fmla="*/ 3846956 h 6479439"/>
              <a:gd name="connsiteX3765" fmla="*/ 6461356 w 9586368"/>
              <a:gd name="connsiteY3765" fmla="*/ 3846956 h 6479439"/>
              <a:gd name="connsiteX3766" fmla="*/ 6457337 w 9586368"/>
              <a:gd name="connsiteY3766" fmla="*/ 3842917 h 6479439"/>
              <a:gd name="connsiteX3767" fmla="*/ 6457337 w 9586368"/>
              <a:gd name="connsiteY3767" fmla="*/ 3833046 h 6479439"/>
              <a:gd name="connsiteX3768" fmla="*/ 6222042 w 9586368"/>
              <a:gd name="connsiteY3768" fmla="*/ 3829008 h 6479439"/>
              <a:gd name="connsiteX3769" fmla="*/ 6231952 w 9586368"/>
              <a:gd name="connsiteY3769" fmla="*/ 3829008 h 6479439"/>
              <a:gd name="connsiteX3770" fmla="*/ 6235971 w 9586368"/>
              <a:gd name="connsiteY3770" fmla="*/ 3833046 h 6479439"/>
              <a:gd name="connsiteX3771" fmla="*/ 6235971 w 9586368"/>
              <a:gd name="connsiteY3771" fmla="*/ 3842917 h 6479439"/>
              <a:gd name="connsiteX3772" fmla="*/ 6231952 w 9586368"/>
              <a:gd name="connsiteY3772" fmla="*/ 3846956 h 6479439"/>
              <a:gd name="connsiteX3773" fmla="*/ 6222042 w 9586368"/>
              <a:gd name="connsiteY3773" fmla="*/ 3846956 h 6479439"/>
              <a:gd name="connsiteX3774" fmla="*/ 6218023 w 9586368"/>
              <a:gd name="connsiteY3774" fmla="*/ 3842917 h 6479439"/>
              <a:gd name="connsiteX3775" fmla="*/ 6218023 w 9586368"/>
              <a:gd name="connsiteY3775" fmla="*/ 3833046 h 6479439"/>
              <a:gd name="connsiteX3776" fmla="*/ 5982729 w 9586368"/>
              <a:gd name="connsiteY3776" fmla="*/ 3829008 h 6479439"/>
              <a:gd name="connsiteX3777" fmla="*/ 5992639 w 9586368"/>
              <a:gd name="connsiteY3777" fmla="*/ 3829008 h 6479439"/>
              <a:gd name="connsiteX3778" fmla="*/ 5996658 w 9586368"/>
              <a:gd name="connsiteY3778" fmla="*/ 3833046 h 6479439"/>
              <a:gd name="connsiteX3779" fmla="*/ 5996658 w 9586368"/>
              <a:gd name="connsiteY3779" fmla="*/ 3842917 h 6479439"/>
              <a:gd name="connsiteX3780" fmla="*/ 5992639 w 9586368"/>
              <a:gd name="connsiteY3780" fmla="*/ 3846956 h 6479439"/>
              <a:gd name="connsiteX3781" fmla="*/ 5982729 w 9586368"/>
              <a:gd name="connsiteY3781" fmla="*/ 3846956 h 6479439"/>
              <a:gd name="connsiteX3782" fmla="*/ 5978710 w 9586368"/>
              <a:gd name="connsiteY3782" fmla="*/ 3842917 h 6479439"/>
              <a:gd name="connsiteX3783" fmla="*/ 5978710 w 9586368"/>
              <a:gd name="connsiteY3783" fmla="*/ 3833046 h 6479439"/>
              <a:gd name="connsiteX3784" fmla="*/ 5743412 w 9586368"/>
              <a:gd name="connsiteY3784" fmla="*/ 3829008 h 6479439"/>
              <a:gd name="connsiteX3785" fmla="*/ 5753323 w 9586368"/>
              <a:gd name="connsiteY3785" fmla="*/ 3829008 h 6479439"/>
              <a:gd name="connsiteX3786" fmla="*/ 5757342 w 9586368"/>
              <a:gd name="connsiteY3786" fmla="*/ 3833046 h 6479439"/>
              <a:gd name="connsiteX3787" fmla="*/ 5757342 w 9586368"/>
              <a:gd name="connsiteY3787" fmla="*/ 3842917 h 6479439"/>
              <a:gd name="connsiteX3788" fmla="*/ 5753323 w 9586368"/>
              <a:gd name="connsiteY3788" fmla="*/ 3846956 h 6479439"/>
              <a:gd name="connsiteX3789" fmla="*/ 5743412 w 9586368"/>
              <a:gd name="connsiteY3789" fmla="*/ 3846956 h 6479439"/>
              <a:gd name="connsiteX3790" fmla="*/ 5739393 w 9586368"/>
              <a:gd name="connsiteY3790" fmla="*/ 3842917 h 6479439"/>
              <a:gd name="connsiteX3791" fmla="*/ 5739393 w 9586368"/>
              <a:gd name="connsiteY3791" fmla="*/ 3833046 h 6479439"/>
              <a:gd name="connsiteX3792" fmla="*/ 5504099 w 9586368"/>
              <a:gd name="connsiteY3792" fmla="*/ 3829008 h 6479439"/>
              <a:gd name="connsiteX3793" fmla="*/ 5514010 w 9586368"/>
              <a:gd name="connsiteY3793" fmla="*/ 3829008 h 6479439"/>
              <a:gd name="connsiteX3794" fmla="*/ 5518029 w 9586368"/>
              <a:gd name="connsiteY3794" fmla="*/ 3833046 h 6479439"/>
              <a:gd name="connsiteX3795" fmla="*/ 5518029 w 9586368"/>
              <a:gd name="connsiteY3795" fmla="*/ 3842917 h 6479439"/>
              <a:gd name="connsiteX3796" fmla="*/ 5514010 w 9586368"/>
              <a:gd name="connsiteY3796" fmla="*/ 3846956 h 6479439"/>
              <a:gd name="connsiteX3797" fmla="*/ 5504099 w 9586368"/>
              <a:gd name="connsiteY3797" fmla="*/ 3846956 h 6479439"/>
              <a:gd name="connsiteX3798" fmla="*/ 5500080 w 9586368"/>
              <a:gd name="connsiteY3798" fmla="*/ 3842917 h 6479439"/>
              <a:gd name="connsiteX3799" fmla="*/ 5500080 w 9586368"/>
              <a:gd name="connsiteY3799" fmla="*/ 3833046 h 6479439"/>
              <a:gd name="connsiteX3800" fmla="*/ 5264784 w 9586368"/>
              <a:gd name="connsiteY3800" fmla="*/ 3829008 h 6479439"/>
              <a:gd name="connsiteX3801" fmla="*/ 5274694 w 9586368"/>
              <a:gd name="connsiteY3801" fmla="*/ 3829008 h 6479439"/>
              <a:gd name="connsiteX3802" fmla="*/ 5278713 w 9586368"/>
              <a:gd name="connsiteY3802" fmla="*/ 3833046 h 6479439"/>
              <a:gd name="connsiteX3803" fmla="*/ 5278713 w 9586368"/>
              <a:gd name="connsiteY3803" fmla="*/ 3842917 h 6479439"/>
              <a:gd name="connsiteX3804" fmla="*/ 5274694 w 9586368"/>
              <a:gd name="connsiteY3804" fmla="*/ 3846956 h 6479439"/>
              <a:gd name="connsiteX3805" fmla="*/ 5264784 w 9586368"/>
              <a:gd name="connsiteY3805" fmla="*/ 3846956 h 6479439"/>
              <a:gd name="connsiteX3806" fmla="*/ 5260765 w 9586368"/>
              <a:gd name="connsiteY3806" fmla="*/ 3842917 h 6479439"/>
              <a:gd name="connsiteX3807" fmla="*/ 5260765 w 9586368"/>
              <a:gd name="connsiteY3807" fmla="*/ 3833046 h 6479439"/>
              <a:gd name="connsiteX3808" fmla="*/ 5025470 w 9586368"/>
              <a:gd name="connsiteY3808" fmla="*/ 3829008 h 6479439"/>
              <a:gd name="connsiteX3809" fmla="*/ 5035381 w 9586368"/>
              <a:gd name="connsiteY3809" fmla="*/ 3829008 h 6479439"/>
              <a:gd name="connsiteX3810" fmla="*/ 5039400 w 9586368"/>
              <a:gd name="connsiteY3810" fmla="*/ 3833046 h 6479439"/>
              <a:gd name="connsiteX3811" fmla="*/ 5039400 w 9586368"/>
              <a:gd name="connsiteY3811" fmla="*/ 3842917 h 6479439"/>
              <a:gd name="connsiteX3812" fmla="*/ 5035381 w 9586368"/>
              <a:gd name="connsiteY3812" fmla="*/ 3846956 h 6479439"/>
              <a:gd name="connsiteX3813" fmla="*/ 5025470 w 9586368"/>
              <a:gd name="connsiteY3813" fmla="*/ 3846956 h 6479439"/>
              <a:gd name="connsiteX3814" fmla="*/ 5021451 w 9586368"/>
              <a:gd name="connsiteY3814" fmla="*/ 3842917 h 6479439"/>
              <a:gd name="connsiteX3815" fmla="*/ 5021451 w 9586368"/>
              <a:gd name="connsiteY3815" fmla="*/ 3833046 h 6479439"/>
              <a:gd name="connsiteX3816" fmla="*/ 4786241 w 9586368"/>
              <a:gd name="connsiteY3816" fmla="*/ 3829008 h 6479439"/>
              <a:gd name="connsiteX3817" fmla="*/ 4796152 w 9586368"/>
              <a:gd name="connsiteY3817" fmla="*/ 3829008 h 6479439"/>
              <a:gd name="connsiteX3818" fmla="*/ 4800171 w 9586368"/>
              <a:gd name="connsiteY3818" fmla="*/ 3833046 h 6479439"/>
              <a:gd name="connsiteX3819" fmla="*/ 4800171 w 9586368"/>
              <a:gd name="connsiteY3819" fmla="*/ 3842917 h 6479439"/>
              <a:gd name="connsiteX3820" fmla="*/ 4796152 w 9586368"/>
              <a:gd name="connsiteY3820" fmla="*/ 3846956 h 6479439"/>
              <a:gd name="connsiteX3821" fmla="*/ 4786241 w 9586368"/>
              <a:gd name="connsiteY3821" fmla="*/ 3846956 h 6479439"/>
              <a:gd name="connsiteX3822" fmla="*/ 4782224 w 9586368"/>
              <a:gd name="connsiteY3822" fmla="*/ 3842917 h 6479439"/>
              <a:gd name="connsiteX3823" fmla="*/ 4782224 w 9586368"/>
              <a:gd name="connsiteY3823" fmla="*/ 3833046 h 6479439"/>
              <a:gd name="connsiteX3824" fmla="*/ 4546929 w 9586368"/>
              <a:gd name="connsiteY3824" fmla="*/ 3829008 h 6479439"/>
              <a:gd name="connsiteX3825" fmla="*/ 4556840 w 9586368"/>
              <a:gd name="connsiteY3825" fmla="*/ 3829008 h 6479439"/>
              <a:gd name="connsiteX3826" fmla="*/ 4560859 w 9586368"/>
              <a:gd name="connsiteY3826" fmla="*/ 3833046 h 6479439"/>
              <a:gd name="connsiteX3827" fmla="*/ 4560859 w 9586368"/>
              <a:gd name="connsiteY3827" fmla="*/ 3842917 h 6479439"/>
              <a:gd name="connsiteX3828" fmla="*/ 4556840 w 9586368"/>
              <a:gd name="connsiteY3828" fmla="*/ 3846956 h 6479439"/>
              <a:gd name="connsiteX3829" fmla="*/ 4546929 w 9586368"/>
              <a:gd name="connsiteY3829" fmla="*/ 3846956 h 6479439"/>
              <a:gd name="connsiteX3830" fmla="*/ 4542910 w 9586368"/>
              <a:gd name="connsiteY3830" fmla="*/ 3842917 h 6479439"/>
              <a:gd name="connsiteX3831" fmla="*/ 4542910 w 9586368"/>
              <a:gd name="connsiteY3831" fmla="*/ 3833046 h 6479439"/>
              <a:gd name="connsiteX3832" fmla="*/ 4307612 w 9586368"/>
              <a:gd name="connsiteY3832" fmla="*/ 3829008 h 6479439"/>
              <a:gd name="connsiteX3833" fmla="*/ 4317523 w 9586368"/>
              <a:gd name="connsiteY3833" fmla="*/ 3829008 h 6479439"/>
              <a:gd name="connsiteX3834" fmla="*/ 4321543 w 9586368"/>
              <a:gd name="connsiteY3834" fmla="*/ 3833046 h 6479439"/>
              <a:gd name="connsiteX3835" fmla="*/ 4321543 w 9586368"/>
              <a:gd name="connsiteY3835" fmla="*/ 3842917 h 6479439"/>
              <a:gd name="connsiteX3836" fmla="*/ 4317523 w 9586368"/>
              <a:gd name="connsiteY3836" fmla="*/ 3846956 h 6479439"/>
              <a:gd name="connsiteX3837" fmla="*/ 4307612 w 9586368"/>
              <a:gd name="connsiteY3837" fmla="*/ 3846956 h 6479439"/>
              <a:gd name="connsiteX3838" fmla="*/ 4303595 w 9586368"/>
              <a:gd name="connsiteY3838" fmla="*/ 3842917 h 6479439"/>
              <a:gd name="connsiteX3839" fmla="*/ 4303595 w 9586368"/>
              <a:gd name="connsiteY3839" fmla="*/ 3833046 h 6479439"/>
              <a:gd name="connsiteX3840" fmla="*/ 4068297 w 9586368"/>
              <a:gd name="connsiteY3840" fmla="*/ 3829008 h 6479439"/>
              <a:gd name="connsiteX3841" fmla="*/ 4078210 w 9586368"/>
              <a:gd name="connsiteY3841" fmla="*/ 3829008 h 6479439"/>
              <a:gd name="connsiteX3842" fmla="*/ 4082229 w 9586368"/>
              <a:gd name="connsiteY3842" fmla="*/ 3833046 h 6479439"/>
              <a:gd name="connsiteX3843" fmla="*/ 4082229 w 9586368"/>
              <a:gd name="connsiteY3843" fmla="*/ 3842917 h 6479439"/>
              <a:gd name="connsiteX3844" fmla="*/ 4078210 w 9586368"/>
              <a:gd name="connsiteY3844" fmla="*/ 3846956 h 6479439"/>
              <a:gd name="connsiteX3845" fmla="*/ 4068297 w 9586368"/>
              <a:gd name="connsiteY3845" fmla="*/ 3846956 h 6479439"/>
              <a:gd name="connsiteX3846" fmla="*/ 4064278 w 9586368"/>
              <a:gd name="connsiteY3846" fmla="*/ 3842917 h 6479439"/>
              <a:gd name="connsiteX3847" fmla="*/ 4064278 w 9586368"/>
              <a:gd name="connsiteY3847" fmla="*/ 3833046 h 6479439"/>
              <a:gd name="connsiteX3848" fmla="*/ 3828990 w 9586368"/>
              <a:gd name="connsiteY3848" fmla="*/ 3829008 h 6479439"/>
              <a:gd name="connsiteX3849" fmla="*/ 3838899 w 9586368"/>
              <a:gd name="connsiteY3849" fmla="*/ 3829008 h 6479439"/>
              <a:gd name="connsiteX3850" fmla="*/ 3842917 w 9586368"/>
              <a:gd name="connsiteY3850" fmla="*/ 3833046 h 6479439"/>
              <a:gd name="connsiteX3851" fmla="*/ 3842917 w 9586368"/>
              <a:gd name="connsiteY3851" fmla="*/ 3842917 h 6479439"/>
              <a:gd name="connsiteX3852" fmla="*/ 3838899 w 9586368"/>
              <a:gd name="connsiteY3852" fmla="*/ 3846956 h 6479439"/>
              <a:gd name="connsiteX3853" fmla="*/ 3828990 w 9586368"/>
              <a:gd name="connsiteY3853" fmla="*/ 3846956 h 6479439"/>
              <a:gd name="connsiteX3854" fmla="*/ 3824971 w 9586368"/>
              <a:gd name="connsiteY3854" fmla="*/ 3842917 h 6479439"/>
              <a:gd name="connsiteX3855" fmla="*/ 3824971 w 9586368"/>
              <a:gd name="connsiteY3855" fmla="*/ 3833046 h 6479439"/>
              <a:gd name="connsiteX3856" fmla="*/ 3589676 w 9586368"/>
              <a:gd name="connsiteY3856" fmla="*/ 3829008 h 6479439"/>
              <a:gd name="connsiteX3857" fmla="*/ 3599585 w 9586368"/>
              <a:gd name="connsiteY3857" fmla="*/ 3829008 h 6479439"/>
              <a:gd name="connsiteX3858" fmla="*/ 3603604 w 9586368"/>
              <a:gd name="connsiteY3858" fmla="*/ 3833046 h 6479439"/>
              <a:gd name="connsiteX3859" fmla="*/ 3603604 w 9586368"/>
              <a:gd name="connsiteY3859" fmla="*/ 3842917 h 6479439"/>
              <a:gd name="connsiteX3860" fmla="*/ 3599585 w 9586368"/>
              <a:gd name="connsiteY3860" fmla="*/ 3846956 h 6479439"/>
              <a:gd name="connsiteX3861" fmla="*/ 3589676 w 9586368"/>
              <a:gd name="connsiteY3861" fmla="*/ 3846956 h 6479439"/>
              <a:gd name="connsiteX3862" fmla="*/ 3585657 w 9586368"/>
              <a:gd name="connsiteY3862" fmla="*/ 3842917 h 6479439"/>
              <a:gd name="connsiteX3863" fmla="*/ 3585657 w 9586368"/>
              <a:gd name="connsiteY3863" fmla="*/ 3833046 h 6479439"/>
              <a:gd name="connsiteX3864" fmla="*/ 3350359 w 9586368"/>
              <a:gd name="connsiteY3864" fmla="*/ 3829008 h 6479439"/>
              <a:gd name="connsiteX3865" fmla="*/ 3360268 w 9586368"/>
              <a:gd name="connsiteY3865" fmla="*/ 3829008 h 6479439"/>
              <a:gd name="connsiteX3866" fmla="*/ 3364287 w 9586368"/>
              <a:gd name="connsiteY3866" fmla="*/ 3833046 h 6479439"/>
              <a:gd name="connsiteX3867" fmla="*/ 3364287 w 9586368"/>
              <a:gd name="connsiteY3867" fmla="*/ 3842917 h 6479439"/>
              <a:gd name="connsiteX3868" fmla="*/ 3360268 w 9586368"/>
              <a:gd name="connsiteY3868" fmla="*/ 3846956 h 6479439"/>
              <a:gd name="connsiteX3869" fmla="*/ 3350359 w 9586368"/>
              <a:gd name="connsiteY3869" fmla="*/ 3846956 h 6479439"/>
              <a:gd name="connsiteX3870" fmla="*/ 3346340 w 9586368"/>
              <a:gd name="connsiteY3870" fmla="*/ 3842917 h 6479439"/>
              <a:gd name="connsiteX3871" fmla="*/ 3346340 w 9586368"/>
              <a:gd name="connsiteY3871" fmla="*/ 3833046 h 6479439"/>
              <a:gd name="connsiteX3872" fmla="*/ 3111048 w 9586368"/>
              <a:gd name="connsiteY3872" fmla="*/ 3829008 h 6479439"/>
              <a:gd name="connsiteX3873" fmla="*/ 3120959 w 9586368"/>
              <a:gd name="connsiteY3873" fmla="*/ 3829008 h 6479439"/>
              <a:gd name="connsiteX3874" fmla="*/ 3124977 w 9586368"/>
              <a:gd name="connsiteY3874" fmla="*/ 3833046 h 6479439"/>
              <a:gd name="connsiteX3875" fmla="*/ 3124977 w 9586368"/>
              <a:gd name="connsiteY3875" fmla="*/ 3842917 h 6479439"/>
              <a:gd name="connsiteX3876" fmla="*/ 3120959 w 9586368"/>
              <a:gd name="connsiteY3876" fmla="*/ 3846956 h 6479439"/>
              <a:gd name="connsiteX3877" fmla="*/ 3111048 w 9586368"/>
              <a:gd name="connsiteY3877" fmla="*/ 3846956 h 6479439"/>
              <a:gd name="connsiteX3878" fmla="*/ 3107029 w 9586368"/>
              <a:gd name="connsiteY3878" fmla="*/ 3842917 h 6479439"/>
              <a:gd name="connsiteX3879" fmla="*/ 3107029 w 9586368"/>
              <a:gd name="connsiteY3879" fmla="*/ 3833046 h 6479439"/>
              <a:gd name="connsiteX3880" fmla="*/ 2871737 w 9586368"/>
              <a:gd name="connsiteY3880" fmla="*/ 3829008 h 6479439"/>
              <a:gd name="connsiteX3881" fmla="*/ 2881646 w 9586368"/>
              <a:gd name="connsiteY3881" fmla="*/ 3829008 h 6479439"/>
              <a:gd name="connsiteX3882" fmla="*/ 2885666 w 9586368"/>
              <a:gd name="connsiteY3882" fmla="*/ 3833046 h 6479439"/>
              <a:gd name="connsiteX3883" fmla="*/ 2885666 w 9586368"/>
              <a:gd name="connsiteY3883" fmla="*/ 3842917 h 6479439"/>
              <a:gd name="connsiteX3884" fmla="*/ 2881646 w 9586368"/>
              <a:gd name="connsiteY3884" fmla="*/ 3846956 h 6479439"/>
              <a:gd name="connsiteX3885" fmla="*/ 2871737 w 9586368"/>
              <a:gd name="connsiteY3885" fmla="*/ 3846956 h 6479439"/>
              <a:gd name="connsiteX3886" fmla="*/ 2867717 w 9586368"/>
              <a:gd name="connsiteY3886" fmla="*/ 3842917 h 6479439"/>
              <a:gd name="connsiteX3887" fmla="*/ 2867717 w 9586368"/>
              <a:gd name="connsiteY3887" fmla="*/ 3833046 h 6479439"/>
              <a:gd name="connsiteX3888" fmla="*/ 2632423 w 9586368"/>
              <a:gd name="connsiteY3888" fmla="*/ 3829008 h 6479439"/>
              <a:gd name="connsiteX3889" fmla="*/ 2642334 w 9586368"/>
              <a:gd name="connsiteY3889" fmla="*/ 3829008 h 6479439"/>
              <a:gd name="connsiteX3890" fmla="*/ 2646352 w 9586368"/>
              <a:gd name="connsiteY3890" fmla="*/ 3833046 h 6479439"/>
              <a:gd name="connsiteX3891" fmla="*/ 2646352 w 9586368"/>
              <a:gd name="connsiteY3891" fmla="*/ 3842917 h 6479439"/>
              <a:gd name="connsiteX3892" fmla="*/ 2642334 w 9586368"/>
              <a:gd name="connsiteY3892" fmla="*/ 3846956 h 6479439"/>
              <a:gd name="connsiteX3893" fmla="*/ 2632423 w 9586368"/>
              <a:gd name="connsiteY3893" fmla="*/ 3846956 h 6479439"/>
              <a:gd name="connsiteX3894" fmla="*/ 2628404 w 9586368"/>
              <a:gd name="connsiteY3894" fmla="*/ 3842917 h 6479439"/>
              <a:gd name="connsiteX3895" fmla="*/ 2628404 w 9586368"/>
              <a:gd name="connsiteY3895" fmla="*/ 3833046 h 6479439"/>
              <a:gd name="connsiteX3896" fmla="*/ 2393104 w 9586368"/>
              <a:gd name="connsiteY3896" fmla="*/ 3829008 h 6479439"/>
              <a:gd name="connsiteX3897" fmla="*/ 2403015 w 9586368"/>
              <a:gd name="connsiteY3897" fmla="*/ 3829008 h 6479439"/>
              <a:gd name="connsiteX3898" fmla="*/ 2407034 w 9586368"/>
              <a:gd name="connsiteY3898" fmla="*/ 3833046 h 6479439"/>
              <a:gd name="connsiteX3899" fmla="*/ 2407034 w 9586368"/>
              <a:gd name="connsiteY3899" fmla="*/ 3842917 h 6479439"/>
              <a:gd name="connsiteX3900" fmla="*/ 2403015 w 9586368"/>
              <a:gd name="connsiteY3900" fmla="*/ 3846956 h 6479439"/>
              <a:gd name="connsiteX3901" fmla="*/ 2393104 w 9586368"/>
              <a:gd name="connsiteY3901" fmla="*/ 3846956 h 6479439"/>
              <a:gd name="connsiteX3902" fmla="*/ 2389087 w 9586368"/>
              <a:gd name="connsiteY3902" fmla="*/ 3842917 h 6479439"/>
              <a:gd name="connsiteX3903" fmla="*/ 2389087 w 9586368"/>
              <a:gd name="connsiteY3903" fmla="*/ 3833046 h 6479439"/>
              <a:gd name="connsiteX3904" fmla="*/ 721966 w 9586368"/>
              <a:gd name="connsiteY3904" fmla="*/ 3829008 h 6479439"/>
              <a:gd name="connsiteX3905" fmla="*/ 731876 w 9586368"/>
              <a:gd name="connsiteY3905" fmla="*/ 3829008 h 6479439"/>
              <a:gd name="connsiteX3906" fmla="*/ 735895 w 9586368"/>
              <a:gd name="connsiteY3906" fmla="*/ 3833046 h 6479439"/>
              <a:gd name="connsiteX3907" fmla="*/ 735895 w 9586368"/>
              <a:gd name="connsiteY3907" fmla="*/ 3842917 h 6479439"/>
              <a:gd name="connsiteX3908" fmla="*/ 731876 w 9586368"/>
              <a:gd name="connsiteY3908" fmla="*/ 3846956 h 6479439"/>
              <a:gd name="connsiteX3909" fmla="*/ 721966 w 9586368"/>
              <a:gd name="connsiteY3909" fmla="*/ 3846956 h 6479439"/>
              <a:gd name="connsiteX3910" fmla="*/ 717947 w 9586368"/>
              <a:gd name="connsiteY3910" fmla="*/ 3842917 h 6479439"/>
              <a:gd name="connsiteX3911" fmla="*/ 717947 w 9586368"/>
              <a:gd name="connsiteY3911" fmla="*/ 3833046 h 6479439"/>
              <a:gd name="connsiteX3912" fmla="*/ 482654 w 9586368"/>
              <a:gd name="connsiteY3912" fmla="*/ 3829008 h 6479439"/>
              <a:gd name="connsiteX3913" fmla="*/ 492564 w 9586368"/>
              <a:gd name="connsiteY3913" fmla="*/ 3829008 h 6479439"/>
              <a:gd name="connsiteX3914" fmla="*/ 496583 w 9586368"/>
              <a:gd name="connsiteY3914" fmla="*/ 3833046 h 6479439"/>
              <a:gd name="connsiteX3915" fmla="*/ 496583 w 9586368"/>
              <a:gd name="connsiteY3915" fmla="*/ 3842917 h 6479439"/>
              <a:gd name="connsiteX3916" fmla="*/ 492564 w 9586368"/>
              <a:gd name="connsiteY3916" fmla="*/ 3846956 h 6479439"/>
              <a:gd name="connsiteX3917" fmla="*/ 482654 w 9586368"/>
              <a:gd name="connsiteY3917" fmla="*/ 3846956 h 6479439"/>
              <a:gd name="connsiteX3918" fmla="*/ 478635 w 9586368"/>
              <a:gd name="connsiteY3918" fmla="*/ 3842917 h 6479439"/>
              <a:gd name="connsiteX3919" fmla="*/ 478635 w 9586368"/>
              <a:gd name="connsiteY3919" fmla="*/ 3833046 h 6479439"/>
              <a:gd name="connsiteX3920" fmla="*/ 243340 w 9586368"/>
              <a:gd name="connsiteY3920" fmla="*/ 3829008 h 6479439"/>
              <a:gd name="connsiteX3921" fmla="*/ 253250 w 9586368"/>
              <a:gd name="connsiteY3921" fmla="*/ 3829008 h 6479439"/>
              <a:gd name="connsiteX3922" fmla="*/ 257269 w 9586368"/>
              <a:gd name="connsiteY3922" fmla="*/ 3833046 h 6479439"/>
              <a:gd name="connsiteX3923" fmla="*/ 257269 w 9586368"/>
              <a:gd name="connsiteY3923" fmla="*/ 3842917 h 6479439"/>
              <a:gd name="connsiteX3924" fmla="*/ 253250 w 9586368"/>
              <a:gd name="connsiteY3924" fmla="*/ 3846956 h 6479439"/>
              <a:gd name="connsiteX3925" fmla="*/ 243340 w 9586368"/>
              <a:gd name="connsiteY3925" fmla="*/ 3846956 h 6479439"/>
              <a:gd name="connsiteX3926" fmla="*/ 239321 w 9586368"/>
              <a:gd name="connsiteY3926" fmla="*/ 3842917 h 6479439"/>
              <a:gd name="connsiteX3927" fmla="*/ 239321 w 9586368"/>
              <a:gd name="connsiteY3927" fmla="*/ 3833046 h 6479439"/>
              <a:gd name="connsiteX3928" fmla="*/ 4027 w 9586368"/>
              <a:gd name="connsiteY3928" fmla="*/ 3829008 h 6479439"/>
              <a:gd name="connsiteX3929" fmla="*/ 13937 w 9586368"/>
              <a:gd name="connsiteY3929" fmla="*/ 3829008 h 6479439"/>
              <a:gd name="connsiteX3930" fmla="*/ 17956 w 9586368"/>
              <a:gd name="connsiteY3930" fmla="*/ 3833046 h 6479439"/>
              <a:gd name="connsiteX3931" fmla="*/ 17956 w 9586368"/>
              <a:gd name="connsiteY3931" fmla="*/ 3842917 h 6479439"/>
              <a:gd name="connsiteX3932" fmla="*/ 13937 w 9586368"/>
              <a:gd name="connsiteY3932" fmla="*/ 3846956 h 6479439"/>
              <a:gd name="connsiteX3933" fmla="*/ 4027 w 9586368"/>
              <a:gd name="connsiteY3933" fmla="*/ 3846956 h 6479439"/>
              <a:gd name="connsiteX3934" fmla="*/ 8 w 9586368"/>
              <a:gd name="connsiteY3934" fmla="*/ 3842917 h 6479439"/>
              <a:gd name="connsiteX3935" fmla="*/ 8 w 9586368"/>
              <a:gd name="connsiteY3935" fmla="*/ 3833046 h 6479439"/>
              <a:gd name="connsiteX3936" fmla="*/ 2157820 w 9586368"/>
              <a:gd name="connsiteY3936" fmla="*/ 3589728 h 6479439"/>
              <a:gd name="connsiteX3937" fmla="*/ 2167731 w 9586368"/>
              <a:gd name="connsiteY3937" fmla="*/ 3589728 h 6479439"/>
              <a:gd name="connsiteX3938" fmla="*/ 2171749 w 9586368"/>
              <a:gd name="connsiteY3938" fmla="*/ 3593767 h 6479439"/>
              <a:gd name="connsiteX3939" fmla="*/ 2171749 w 9586368"/>
              <a:gd name="connsiteY3939" fmla="*/ 3603637 h 6479439"/>
              <a:gd name="connsiteX3940" fmla="*/ 2167731 w 9586368"/>
              <a:gd name="connsiteY3940" fmla="*/ 3607676 h 6479439"/>
              <a:gd name="connsiteX3941" fmla="*/ 2157820 w 9586368"/>
              <a:gd name="connsiteY3941" fmla="*/ 3607676 h 6479439"/>
              <a:gd name="connsiteX3942" fmla="*/ 2153801 w 9586368"/>
              <a:gd name="connsiteY3942" fmla="*/ 3603637 h 6479439"/>
              <a:gd name="connsiteX3943" fmla="*/ 2153801 w 9586368"/>
              <a:gd name="connsiteY3943" fmla="*/ 3593767 h 6479439"/>
              <a:gd name="connsiteX3944" fmla="*/ 1918511 w 9586368"/>
              <a:gd name="connsiteY3944" fmla="*/ 3589728 h 6479439"/>
              <a:gd name="connsiteX3945" fmla="*/ 1928421 w 9586368"/>
              <a:gd name="connsiteY3945" fmla="*/ 3589728 h 6479439"/>
              <a:gd name="connsiteX3946" fmla="*/ 1932441 w 9586368"/>
              <a:gd name="connsiteY3946" fmla="*/ 3593767 h 6479439"/>
              <a:gd name="connsiteX3947" fmla="*/ 1932441 w 9586368"/>
              <a:gd name="connsiteY3947" fmla="*/ 3603637 h 6479439"/>
              <a:gd name="connsiteX3948" fmla="*/ 1928421 w 9586368"/>
              <a:gd name="connsiteY3948" fmla="*/ 3607676 h 6479439"/>
              <a:gd name="connsiteX3949" fmla="*/ 1918511 w 9586368"/>
              <a:gd name="connsiteY3949" fmla="*/ 3607676 h 6479439"/>
              <a:gd name="connsiteX3950" fmla="*/ 1914493 w 9586368"/>
              <a:gd name="connsiteY3950" fmla="*/ 3603637 h 6479439"/>
              <a:gd name="connsiteX3951" fmla="*/ 1914493 w 9586368"/>
              <a:gd name="connsiteY3951" fmla="*/ 3593767 h 6479439"/>
              <a:gd name="connsiteX3952" fmla="*/ 1679209 w 9586368"/>
              <a:gd name="connsiteY3952" fmla="*/ 3589728 h 6479439"/>
              <a:gd name="connsiteX3953" fmla="*/ 1689118 w 9586368"/>
              <a:gd name="connsiteY3953" fmla="*/ 3589728 h 6479439"/>
              <a:gd name="connsiteX3954" fmla="*/ 1693138 w 9586368"/>
              <a:gd name="connsiteY3954" fmla="*/ 3593767 h 6479439"/>
              <a:gd name="connsiteX3955" fmla="*/ 1693138 w 9586368"/>
              <a:gd name="connsiteY3955" fmla="*/ 3603637 h 6479439"/>
              <a:gd name="connsiteX3956" fmla="*/ 1689118 w 9586368"/>
              <a:gd name="connsiteY3956" fmla="*/ 3607676 h 6479439"/>
              <a:gd name="connsiteX3957" fmla="*/ 1679209 w 9586368"/>
              <a:gd name="connsiteY3957" fmla="*/ 3607676 h 6479439"/>
              <a:gd name="connsiteX3958" fmla="*/ 1675190 w 9586368"/>
              <a:gd name="connsiteY3958" fmla="*/ 3603637 h 6479439"/>
              <a:gd name="connsiteX3959" fmla="*/ 1675190 w 9586368"/>
              <a:gd name="connsiteY3959" fmla="*/ 3593767 h 6479439"/>
              <a:gd name="connsiteX3960" fmla="*/ 1439892 w 9586368"/>
              <a:gd name="connsiteY3960" fmla="*/ 3589728 h 6479439"/>
              <a:gd name="connsiteX3961" fmla="*/ 1449803 w 9586368"/>
              <a:gd name="connsiteY3961" fmla="*/ 3589728 h 6479439"/>
              <a:gd name="connsiteX3962" fmla="*/ 1453822 w 9586368"/>
              <a:gd name="connsiteY3962" fmla="*/ 3593767 h 6479439"/>
              <a:gd name="connsiteX3963" fmla="*/ 1453822 w 9586368"/>
              <a:gd name="connsiteY3963" fmla="*/ 3603637 h 6479439"/>
              <a:gd name="connsiteX3964" fmla="*/ 1449803 w 9586368"/>
              <a:gd name="connsiteY3964" fmla="*/ 3607676 h 6479439"/>
              <a:gd name="connsiteX3965" fmla="*/ 1439892 w 9586368"/>
              <a:gd name="connsiteY3965" fmla="*/ 3607676 h 6479439"/>
              <a:gd name="connsiteX3966" fmla="*/ 1435874 w 9586368"/>
              <a:gd name="connsiteY3966" fmla="*/ 3603637 h 6479439"/>
              <a:gd name="connsiteX3967" fmla="*/ 1435874 w 9586368"/>
              <a:gd name="connsiteY3967" fmla="*/ 3593767 h 6479439"/>
              <a:gd name="connsiteX3968" fmla="*/ 1200577 w 9586368"/>
              <a:gd name="connsiteY3968" fmla="*/ 3589728 h 6479439"/>
              <a:gd name="connsiteX3969" fmla="*/ 1210488 w 9586368"/>
              <a:gd name="connsiteY3969" fmla="*/ 3589728 h 6479439"/>
              <a:gd name="connsiteX3970" fmla="*/ 1214506 w 9586368"/>
              <a:gd name="connsiteY3970" fmla="*/ 3593767 h 6479439"/>
              <a:gd name="connsiteX3971" fmla="*/ 1214506 w 9586368"/>
              <a:gd name="connsiteY3971" fmla="*/ 3603637 h 6479439"/>
              <a:gd name="connsiteX3972" fmla="*/ 1210488 w 9586368"/>
              <a:gd name="connsiteY3972" fmla="*/ 3607676 h 6479439"/>
              <a:gd name="connsiteX3973" fmla="*/ 1200577 w 9586368"/>
              <a:gd name="connsiteY3973" fmla="*/ 3607676 h 6479439"/>
              <a:gd name="connsiteX3974" fmla="*/ 1196559 w 9586368"/>
              <a:gd name="connsiteY3974" fmla="*/ 3603637 h 6479439"/>
              <a:gd name="connsiteX3975" fmla="*/ 1196559 w 9586368"/>
              <a:gd name="connsiteY3975" fmla="*/ 3593767 h 6479439"/>
              <a:gd name="connsiteX3976" fmla="*/ 961265 w 9586368"/>
              <a:gd name="connsiteY3976" fmla="*/ 3589728 h 6479439"/>
              <a:gd name="connsiteX3977" fmla="*/ 971175 w 9586368"/>
              <a:gd name="connsiteY3977" fmla="*/ 3589728 h 6479439"/>
              <a:gd name="connsiteX3978" fmla="*/ 975193 w 9586368"/>
              <a:gd name="connsiteY3978" fmla="*/ 3593767 h 6479439"/>
              <a:gd name="connsiteX3979" fmla="*/ 975193 w 9586368"/>
              <a:gd name="connsiteY3979" fmla="*/ 3603637 h 6479439"/>
              <a:gd name="connsiteX3980" fmla="*/ 971175 w 9586368"/>
              <a:gd name="connsiteY3980" fmla="*/ 3607676 h 6479439"/>
              <a:gd name="connsiteX3981" fmla="*/ 961265 w 9586368"/>
              <a:gd name="connsiteY3981" fmla="*/ 3607676 h 6479439"/>
              <a:gd name="connsiteX3982" fmla="*/ 957246 w 9586368"/>
              <a:gd name="connsiteY3982" fmla="*/ 3603637 h 6479439"/>
              <a:gd name="connsiteX3983" fmla="*/ 957246 w 9586368"/>
              <a:gd name="connsiteY3983" fmla="*/ 3593767 h 6479439"/>
              <a:gd name="connsiteX3984" fmla="*/ 9572438 w 9586368"/>
              <a:gd name="connsiteY3984" fmla="*/ 3589677 h 6479439"/>
              <a:gd name="connsiteX3985" fmla="*/ 9582349 w 9586368"/>
              <a:gd name="connsiteY3985" fmla="*/ 3589677 h 6479439"/>
              <a:gd name="connsiteX3986" fmla="*/ 9586368 w 9586368"/>
              <a:gd name="connsiteY3986" fmla="*/ 3593716 h 6479439"/>
              <a:gd name="connsiteX3987" fmla="*/ 9586368 w 9586368"/>
              <a:gd name="connsiteY3987" fmla="*/ 3603586 h 6479439"/>
              <a:gd name="connsiteX3988" fmla="*/ 9582349 w 9586368"/>
              <a:gd name="connsiteY3988" fmla="*/ 3607625 h 6479439"/>
              <a:gd name="connsiteX3989" fmla="*/ 9572438 w 9586368"/>
              <a:gd name="connsiteY3989" fmla="*/ 3607625 h 6479439"/>
              <a:gd name="connsiteX3990" fmla="*/ 9568419 w 9586368"/>
              <a:gd name="connsiteY3990" fmla="*/ 3603586 h 6479439"/>
              <a:gd name="connsiteX3991" fmla="*/ 9568419 w 9586368"/>
              <a:gd name="connsiteY3991" fmla="*/ 3593716 h 6479439"/>
              <a:gd name="connsiteX3992" fmla="*/ 9333125 w 9586368"/>
              <a:gd name="connsiteY3992" fmla="*/ 3589677 h 6479439"/>
              <a:gd name="connsiteX3993" fmla="*/ 9343036 w 9586368"/>
              <a:gd name="connsiteY3993" fmla="*/ 3589677 h 6479439"/>
              <a:gd name="connsiteX3994" fmla="*/ 9347055 w 9586368"/>
              <a:gd name="connsiteY3994" fmla="*/ 3593716 h 6479439"/>
              <a:gd name="connsiteX3995" fmla="*/ 9347055 w 9586368"/>
              <a:gd name="connsiteY3995" fmla="*/ 3603586 h 6479439"/>
              <a:gd name="connsiteX3996" fmla="*/ 9343036 w 9586368"/>
              <a:gd name="connsiteY3996" fmla="*/ 3607625 h 6479439"/>
              <a:gd name="connsiteX3997" fmla="*/ 9333125 w 9586368"/>
              <a:gd name="connsiteY3997" fmla="*/ 3607625 h 6479439"/>
              <a:gd name="connsiteX3998" fmla="*/ 9329106 w 9586368"/>
              <a:gd name="connsiteY3998" fmla="*/ 3603586 h 6479439"/>
              <a:gd name="connsiteX3999" fmla="*/ 9329106 w 9586368"/>
              <a:gd name="connsiteY3999" fmla="*/ 3593716 h 6479439"/>
              <a:gd name="connsiteX4000" fmla="*/ 9093811 w 9586368"/>
              <a:gd name="connsiteY4000" fmla="*/ 3589677 h 6479439"/>
              <a:gd name="connsiteX4001" fmla="*/ 9103722 w 9586368"/>
              <a:gd name="connsiteY4001" fmla="*/ 3589677 h 6479439"/>
              <a:gd name="connsiteX4002" fmla="*/ 9107741 w 9586368"/>
              <a:gd name="connsiteY4002" fmla="*/ 3593716 h 6479439"/>
              <a:gd name="connsiteX4003" fmla="*/ 9107741 w 9586368"/>
              <a:gd name="connsiteY4003" fmla="*/ 3603586 h 6479439"/>
              <a:gd name="connsiteX4004" fmla="*/ 9103722 w 9586368"/>
              <a:gd name="connsiteY4004" fmla="*/ 3607625 h 6479439"/>
              <a:gd name="connsiteX4005" fmla="*/ 9093811 w 9586368"/>
              <a:gd name="connsiteY4005" fmla="*/ 3607625 h 6479439"/>
              <a:gd name="connsiteX4006" fmla="*/ 9089792 w 9586368"/>
              <a:gd name="connsiteY4006" fmla="*/ 3603586 h 6479439"/>
              <a:gd name="connsiteX4007" fmla="*/ 9089792 w 9586368"/>
              <a:gd name="connsiteY4007" fmla="*/ 3593716 h 6479439"/>
              <a:gd name="connsiteX4008" fmla="*/ 8854496 w 9586368"/>
              <a:gd name="connsiteY4008" fmla="*/ 3589677 h 6479439"/>
              <a:gd name="connsiteX4009" fmla="*/ 8864407 w 9586368"/>
              <a:gd name="connsiteY4009" fmla="*/ 3589677 h 6479439"/>
              <a:gd name="connsiteX4010" fmla="*/ 8868426 w 9586368"/>
              <a:gd name="connsiteY4010" fmla="*/ 3593716 h 6479439"/>
              <a:gd name="connsiteX4011" fmla="*/ 8868426 w 9586368"/>
              <a:gd name="connsiteY4011" fmla="*/ 3603586 h 6479439"/>
              <a:gd name="connsiteX4012" fmla="*/ 8864407 w 9586368"/>
              <a:gd name="connsiteY4012" fmla="*/ 3607625 h 6479439"/>
              <a:gd name="connsiteX4013" fmla="*/ 8854496 w 9586368"/>
              <a:gd name="connsiteY4013" fmla="*/ 3607625 h 6479439"/>
              <a:gd name="connsiteX4014" fmla="*/ 8850477 w 9586368"/>
              <a:gd name="connsiteY4014" fmla="*/ 3603586 h 6479439"/>
              <a:gd name="connsiteX4015" fmla="*/ 8850477 w 9586368"/>
              <a:gd name="connsiteY4015" fmla="*/ 3593716 h 6479439"/>
              <a:gd name="connsiteX4016" fmla="*/ 8615184 w 9586368"/>
              <a:gd name="connsiteY4016" fmla="*/ 3589677 h 6479439"/>
              <a:gd name="connsiteX4017" fmla="*/ 8625095 w 9586368"/>
              <a:gd name="connsiteY4017" fmla="*/ 3589677 h 6479439"/>
              <a:gd name="connsiteX4018" fmla="*/ 8629114 w 9586368"/>
              <a:gd name="connsiteY4018" fmla="*/ 3593716 h 6479439"/>
              <a:gd name="connsiteX4019" fmla="*/ 8629114 w 9586368"/>
              <a:gd name="connsiteY4019" fmla="*/ 3603586 h 6479439"/>
              <a:gd name="connsiteX4020" fmla="*/ 8625095 w 9586368"/>
              <a:gd name="connsiteY4020" fmla="*/ 3607625 h 6479439"/>
              <a:gd name="connsiteX4021" fmla="*/ 8615184 w 9586368"/>
              <a:gd name="connsiteY4021" fmla="*/ 3607625 h 6479439"/>
              <a:gd name="connsiteX4022" fmla="*/ 8611165 w 9586368"/>
              <a:gd name="connsiteY4022" fmla="*/ 3603586 h 6479439"/>
              <a:gd name="connsiteX4023" fmla="*/ 8611165 w 9586368"/>
              <a:gd name="connsiteY4023" fmla="*/ 3593716 h 6479439"/>
              <a:gd name="connsiteX4024" fmla="*/ 8375869 w 9586368"/>
              <a:gd name="connsiteY4024" fmla="*/ 3589677 h 6479439"/>
              <a:gd name="connsiteX4025" fmla="*/ 8385779 w 9586368"/>
              <a:gd name="connsiteY4025" fmla="*/ 3589677 h 6479439"/>
              <a:gd name="connsiteX4026" fmla="*/ 8389799 w 9586368"/>
              <a:gd name="connsiteY4026" fmla="*/ 3593716 h 6479439"/>
              <a:gd name="connsiteX4027" fmla="*/ 8389799 w 9586368"/>
              <a:gd name="connsiteY4027" fmla="*/ 3603586 h 6479439"/>
              <a:gd name="connsiteX4028" fmla="*/ 8385779 w 9586368"/>
              <a:gd name="connsiteY4028" fmla="*/ 3607625 h 6479439"/>
              <a:gd name="connsiteX4029" fmla="*/ 8375869 w 9586368"/>
              <a:gd name="connsiteY4029" fmla="*/ 3607625 h 6479439"/>
              <a:gd name="connsiteX4030" fmla="*/ 8371850 w 9586368"/>
              <a:gd name="connsiteY4030" fmla="*/ 3603586 h 6479439"/>
              <a:gd name="connsiteX4031" fmla="*/ 8371850 w 9586368"/>
              <a:gd name="connsiteY4031" fmla="*/ 3593716 h 6479439"/>
              <a:gd name="connsiteX4032" fmla="*/ 8136553 w 9586368"/>
              <a:gd name="connsiteY4032" fmla="*/ 3589677 h 6479439"/>
              <a:gd name="connsiteX4033" fmla="*/ 8146464 w 9586368"/>
              <a:gd name="connsiteY4033" fmla="*/ 3589677 h 6479439"/>
              <a:gd name="connsiteX4034" fmla="*/ 8150483 w 9586368"/>
              <a:gd name="connsiteY4034" fmla="*/ 3593716 h 6479439"/>
              <a:gd name="connsiteX4035" fmla="*/ 8150483 w 9586368"/>
              <a:gd name="connsiteY4035" fmla="*/ 3603586 h 6479439"/>
              <a:gd name="connsiteX4036" fmla="*/ 8146464 w 9586368"/>
              <a:gd name="connsiteY4036" fmla="*/ 3607625 h 6479439"/>
              <a:gd name="connsiteX4037" fmla="*/ 8136553 w 9586368"/>
              <a:gd name="connsiteY4037" fmla="*/ 3607625 h 6479439"/>
              <a:gd name="connsiteX4038" fmla="*/ 8132534 w 9586368"/>
              <a:gd name="connsiteY4038" fmla="*/ 3603586 h 6479439"/>
              <a:gd name="connsiteX4039" fmla="*/ 8132534 w 9586368"/>
              <a:gd name="connsiteY4039" fmla="*/ 3593716 h 6479439"/>
              <a:gd name="connsiteX4040" fmla="*/ 7897241 w 9586368"/>
              <a:gd name="connsiteY4040" fmla="*/ 3589677 h 6479439"/>
              <a:gd name="connsiteX4041" fmla="*/ 7907151 w 9586368"/>
              <a:gd name="connsiteY4041" fmla="*/ 3589677 h 6479439"/>
              <a:gd name="connsiteX4042" fmla="*/ 7911170 w 9586368"/>
              <a:gd name="connsiteY4042" fmla="*/ 3593716 h 6479439"/>
              <a:gd name="connsiteX4043" fmla="*/ 7911170 w 9586368"/>
              <a:gd name="connsiteY4043" fmla="*/ 3603586 h 6479439"/>
              <a:gd name="connsiteX4044" fmla="*/ 7907151 w 9586368"/>
              <a:gd name="connsiteY4044" fmla="*/ 3607625 h 6479439"/>
              <a:gd name="connsiteX4045" fmla="*/ 7897241 w 9586368"/>
              <a:gd name="connsiteY4045" fmla="*/ 3607625 h 6479439"/>
              <a:gd name="connsiteX4046" fmla="*/ 7893222 w 9586368"/>
              <a:gd name="connsiteY4046" fmla="*/ 3603586 h 6479439"/>
              <a:gd name="connsiteX4047" fmla="*/ 7893222 w 9586368"/>
              <a:gd name="connsiteY4047" fmla="*/ 3593716 h 6479439"/>
              <a:gd name="connsiteX4048" fmla="*/ 7657926 w 9586368"/>
              <a:gd name="connsiteY4048" fmla="*/ 3589677 h 6479439"/>
              <a:gd name="connsiteX4049" fmla="*/ 7667836 w 9586368"/>
              <a:gd name="connsiteY4049" fmla="*/ 3589677 h 6479439"/>
              <a:gd name="connsiteX4050" fmla="*/ 7671855 w 9586368"/>
              <a:gd name="connsiteY4050" fmla="*/ 3593716 h 6479439"/>
              <a:gd name="connsiteX4051" fmla="*/ 7671855 w 9586368"/>
              <a:gd name="connsiteY4051" fmla="*/ 3603586 h 6479439"/>
              <a:gd name="connsiteX4052" fmla="*/ 7667836 w 9586368"/>
              <a:gd name="connsiteY4052" fmla="*/ 3607625 h 6479439"/>
              <a:gd name="connsiteX4053" fmla="*/ 7657926 w 9586368"/>
              <a:gd name="connsiteY4053" fmla="*/ 3607625 h 6479439"/>
              <a:gd name="connsiteX4054" fmla="*/ 7653906 w 9586368"/>
              <a:gd name="connsiteY4054" fmla="*/ 3603586 h 6479439"/>
              <a:gd name="connsiteX4055" fmla="*/ 7653906 w 9586368"/>
              <a:gd name="connsiteY4055" fmla="*/ 3593716 h 6479439"/>
              <a:gd name="connsiteX4056" fmla="*/ 7418611 w 9586368"/>
              <a:gd name="connsiteY4056" fmla="*/ 3589677 h 6479439"/>
              <a:gd name="connsiteX4057" fmla="*/ 7428521 w 9586368"/>
              <a:gd name="connsiteY4057" fmla="*/ 3589677 h 6479439"/>
              <a:gd name="connsiteX4058" fmla="*/ 7432540 w 9586368"/>
              <a:gd name="connsiteY4058" fmla="*/ 3593716 h 6479439"/>
              <a:gd name="connsiteX4059" fmla="*/ 7432540 w 9586368"/>
              <a:gd name="connsiteY4059" fmla="*/ 3603586 h 6479439"/>
              <a:gd name="connsiteX4060" fmla="*/ 7428521 w 9586368"/>
              <a:gd name="connsiteY4060" fmla="*/ 3607625 h 6479439"/>
              <a:gd name="connsiteX4061" fmla="*/ 7418611 w 9586368"/>
              <a:gd name="connsiteY4061" fmla="*/ 3607625 h 6479439"/>
              <a:gd name="connsiteX4062" fmla="*/ 7414592 w 9586368"/>
              <a:gd name="connsiteY4062" fmla="*/ 3603586 h 6479439"/>
              <a:gd name="connsiteX4063" fmla="*/ 7414592 w 9586368"/>
              <a:gd name="connsiteY4063" fmla="*/ 3593716 h 6479439"/>
              <a:gd name="connsiteX4064" fmla="*/ 7179298 w 9586368"/>
              <a:gd name="connsiteY4064" fmla="*/ 3589677 h 6479439"/>
              <a:gd name="connsiteX4065" fmla="*/ 7189209 w 9586368"/>
              <a:gd name="connsiteY4065" fmla="*/ 3589677 h 6479439"/>
              <a:gd name="connsiteX4066" fmla="*/ 7193228 w 9586368"/>
              <a:gd name="connsiteY4066" fmla="*/ 3593716 h 6479439"/>
              <a:gd name="connsiteX4067" fmla="*/ 7193228 w 9586368"/>
              <a:gd name="connsiteY4067" fmla="*/ 3603586 h 6479439"/>
              <a:gd name="connsiteX4068" fmla="*/ 7189209 w 9586368"/>
              <a:gd name="connsiteY4068" fmla="*/ 3607625 h 6479439"/>
              <a:gd name="connsiteX4069" fmla="*/ 7179298 w 9586368"/>
              <a:gd name="connsiteY4069" fmla="*/ 3607625 h 6479439"/>
              <a:gd name="connsiteX4070" fmla="*/ 7175279 w 9586368"/>
              <a:gd name="connsiteY4070" fmla="*/ 3603586 h 6479439"/>
              <a:gd name="connsiteX4071" fmla="*/ 7175279 w 9586368"/>
              <a:gd name="connsiteY4071" fmla="*/ 3593716 h 6479439"/>
              <a:gd name="connsiteX4072" fmla="*/ 6939983 w 9586368"/>
              <a:gd name="connsiteY4072" fmla="*/ 3589677 h 6479439"/>
              <a:gd name="connsiteX4073" fmla="*/ 6949894 w 9586368"/>
              <a:gd name="connsiteY4073" fmla="*/ 3589677 h 6479439"/>
              <a:gd name="connsiteX4074" fmla="*/ 6953913 w 9586368"/>
              <a:gd name="connsiteY4074" fmla="*/ 3593716 h 6479439"/>
              <a:gd name="connsiteX4075" fmla="*/ 6953913 w 9586368"/>
              <a:gd name="connsiteY4075" fmla="*/ 3603586 h 6479439"/>
              <a:gd name="connsiteX4076" fmla="*/ 6949894 w 9586368"/>
              <a:gd name="connsiteY4076" fmla="*/ 3607625 h 6479439"/>
              <a:gd name="connsiteX4077" fmla="*/ 6939983 w 9586368"/>
              <a:gd name="connsiteY4077" fmla="*/ 3607625 h 6479439"/>
              <a:gd name="connsiteX4078" fmla="*/ 6935964 w 9586368"/>
              <a:gd name="connsiteY4078" fmla="*/ 3603586 h 6479439"/>
              <a:gd name="connsiteX4079" fmla="*/ 6935964 w 9586368"/>
              <a:gd name="connsiteY4079" fmla="*/ 3593716 h 6479439"/>
              <a:gd name="connsiteX4080" fmla="*/ 6700670 w 9586368"/>
              <a:gd name="connsiteY4080" fmla="*/ 3589677 h 6479439"/>
              <a:gd name="connsiteX4081" fmla="*/ 6710581 w 9586368"/>
              <a:gd name="connsiteY4081" fmla="*/ 3589677 h 6479439"/>
              <a:gd name="connsiteX4082" fmla="*/ 6714600 w 9586368"/>
              <a:gd name="connsiteY4082" fmla="*/ 3593716 h 6479439"/>
              <a:gd name="connsiteX4083" fmla="*/ 6714600 w 9586368"/>
              <a:gd name="connsiteY4083" fmla="*/ 3603586 h 6479439"/>
              <a:gd name="connsiteX4084" fmla="*/ 6710581 w 9586368"/>
              <a:gd name="connsiteY4084" fmla="*/ 3607625 h 6479439"/>
              <a:gd name="connsiteX4085" fmla="*/ 6700670 w 9586368"/>
              <a:gd name="connsiteY4085" fmla="*/ 3607625 h 6479439"/>
              <a:gd name="connsiteX4086" fmla="*/ 6696651 w 9586368"/>
              <a:gd name="connsiteY4086" fmla="*/ 3603586 h 6479439"/>
              <a:gd name="connsiteX4087" fmla="*/ 6696651 w 9586368"/>
              <a:gd name="connsiteY4087" fmla="*/ 3593716 h 6479439"/>
              <a:gd name="connsiteX4088" fmla="*/ 6461356 w 9586368"/>
              <a:gd name="connsiteY4088" fmla="*/ 3589677 h 6479439"/>
              <a:gd name="connsiteX4089" fmla="*/ 6471266 w 9586368"/>
              <a:gd name="connsiteY4089" fmla="*/ 3589677 h 6479439"/>
              <a:gd name="connsiteX4090" fmla="*/ 6475285 w 9586368"/>
              <a:gd name="connsiteY4090" fmla="*/ 3593716 h 6479439"/>
              <a:gd name="connsiteX4091" fmla="*/ 6475285 w 9586368"/>
              <a:gd name="connsiteY4091" fmla="*/ 3603586 h 6479439"/>
              <a:gd name="connsiteX4092" fmla="*/ 6471266 w 9586368"/>
              <a:gd name="connsiteY4092" fmla="*/ 3607625 h 6479439"/>
              <a:gd name="connsiteX4093" fmla="*/ 6461356 w 9586368"/>
              <a:gd name="connsiteY4093" fmla="*/ 3607625 h 6479439"/>
              <a:gd name="connsiteX4094" fmla="*/ 6457337 w 9586368"/>
              <a:gd name="connsiteY4094" fmla="*/ 3603586 h 6479439"/>
              <a:gd name="connsiteX4095" fmla="*/ 6457337 w 9586368"/>
              <a:gd name="connsiteY4095" fmla="*/ 3593716 h 6479439"/>
              <a:gd name="connsiteX4096" fmla="*/ 6222042 w 9586368"/>
              <a:gd name="connsiteY4096" fmla="*/ 3589677 h 6479439"/>
              <a:gd name="connsiteX4097" fmla="*/ 6231952 w 9586368"/>
              <a:gd name="connsiteY4097" fmla="*/ 3589677 h 6479439"/>
              <a:gd name="connsiteX4098" fmla="*/ 6235971 w 9586368"/>
              <a:gd name="connsiteY4098" fmla="*/ 3593716 h 6479439"/>
              <a:gd name="connsiteX4099" fmla="*/ 6235971 w 9586368"/>
              <a:gd name="connsiteY4099" fmla="*/ 3603586 h 6479439"/>
              <a:gd name="connsiteX4100" fmla="*/ 6231952 w 9586368"/>
              <a:gd name="connsiteY4100" fmla="*/ 3607625 h 6479439"/>
              <a:gd name="connsiteX4101" fmla="*/ 6222042 w 9586368"/>
              <a:gd name="connsiteY4101" fmla="*/ 3607625 h 6479439"/>
              <a:gd name="connsiteX4102" fmla="*/ 6218023 w 9586368"/>
              <a:gd name="connsiteY4102" fmla="*/ 3603586 h 6479439"/>
              <a:gd name="connsiteX4103" fmla="*/ 6218023 w 9586368"/>
              <a:gd name="connsiteY4103" fmla="*/ 3593716 h 6479439"/>
              <a:gd name="connsiteX4104" fmla="*/ 5982729 w 9586368"/>
              <a:gd name="connsiteY4104" fmla="*/ 3589677 h 6479439"/>
              <a:gd name="connsiteX4105" fmla="*/ 5992639 w 9586368"/>
              <a:gd name="connsiteY4105" fmla="*/ 3589677 h 6479439"/>
              <a:gd name="connsiteX4106" fmla="*/ 5996658 w 9586368"/>
              <a:gd name="connsiteY4106" fmla="*/ 3593716 h 6479439"/>
              <a:gd name="connsiteX4107" fmla="*/ 5996658 w 9586368"/>
              <a:gd name="connsiteY4107" fmla="*/ 3603586 h 6479439"/>
              <a:gd name="connsiteX4108" fmla="*/ 5992639 w 9586368"/>
              <a:gd name="connsiteY4108" fmla="*/ 3607625 h 6479439"/>
              <a:gd name="connsiteX4109" fmla="*/ 5982729 w 9586368"/>
              <a:gd name="connsiteY4109" fmla="*/ 3607625 h 6479439"/>
              <a:gd name="connsiteX4110" fmla="*/ 5978710 w 9586368"/>
              <a:gd name="connsiteY4110" fmla="*/ 3603586 h 6479439"/>
              <a:gd name="connsiteX4111" fmla="*/ 5978710 w 9586368"/>
              <a:gd name="connsiteY4111" fmla="*/ 3593716 h 6479439"/>
              <a:gd name="connsiteX4112" fmla="*/ 5743412 w 9586368"/>
              <a:gd name="connsiteY4112" fmla="*/ 3589677 h 6479439"/>
              <a:gd name="connsiteX4113" fmla="*/ 5753323 w 9586368"/>
              <a:gd name="connsiteY4113" fmla="*/ 3589677 h 6479439"/>
              <a:gd name="connsiteX4114" fmla="*/ 5757342 w 9586368"/>
              <a:gd name="connsiteY4114" fmla="*/ 3593716 h 6479439"/>
              <a:gd name="connsiteX4115" fmla="*/ 5757342 w 9586368"/>
              <a:gd name="connsiteY4115" fmla="*/ 3603586 h 6479439"/>
              <a:gd name="connsiteX4116" fmla="*/ 5753323 w 9586368"/>
              <a:gd name="connsiteY4116" fmla="*/ 3607625 h 6479439"/>
              <a:gd name="connsiteX4117" fmla="*/ 5743412 w 9586368"/>
              <a:gd name="connsiteY4117" fmla="*/ 3607625 h 6479439"/>
              <a:gd name="connsiteX4118" fmla="*/ 5739393 w 9586368"/>
              <a:gd name="connsiteY4118" fmla="*/ 3603586 h 6479439"/>
              <a:gd name="connsiteX4119" fmla="*/ 5739393 w 9586368"/>
              <a:gd name="connsiteY4119" fmla="*/ 3593716 h 6479439"/>
              <a:gd name="connsiteX4120" fmla="*/ 5504099 w 9586368"/>
              <a:gd name="connsiteY4120" fmla="*/ 3589677 h 6479439"/>
              <a:gd name="connsiteX4121" fmla="*/ 5514010 w 9586368"/>
              <a:gd name="connsiteY4121" fmla="*/ 3589677 h 6479439"/>
              <a:gd name="connsiteX4122" fmla="*/ 5518029 w 9586368"/>
              <a:gd name="connsiteY4122" fmla="*/ 3593716 h 6479439"/>
              <a:gd name="connsiteX4123" fmla="*/ 5518029 w 9586368"/>
              <a:gd name="connsiteY4123" fmla="*/ 3603586 h 6479439"/>
              <a:gd name="connsiteX4124" fmla="*/ 5514010 w 9586368"/>
              <a:gd name="connsiteY4124" fmla="*/ 3607625 h 6479439"/>
              <a:gd name="connsiteX4125" fmla="*/ 5504099 w 9586368"/>
              <a:gd name="connsiteY4125" fmla="*/ 3607625 h 6479439"/>
              <a:gd name="connsiteX4126" fmla="*/ 5500080 w 9586368"/>
              <a:gd name="connsiteY4126" fmla="*/ 3603586 h 6479439"/>
              <a:gd name="connsiteX4127" fmla="*/ 5500080 w 9586368"/>
              <a:gd name="connsiteY4127" fmla="*/ 3593716 h 6479439"/>
              <a:gd name="connsiteX4128" fmla="*/ 5264784 w 9586368"/>
              <a:gd name="connsiteY4128" fmla="*/ 3589677 h 6479439"/>
              <a:gd name="connsiteX4129" fmla="*/ 5274694 w 9586368"/>
              <a:gd name="connsiteY4129" fmla="*/ 3589677 h 6479439"/>
              <a:gd name="connsiteX4130" fmla="*/ 5278713 w 9586368"/>
              <a:gd name="connsiteY4130" fmla="*/ 3593716 h 6479439"/>
              <a:gd name="connsiteX4131" fmla="*/ 5278713 w 9586368"/>
              <a:gd name="connsiteY4131" fmla="*/ 3603586 h 6479439"/>
              <a:gd name="connsiteX4132" fmla="*/ 5274694 w 9586368"/>
              <a:gd name="connsiteY4132" fmla="*/ 3607625 h 6479439"/>
              <a:gd name="connsiteX4133" fmla="*/ 5264784 w 9586368"/>
              <a:gd name="connsiteY4133" fmla="*/ 3607625 h 6479439"/>
              <a:gd name="connsiteX4134" fmla="*/ 5260765 w 9586368"/>
              <a:gd name="connsiteY4134" fmla="*/ 3603586 h 6479439"/>
              <a:gd name="connsiteX4135" fmla="*/ 5260765 w 9586368"/>
              <a:gd name="connsiteY4135" fmla="*/ 3593716 h 6479439"/>
              <a:gd name="connsiteX4136" fmla="*/ 5025470 w 9586368"/>
              <a:gd name="connsiteY4136" fmla="*/ 3589677 h 6479439"/>
              <a:gd name="connsiteX4137" fmla="*/ 5035381 w 9586368"/>
              <a:gd name="connsiteY4137" fmla="*/ 3589677 h 6479439"/>
              <a:gd name="connsiteX4138" fmla="*/ 5039400 w 9586368"/>
              <a:gd name="connsiteY4138" fmla="*/ 3593716 h 6479439"/>
              <a:gd name="connsiteX4139" fmla="*/ 5039400 w 9586368"/>
              <a:gd name="connsiteY4139" fmla="*/ 3603586 h 6479439"/>
              <a:gd name="connsiteX4140" fmla="*/ 5035381 w 9586368"/>
              <a:gd name="connsiteY4140" fmla="*/ 3607625 h 6479439"/>
              <a:gd name="connsiteX4141" fmla="*/ 5025470 w 9586368"/>
              <a:gd name="connsiteY4141" fmla="*/ 3607625 h 6479439"/>
              <a:gd name="connsiteX4142" fmla="*/ 5021451 w 9586368"/>
              <a:gd name="connsiteY4142" fmla="*/ 3603586 h 6479439"/>
              <a:gd name="connsiteX4143" fmla="*/ 5021451 w 9586368"/>
              <a:gd name="connsiteY4143" fmla="*/ 3593716 h 6479439"/>
              <a:gd name="connsiteX4144" fmla="*/ 4786241 w 9586368"/>
              <a:gd name="connsiteY4144" fmla="*/ 3589677 h 6479439"/>
              <a:gd name="connsiteX4145" fmla="*/ 4796152 w 9586368"/>
              <a:gd name="connsiteY4145" fmla="*/ 3589677 h 6479439"/>
              <a:gd name="connsiteX4146" fmla="*/ 4800171 w 9586368"/>
              <a:gd name="connsiteY4146" fmla="*/ 3593716 h 6479439"/>
              <a:gd name="connsiteX4147" fmla="*/ 4800171 w 9586368"/>
              <a:gd name="connsiteY4147" fmla="*/ 3603586 h 6479439"/>
              <a:gd name="connsiteX4148" fmla="*/ 4796152 w 9586368"/>
              <a:gd name="connsiteY4148" fmla="*/ 3607625 h 6479439"/>
              <a:gd name="connsiteX4149" fmla="*/ 4786241 w 9586368"/>
              <a:gd name="connsiteY4149" fmla="*/ 3607625 h 6479439"/>
              <a:gd name="connsiteX4150" fmla="*/ 4782224 w 9586368"/>
              <a:gd name="connsiteY4150" fmla="*/ 3603586 h 6479439"/>
              <a:gd name="connsiteX4151" fmla="*/ 4782224 w 9586368"/>
              <a:gd name="connsiteY4151" fmla="*/ 3593716 h 6479439"/>
              <a:gd name="connsiteX4152" fmla="*/ 4546929 w 9586368"/>
              <a:gd name="connsiteY4152" fmla="*/ 3589677 h 6479439"/>
              <a:gd name="connsiteX4153" fmla="*/ 4556840 w 9586368"/>
              <a:gd name="connsiteY4153" fmla="*/ 3589677 h 6479439"/>
              <a:gd name="connsiteX4154" fmla="*/ 4560859 w 9586368"/>
              <a:gd name="connsiteY4154" fmla="*/ 3593716 h 6479439"/>
              <a:gd name="connsiteX4155" fmla="*/ 4560859 w 9586368"/>
              <a:gd name="connsiteY4155" fmla="*/ 3603586 h 6479439"/>
              <a:gd name="connsiteX4156" fmla="*/ 4556840 w 9586368"/>
              <a:gd name="connsiteY4156" fmla="*/ 3607625 h 6479439"/>
              <a:gd name="connsiteX4157" fmla="*/ 4546929 w 9586368"/>
              <a:gd name="connsiteY4157" fmla="*/ 3607625 h 6479439"/>
              <a:gd name="connsiteX4158" fmla="*/ 4542910 w 9586368"/>
              <a:gd name="connsiteY4158" fmla="*/ 3603586 h 6479439"/>
              <a:gd name="connsiteX4159" fmla="*/ 4542910 w 9586368"/>
              <a:gd name="connsiteY4159" fmla="*/ 3593716 h 6479439"/>
              <a:gd name="connsiteX4160" fmla="*/ 4307612 w 9586368"/>
              <a:gd name="connsiteY4160" fmla="*/ 3589677 h 6479439"/>
              <a:gd name="connsiteX4161" fmla="*/ 4317523 w 9586368"/>
              <a:gd name="connsiteY4161" fmla="*/ 3589677 h 6479439"/>
              <a:gd name="connsiteX4162" fmla="*/ 4321543 w 9586368"/>
              <a:gd name="connsiteY4162" fmla="*/ 3593716 h 6479439"/>
              <a:gd name="connsiteX4163" fmla="*/ 4321543 w 9586368"/>
              <a:gd name="connsiteY4163" fmla="*/ 3603586 h 6479439"/>
              <a:gd name="connsiteX4164" fmla="*/ 4317523 w 9586368"/>
              <a:gd name="connsiteY4164" fmla="*/ 3607625 h 6479439"/>
              <a:gd name="connsiteX4165" fmla="*/ 4307612 w 9586368"/>
              <a:gd name="connsiteY4165" fmla="*/ 3607625 h 6479439"/>
              <a:gd name="connsiteX4166" fmla="*/ 4303595 w 9586368"/>
              <a:gd name="connsiteY4166" fmla="*/ 3603586 h 6479439"/>
              <a:gd name="connsiteX4167" fmla="*/ 4303595 w 9586368"/>
              <a:gd name="connsiteY4167" fmla="*/ 3593716 h 6479439"/>
              <a:gd name="connsiteX4168" fmla="*/ 4068297 w 9586368"/>
              <a:gd name="connsiteY4168" fmla="*/ 3589677 h 6479439"/>
              <a:gd name="connsiteX4169" fmla="*/ 4078210 w 9586368"/>
              <a:gd name="connsiteY4169" fmla="*/ 3589677 h 6479439"/>
              <a:gd name="connsiteX4170" fmla="*/ 4082229 w 9586368"/>
              <a:gd name="connsiteY4170" fmla="*/ 3593716 h 6479439"/>
              <a:gd name="connsiteX4171" fmla="*/ 4082229 w 9586368"/>
              <a:gd name="connsiteY4171" fmla="*/ 3603586 h 6479439"/>
              <a:gd name="connsiteX4172" fmla="*/ 4078210 w 9586368"/>
              <a:gd name="connsiteY4172" fmla="*/ 3607625 h 6479439"/>
              <a:gd name="connsiteX4173" fmla="*/ 4068297 w 9586368"/>
              <a:gd name="connsiteY4173" fmla="*/ 3607625 h 6479439"/>
              <a:gd name="connsiteX4174" fmla="*/ 4064278 w 9586368"/>
              <a:gd name="connsiteY4174" fmla="*/ 3603586 h 6479439"/>
              <a:gd name="connsiteX4175" fmla="*/ 4064278 w 9586368"/>
              <a:gd name="connsiteY4175" fmla="*/ 3593716 h 6479439"/>
              <a:gd name="connsiteX4176" fmla="*/ 3828990 w 9586368"/>
              <a:gd name="connsiteY4176" fmla="*/ 3589677 h 6479439"/>
              <a:gd name="connsiteX4177" fmla="*/ 3838899 w 9586368"/>
              <a:gd name="connsiteY4177" fmla="*/ 3589677 h 6479439"/>
              <a:gd name="connsiteX4178" fmla="*/ 3842917 w 9586368"/>
              <a:gd name="connsiteY4178" fmla="*/ 3593716 h 6479439"/>
              <a:gd name="connsiteX4179" fmla="*/ 3842917 w 9586368"/>
              <a:gd name="connsiteY4179" fmla="*/ 3603586 h 6479439"/>
              <a:gd name="connsiteX4180" fmla="*/ 3838899 w 9586368"/>
              <a:gd name="connsiteY4180" fmla="*/ 3607625 h 6479439"/>
              <a:gd name="connsiteX4181" fmla="*/ 3828990 w 9586368"/>
              <a:gd name="connsiteY4181" fmla="*/ 3607625 h 6479439"/>
              <a:gd name="connsiteX4182" fmla="*/ 3824971 w 9586368"/>
              <a:gd name="connsiteY4182" fmla="*/ 3603586 h 6479439"/>
              <a:gd name="connsiteX4183" fmla="*/ 3824971 w 9586368"/>
              <a:gd name="connsiteY4183" fmla="*/ 3593716 h 6479439"/>
              <a:gd name="connsiteX4184" fmla="*/ 3589676 w 9586368"/>
              <a:gd name="connsiteY4184" fmla="*/ 3589677 h 6479439"/>
              <a:gd name="connsiteX4185" fmla="*/ 3599585 w 9586368"/>
              <a:gd name="connsiteY4185" fmla="*/ 3589677 h 6479439"/>
              <a:gd name="connsiteX4186" fmla="*/ 3603604 w 9586368"/>
              <a:gd name="connsiteY4186" fmla="*/ 3593716 h 6479439"/>
              <a:gd name="connsiteX4187" fmla="*/ 3603604 w 9586368"/>
              <a:gd name="connsiteY4187" fmla="*/ 3603586 h 6479439"/>
              <a:gd name="connsiteX4188" fmla="*/ 3599585 w 9586368"/>
              <a:gd name="connsiteY4188" fmla="*/ 3607625 h 6479439"/>
              <a:gd name="connsiteX4189" fmla="*/ 3589676 w 9586368"/>
              <a:gd name="connsiteY4189" fmla="*/ 3607625 h 6479439"/>
              <a:gd name="connsiteX4190" fmla="*/ 3585657 w 9586368"/>
              <a:gd name="connsiteY4190" fmla="*/ 3603586 h 6479439"/>
              <a:gd name="connsiteX4191" fmla="*/ 3585657 w 9586368"/>
              <a:gd name="connsiteY4191" fmla="*/ 3593716 h 6479439"/>
              <a:gd name="connsiteX4192" fmla="*/ 3350359 w 9586368"/>
              <a:gd name="connsiteY4192" fmla="*/ 3589677 h 6479439"/>
              <a:gd name="connsiteX4193" fmla="*/ 3360268 w 9586368"/>
              <a:gd name="connsiteY4193" fmla="*/ 3589677 h 6479439"/>
              <a:gd name="connsiteX4194" fmla="*/ 3364287 w 9586368"/>
              <a:gd name="connsiteY4194" fmla="*/ 3593716 h 6479439"/>
              <a:gd name="connsiteX4195" fmla="*/ 3364287 w 9586368"/>
              <a:gd name="connsiteY4195" fmla="*/ 3603586 h 6479439"/>
              <a:gd name="connsiteX4196" fmla="*/ 3360268 w 9586368"/>
              <a:gd name="connsiteY4196" fmla="*/ 3607625 h 6479439"/>
              <a:gd name="connsiteX4197" fmla="*/ 3350359 w 9586368"/>
              <a:gd name="connsiteY4197" fmla="*/ 3607625 h 6479439"/>
              <a:gd name="connsiteX4198" fmla="*/ 3346340 w 9586368"/>
              <a:gd name="connsiteY4198" fmla="*/ 3603586 h 6479439"/>
              <a:gd name="connsiteX4199" fmla="*/ 3346340 w 9586368"/>
              <a:gd name="connsiteY4199" fmla="*/ 3593716 h 6479439"/>
              <a:gd name="connsiteX4200" fmla="*/ 3111048 w 9586368"/>
              <a:gd name="connsiteY4200" fmla="*/ 3589677 h 6479439"/>
              <a:gd name="connsiteX4201" fmla="*/ 3120959 w 9586368"/>
              <a:gd name="connsiteY4201" fmla="*/ 3589677 h 6479439"/>
              <a:gd name="connsiteX4202" fmla="*/ 3124977 w 9586368"/>
              <a:gd name="connsiteY4202" fmla="*/ 3593716 h 6479439"/>
              <a:gd name="connsiteX4203" fmla="*/ 3124977 w 9586368"/>
              <a:gd name="connsiteY4203" fmla="*/ 3603586 h 6479439"/>
              <a:gd name="connsiteX4204" fmla="*/ 3120959 w 9586368"/>
              <a:gd name="connsiteY4204" fmla="*/ 3607625 h 6479439"/>
              <a:gd name="connsiteX4205" fmla="*/ 3111048 w 9586368"/>
              <a:gd name="connsiteY4205" fmla="*/ 3607625 h 6479439"/>
              <a:gd name="connsiteX4206" fmla="*/ 3107029 w 9586368"/>
              <a:gd name="connsiteY4206" fmla="*/ 3603586 h 6479439"/>
              <a:gd name="connsiteX4207" fmla="*/ 3107029 w 9586368"/>
              <a:gd name="connsiteY4207" fmla="*/ 3593716 h 6479439"/>
              <a:gd name="connsiteX4208" fmla="*/ 2871737 w 9586368"/>
              <a:gd name="connsiteY4208" fmla="*/ 3589677 h 6479439"/>
              <a:gd name="connsiteX4209" fmla="*/ 2881646 w 9586368"/>
              <a:gd name="connsiteY4209" fmla="*/ 3589677 h 6479439"/>
              <a:gd name="connsiteX4210" fmla="*/ 2885666 w 9586368"/>
              <a:gd name="connsiteY4210" fmla="*/ 3593716 h 6479439"/>
              <a:gd name="connsiteX4211" fmla="*/ 2885666 w 9586368"/>
              <a:gd name="connsiteY4211" fmla="*/ 3603586 h 6479439"/>
              <a:gd name="connsiteX4212" fmla="*/ 2881646 w 9586368"/>
              <a:gd name="connsiteY4212" fmla="*/ 3607625 h 6479439"/>
              <a:gd name="connsiteX4213" fmla="*/ 2871737 w 9586368"/>
              <a:gd name="connsiteY4213" fmla="*/ 3607625 h 6479439"/>
              <a:gd name="connsiteX4214" fmla="*/ 2867717 w 9586368"/>
              <a:gd name="connsiteY4214" fmla="*/ 3603586 h 6479439"/>
              <a:gd name="connsiteX4215" fmla="*/ 2867717 w 9586368"/>
              <a:gd name="connsiteY4215" fmla="*/ 3593716 h 6479439"/>
              <a:gd name="connsiteX4216" fmla="*/ 2632423 w 9586368"/>
              <a:gd name="connsiteY4216" fmla="*/ 3589677 h 6479439"/>
              <a:gd name="connsiteX4217" fmla="*/ 2642334 w 9586368"/>
              <a:gd name="connsiteY4217" fmla="*/ 3589677 h 6479439"/>
              <a:gd name="connsiteX4218" fmla="*/ 2646352 w 9586368"/>
              <a:gd name="connsiteY4218" fmla="*/ 3593716 h 6479439"/>
              <a:gd name="connsiteX4219" fmla="*/ 2646352 w 9586368"/>
              <a:gd name="connsiteY4219" fmla="*/ 3603586 h 6479439"/>
              <a:gd name="connsiteX4220" fmla="*/ 2642334 w 9586368"/>
              <a:gd name="connsiteY4220" fmla="*/ 3607625 h 6479439"/>
              <a:gd name="connsiteX4221" fmla="*/ 2632423 w 9586368"/>
              <a:gd name="connsiteY4221" fmla="*/ 3607625 h 6479439"/>
              <a:gd name="connsiteX4222" fmla="*/ 2628404 w 9586368"/>
              <a:gd name="connsiteY4222" fmla="*/ 3603586 h 6479439"/>
              <a:gd name="connsiteX4223" fmla="*/ 2628404 w 9586368"/>
              <a:gd name="connsiteY4223" fmla="*/ 3593716 h 6479439"/>
              <a:gd name="connsiteX4224" fmla="*/ 2393104 w 9586368"/>
              <a:gd name="connsiteY4224" fmla="*/ 3589677 h 6479439"/>
              <a:gd name="connsiteX4225" fmla="*/ 2403015 w 9586368"/>
              <a:gd name="connsiteY4225" fmla="*/ 3589677 h 6479439"/>
              <a:gd name="connsiteX4226" fmla="*/ 2407034 w 9586368"/>
              <a:gd name="connsiteY4226" fmla="*/ 3593716 h 6479439"/>
              <a:gd name="connsiteX4227" fmla="*/ 2407034 w 9586368"/>
              <a:gd name="connsiteY4227" fmla="*/ 3603586 h 6479439"/>
              <a:gd name="connsiteX4228" fmla="*/ 2403015 w 9586368"/>
              <a:gd name="connsiteY4228" fmla="*/ 3607625 h 6479439"/>
              <a:gd name="connsiteX4229" fmla="*/ 2393104 w 9586368"/>
              <a:gd name="connsiteY4229" fmla="*/ 3607625 h 6479439"/>
              <a:gd name="connsiteX4230" fmla="*/ 2389087 w 9586368"/>
              <a:gd name="connsiteY4230" fmla="*/ 3603586 h 6479439"/>
              <a:gd name="connsiteX4231" fmla="*/ 2389087 w 9586368"/>
              <a:gd name="connsiteY4231" fmla="*/ 3593716 h 6479439"/>
              <a:gd name="connsiteX4232" fmla="*/ 721966 w 9586368"/>
              <a:gd name="connsiteY4232" fmla="*/ 3589677 h 6479439"/>
              <a:gd name="connsiteX4233" fmla="*/ 731877 w 9586368"/>
              <a:gd name="connsiteY4233" fmla="*/ 3589677 h 6479439"/>
              <a:gd name="connsiteX4234" fmla="*/ 735896 w 9586368"/>
              <a:gd name="connsiteY4234" fmla="*/ 3593716 h 6479439"/>
              <a:gd name="connsiteX4235" fmla="*/ 735896 w 9586368"/>
              <a:gd name="connsiteY4235" fmla="*/ 3603586 h 6479439"/>
              <a:gd name="connsiteX4236" fmla="*/ 731877 w 9586368"/>
              <a:gd name="connsiteY4236" fmla="*/ 3607625 h 6479439"/>
              <a:gd name="connsiteX4237" fmla="*/ 721966 w 9586368"/>
              <a:gd name="connsiteY4237" fmla="*/ 3607625 h 6479439"/>
              <a:gd name="connsiteX4238" fmla="*/ 717948 w 9586368"/>
              <a:gd name="connsiteY4238" fmla="*/ 3603586 h 6479439"/>
              <a:gd name="connsiteX4239" fmla="*/ 717948 w 9586368"/>
              <a:gd name="connsiteY4239" fmla="*/ 3593716 h 6479439"/>
              <a:gd name="connsiteX4240" fmla="*/ 482654 w 9586368"/>
              <a:gd name="connsiteY4240" fmla="*/ 3589677 h 6479439"/>
              <a:gd name="connsiteX4241" fmla="*/ 492565 w 9586368"/>
              <a:gd name="connsiteY4241" fmla="*/ 3589677 h 6479439"/>
              <a:gd name="connsiteX4242" fmla="*/ 496584 w 9586368"/>
              <a:gd name="connsiteY4242" fmla="*/ 3593716 h 6479439"/>
              <a:gd name="connsiteX4243" fmla="*/ 496584 w 9586368"/>
              <a:gd name="connsiteY4243" fmla="*/ 3603586 h 6479439"/>
              <a:gd name="connsiteX4244" fmla="*/ 492565 w 9586368"/>
              <a:gd name="connsiteY4244" fmla="*/ 3607625 h 6479439"/>
              <a:gd name="connsiteX4245" fmla="*/ 482654 w 9586368"/>
              <a:gd name="connsiteY4245" fmla="*/ 3607625 h 6479439"/>
              <a:gd name="connsiteX4246" fmla="*/ 478635 w 9586368"/>
              <a:gd name="connsiteY4246" fmla="*/ 3603586 h 6479439"/>
              <a:gd name="connsiteX4247" fmla="*/ 478635 w 9586368"/>
              <a:gd name="connsiteY4247" fmla="*/ 3593716 h 6479439"/>
              <a:gd name="connsiteX4248" fmla="*/ 243341 w 9586368"/>
              <a:gd name="connsiteY4248" fmla="*/ 3589677 h 6479439"/>
              <a:gd name="connsiteX4249" fmla="*/ 253251 w 9586368"/>
              <a:gd name="connsiteY4249" fmla="*/ 3589677 h 6479439"/>
              <a:gd name="connsiteX4250" fmla="*/ 257270 w 9586368"/>
              <a:gd name="connsiteY4250" fmla="*/ 3593716 h 6479439"/>
              <a:gd name="connsiteX4251" fmla="*/ 257270 w 9586368"/>
              <a:gd name="connsiteY4251" fmla="*/ 3603586 h 6479439"/>
              <a:gd name="connsiteX4252" fmla="*/ 253251 w 9586368"/>
              <a:gd name="connsiteY4252" fmla="*/ 3607625 h 6479439"/>
              <a:gd name="connsiteX4253" fmla="*/ 243341 w 9586368"/>
              <a:gd name="connsiteY4253" fmla="*/ 3607625 h 6479439"/>
              <a:gd name="connsiteX4254" fmla="*/ 239321 w 9586368"/>
              <a:gd name="connsiteY4254" fmla="*/ 3603586 h 6479439"/>
              <a:gd name="connsiteX4255" fmla="*/ 239321 w 9586368"/>
              <a:gd name="connsiteY4255" fmla="*/ 3593716 h 6479439"/>
              <a:gd name="connsiteX4256" fmla="*/ 4027 w 9586368"/>
              <a:gd name="connsiteY4256" fmla="*/ 3589677 h 6479439"/>
              <a:gd name="connsiteX4257" fmla="*/ 13938 w 9586368"/>
              <a:gd name="connsiteY4257" fmla="*/ 3589677 h 6479439"/>
              <a:gd name="connsiteX4258" fmla="*/ 17957 w 9586368"/>
              <a:gd name="connsiteY4258" fmla="*/ 3593716 h 6479439"/>
              <a:gd name="connsiteX4259" fmla="*/ 17957 w 9586368"/>
              <a:gd name="connsiteY4259" fmla="*/ 3603586 h 6479439"/>
              <a:gd name="connsiteX4260" fmla="*/ 13938 w 9586368"/>
              <a:gd name="connsiteY4260" fmla="*/ 3607625 h 6479439"/>
              <a:gd name="connsiteX4261" fmla="*/ 4027 w 9586368"/>
              <a:gd name="connsiteY4261" fmla="*/ 3607625 h 6479439"/>
              <a:gd name="connsiteX4262" fmla="*/ 8 w 9586368"/>
              <a:gd name="connsiteY4262" fmla="*/ 3603586 h 6479439"/>
              <a:gd name="connsiteX4263" fmla="*/ 8 w 9586368"/>
              <a:gd name="connsiteY4263" fmla="*/ 3593716 h 6479439"/>
              <a:gd name="connsiteX4264" fmla="*/ 9572438 w 9586368"/>
              <a:gd name="connsiteY4264" fmla="*/ 3350398 h 6479439"/>
              <a:gd name="connsiteX4265" fmla="*/ 9582349 w 9586368"/>
              <a:gd name="connsiteY4265" fmla="*/ 3350398 h 6479439"/>
              <a:gd name="connsiteX4266" fmla="*/ 9586368 w 9586368"/>
              <a:gd name="connsiteY4266" fmla="*/ 3354436 h 6479439"/>
              <a:gd name="connsiteX4267" fmla="*/ 9586368 w 9586368"/>
              <a:gd name="connsiteY4267" fmla="*/ 3364306 h 6479439"/>
              <a:gd name="connsiteX4268" fmla="*/ 9582349 w 9586368"/>
              <a:gd name="connsiteY4268" fmla="*/ 3368345 h 6479439"/>
              <a:gd name="connsiteX4269" fmla="*/ 9572438 w 9586368"/>
              <a:gd name="connsiteY4269" fmla="*/ 3368345 h 6479439"/>
              <a:gd name="connsiteX4270" fmla="*/ 9568419 w 9586368"/>
              <a:gd name="connsiteY4270" fmla="*/ 3364306 h 6479439"/>
              <a:gd name="connsiteX4271" fmla="*/ 9568419 w 9586368"/>
              <a:gd name="connsiteY4271" fmla="*/ 3354436 h 6479439"/>
              <a:gd name="connsiteX4272" fmla="*/ 9333125 w 9586368"/>
              <a:gd name="connsiteY4272" fmla="*/ 3350398 h 6479439"/>
              <a:gd name="connsiteX4273" fmla="*/ 9343036 w 9586368"/>
              <a:gd name="connsiteY4273" fmla="*/ 3350398 h 6479439"/>
              <a:gd name="connsiteX4274" fmla="*/ 9347055 w 9586368"/>
              <a:gd name="connsiteY4274" fmla="*/ 3354436 h 6479439"/>
              <a:gd name="connsiteX4275" fmla="*/ 9347055 w 9586368"/>
              <a:gd name="connsiteY4275" fmla="*/ 3364306 h 6479439"/>
              <a:gd name="connsiteX4276" fmla="*/ 9343036 w 9586368"/>
              <a:gd name="connsiteY4276" fmla="*/ 3368345 h 6479439"/>
              <a:gd name="connsiteX4277" fmla="*/ 9333125 w 9586368"/>
              <a:gd name="connsiteY4277" fmla="*/ 3368345 h 6479439"/>
              <a:gd name="connsiteX4278" fmla="*/ 9329106 w 9586368"/>
              <a:gd name="connsiteY4278" fmla="*/ 3364306 h 6479439"/>
              <a:gd name="connsiteX4279" fmla="*/ 9329106 w 9586368"/>
              <a:gd name="connsiteY4279" fmla="*/ 3354436 h 6479439"/>
              <a:gd name="connsiteX4280" fmla="*/ 9093811 w 9586368"/>
              <a:gd name="connsiteY4280" fmla="*/ 3350398 h 6479439"/>
              <a:gd name="connsiteX4281" fmla="*/ 9103722 w 9586368"/>
              <a:gd name="connsiteY4281" fmla="*/ 3350398 h 6479439"/>
              <a:gd name="connsiteX4282" fmla="*/ 9107741 w 9586368"/>
              <a:gd name="connsiteY4282" fmla="*/ 3354436 h 6479439"/>
              <a:gd name="connsiteX4283" fmla="*/ 9107741 w 9586368"/>
              <a:gd name="connsiteY4283" fmla="*/ 3364306 h 6479439"/>
              <a:gd name="connsiteX4284" fmla="*/ 9103722 w 9586368"/>
              <a:gd name="connsiteY4284" fmla="*/ 3368345 h 6479439"/>
              <a:gd name="connsiteX4285" fmla="*/ 9093811 w 9586368"/>
              <a:gd name="connsiteY4285" fmla="*/ 3368345 h 6479439"/>
              <a:gd name="connsiteX4286" fmla="*/ 9089792 w 9586368"/>
              <a:gd name="connsiteY4286" fmla="*/ 3364306 h 6479439"/>
              <a:gd name="connsiteX4287" fmla="*/ 9089792 w 9586368"/>
              <a:gd name="connsiteY4287" fmla="*/ 3354436 h 6479439"/>
              <a:gd name="connsiteX4288" fmla="*/ 8854496 w 9586368"/>
              <a:gd name="connsiteY4288" fmla="*/ 3350398 h 6479439"/>
              <a:gd name="connsiteX4289" fmla="*/ 8864407 w 9586368"/>
              <a:gd name="connsiteY4289" fmla="*/ 3350398 h 6479439"/>
              <a:gd name="connsiteX4290" fmla="*/ 8868426 w 9586368"/>
              <a:gd name="connsiteY4290" fmla="*/ 3354436 h 6479439"/>
              <a:gd name="connsiteX4291" fmla="*/ 8868426 w 9586368"/>
              <a:gd name="connsiteY4291" fmla="*/ 3364306 h 6479439"/>
              <a:gd name="connsiteX4292" fmla="*/ 8864407 w 9586368"/>
              <a:gd name="connsiteY4292" fmla="*/ 3368345 h 6479439"/>
              <a:gd name="connsiteX4293" fmla="*/ 8854496 w 9586368"/>
              <a:gd name="connsiteY4293" fmla="*/ 3368345 h 6479439"/>
              <a:gd name="connsiteX4294" fmla="*/ 8850477 w 9586368"/>
              <a:gd name="connsiteY4294" fmla="*/ 3364306 h 6479439"/>
              <a:gd name="connsiteX4295" fmla="*/ 8850477 w 9586368"/>
              <a:gd name="connsiteY4295" fmla="*/ 3354436 h 6479439"/>
              <a:gd name="connsiteX4296" fmla="*/ 8615184 w 9586368"/>
              <a:gd name="connsiteY4296" fmla="*/ 3350398 h 6479439"/>
              <a:gd name="connsiteX4297" fmla="*/ 8625095 w 9586368"/>
              <a:gd name="connsiteY4297" fmla="*/ 3350398 h 6479439"/>
              <a:gd name="connsiteX4298" fmla="*/ 8629114 w 9586368"/>
              <a:gd name="connsiteY4298" fmla="*/ 3354436 h 6479439"/>
              <a:gd name="connsiteX4299" fmla="*/ 8629114 w 9586368"/>
              <a:gd name="connsiteY4299" fmla="*/ 3364306 h 6479439"/>
              <a:gd name="connsiteX4300" fmla="*/ 8625095 w 9586368"/>
              <a:gd name="connsiteY4300" fmla="*/ 3368345 h 6479439"/>
              <a:gd name="connsiteX4301" fmla="*/ 8615184 w 9586368"/>
              <a:gd name="connsiteY4301" fmla="*/ 3368345 h 6479439"/>
              <a:gd name="connsiteX4302" fmla="*/ 8611165 w 9586368"/>
              <a:gd name="connsiteY4302" fmla="*/ 3364306 h 6479439"/>
              <a:gd name="connsiteX4303" fmla="*/ 8611165 w 9586368"/>
              <a:gd name="connsiteY4303" fmla="*/ 3354436 h 6479439"/>
              <a:gd name="connsiteX4304" fmla="*/ 8375869 w 9586368"/>
              <a:gd name="connsiteY4304" fmla="*/ 3350398 h 6479439"/>
              <a:gd name="connsiteX4305" fmla="*/ 8385779 w 9586368"/>
              <a:gd name="connsiteY4305" fmla="*/ 3350398 h 6479439"/>
              <a:gd name="connsiteX4306" fmla="*/ 8389799 w 9586368"/>
              <a:gd name="connsiteY4306" fmla="*/ 3354436 h 6479439"/>
              <a:gd name="connsiteX4307" fmla="*/ 8389799 w 9586368"/>
              <a:gd name="connsiteY4307" fmla="*/ 3364306 h 6479439"/>
              <a:gd name="connsiteX4308" fmla="*/ 8385779 w 9586368"/>
              <a:gd name="connsiteY4308" fmla="*/ 3368345 h 6479439"/>
              <a:gd name="connsiteX4309" fmla="*/ 8375869 w 9586368"/>
              <a:gd name="connsiteY4309" fmla="*/ 3368345 h 6479439"/>
              <a:gd name="connsiteX4310" fmla="*/ 8371850 w 9586368"/>
              <a:gd name="connsiteY4310" fmla="*/ 3364306 h 6479439"/>
              <a:gd name="connsiteX4311" fmla="*/ 8371850 w 9586368"/>
              <a:gd name="connsiteY4311" fmla="*/ 3354436 h 6479439"/>
              <a:gd name="connsiteX4312" fmla="*/ 8136553 w 9586368"/>
              <a:gd name="connsiteY4312" fmla="*/ 3350398 h 6479439"/>
              <a:gd name="connsiteX4313" fmla="*/ 8146464 w 9586368"/>
              <a:gd name="connsiteY4313" fmla="*/ 3350398 h 6479439"/>
              <a:gd name="connsiteX4314" fmla="*/ 8150483 w 9586368"/>
              <a:gd name="connsiteY4314" fmla="*/ 3354436 h 6479439"/>
              <a:gd name="connsiteX4315" fmla="*/ 8150483 w 9586368"/>
              <a:gd name="connsiteY4315" fmla="*/ 3364306 h 6479439"/>
              <a:gd name="connsiteX4316" fmla="*/ 8146464 w 9586368"/>
              <a:gd name="connsiteY4316" fmla="*/ 3368345 h 6479439"/>
              <a:gd name="connsiteX4317" fmla="*/ 8136553 w 9586368"/>
              <a:gd name="connsiteY4317" fmla="*/ 3368345 h 6479439"/>
              <a:gd name="connsiteX4318" fmla="*/ 8132534 w 9586368"/>
              <a:gd name="connsiteY4318" fmla="*/ 3364306 h 6479439"/>
              <a:gd name="connsiteX4319" fmla="*/ 8132534 w 9586368"/>
              <a:gd name="connsiteY4319" fmla="*/ 3354436 h 6479439"/>
              <a:gd name="connsiteX4320" fmla="*/ 7897241 w 9586368"/>
              <a:gd name="connsiteY4320" fmla="*/ 3350398 h 6479439"/>
              <a:gd name="connsiteX4321" fmla="*/ 7907151 w 9586368"/>
              <a:gd name="connsiteY4321" fmla="*/ 3350398 h 6479439"/>
              <a:gd name="connsiteX4322" fmla="*/ 7911170 w 9586368"/>
              <a:gd name="connsiteY4322" fmla="*/ 3354436 h 6479439"/>
              <a:gd name="connsiteX4323" fmla="*/ 7911170 w 9586368"/>
              <a:gd name="connsiteY4323" fmla="*/ 3364306 h 6479439"/>
              <a:gd name="connsiteX4324" fmla="*/ 7907151 w 9586368"/>
              <a:gd name="connsiteY4324" fmla="*/ 3368345 h 6479439"/>
              <a:gd name="connsiteX4325" fmla="*/ 7897241 w 9586368"/>
              <a:gd name="connsiteY4325" fmla="*/ 3368345 h 6479439"/>
              <a:gd name="connsiteX4326" fmla="*/ 7893222 w 9586368"/>
              <a:gd name="connsiteY4326" fmla="*/ 3364306 h 6479439"/>
              <a:gd name="connsiteX4327" fmla="*/ 7893222 w 9586368"/>
              <a:gd name="connsiteY4327" fmla="*/ 3354436 h 6479439"/>
              <a:gd name="connsiteX4328" fmla="*/ 7657926 w 9586368"/>
              <a:gd name="connsiteY4328" fmla="*/ 3350398 h 6479439"/>
              <a:gd name="connsiteX4329" fmla="*/ 7667836 w 9586368"/>
              <a:gd name="connsiteY4329" fmla="*/ 3350398 h 6479439"/>
              <a:gd name="connsiteX4330" fmla="*/ 7671855 w 9586368"/>
              <a:gd name="connsiteY4330" fmla="*/ 3354436 h 6479439"/>
              <a:gd name="connsiteX4331" fmla="*/ 7671855 w 9586368"/>
              <a:gd name="connsiteY4331" fmla="*/ 3364306 h 6479439"/>
              <a:gd name="connsiteX4332" fmla="*/ 7667836 w 9586368"/>
              <a:gd name="connsiteY4332" fmla="*/ 3368345 h 6479439"/>
              <a:gd name="connsiteX4333" fmla="*/ 7657926 w 9586368"/>
              <a:gd name="connsiteY4333" fmla="*/ 3368345 h 6479439"/>
              <a:gd name="connsiteX4334" fmla="*/ 7653906 w 9586368"/>
              <a:gd name="connsiteY4334" fmla="*/ 3364306 h 6479439"/>
              <a:gd name="connsiteX4335" fmla="*/ 7653906 w 9586368"/>
              <a:gd name="connsiteY4335" fmla="*/ 3354436 h 6479439"/>
              <a:gd name="connsiteX4336" fmla="*/ 7418611 w 9586368"/>
              <a:gd name="connsiteY4336" fmla="*/ 3350398 h 6479439"/>
              <a:gd name="connsiteX4337" fmla="*/ 7428521 w 9586368"/>
              <a:gd name="connsiteY4337" fmla="*/ 3350398 h 6479439"/>
              <a:gd name="connsiteX4338" fmla="*/ 7432540 w 9586368"/>
              <a:gd name="connsiteY4338" fmla="*/ 3354436 h 6479439"/>
              <a:gd name="connsiteX4339" fmla="*/ 7432540 w 9586368"/>
              <a:gd name="connsiteY4339" fmla="*/ 3364306 h 6479439"/>
              <a:gd name="connsiteX4340" fmla="*/ 7428521 w 9586368"/>
              <a:gd name="connsiteY4340" fmla="*/ 3368345 h 6479439"/>
              <a:gd name="connsiteX4341" fmla="*/ 7418611 w 9586368"/>
              <a:gd name="connsiteY4341" fmla="*/ 3368345 h 6479439"/>
              <a:gd name="connsiteX4342" fmla="*/ 7414592 w 9586368"/>
              <a:gd name="connsiteY4342" fmla="*/ 3364306 h 6479439"/>
              <a:gd name="connsiteX4343" fmla="*/ 7414592 w 9586368"/>
              <a:gd name="connsiteY4343" fmla="*/ 3354436 h 6479439"/>
              <a:gd name="connsiteX4344" fmla="*/ 7179298 w 9586368"/>
              <a:gd name="connsiteY4344" fmla="*/ 3350398 h 6479439"/>
              <a:gd name="connsiteX4345" fmla="*/ 7189209 w 9586368"/>
              <a:gd name="connsiteY4345" fmla="*/ 3350398 h 6479439"/>
              <a:gd name="connsiteX4346" fmla="*/ 7193228 w 9586368"/>
              <a:gd name="connsiteY4346" fmla="*/ 3354436 h 6479439"/>
              <a:gd name="connsiteX4347" fmla="*/ 7193228 w 9586368"/>
              <a:gd name="connsiteY4347" fmla="*/ 3364306 h 6479439"/>
              <a:gd name="connsiteX4348" fmla="*/ 7189209 w 9586368"/>
              <a:gd name="connsiteY4348" fmla="*/ 3368345 h 6479439"/>
              <a:gd name="connsiteX4349" fmla="*/ 7179298 w 9586368"/>
              <a:gd name="connsiteY4349" fmla="*/ 3368345 h 6479439"/>
              <a:gd name="connsiteX4350" fmla="*/ 7175279 w 9586368"/>
              <a:gd name="connsiteY4350" fmla="*/ 3364306 h 6479439"/>
              <a:gd name="connsiteX4351" fmla="*/ 7175279 w 9586368"/>
              <a:gd name="connsiteY4351" fmla="*/ 3354436 h 6479439"/>
              <a:gd name="connsiteX4352" fmla="*/ 6939983 w 9586368"/>
              <a:gd name="connsiteY4352" fmla="*/ 3350398 h 6479439"/>
              <a:gd name="connsiteX4353" fmla="*/ 6949894 w 9586368"/>
              <a:gd name="connsiteY4353" fmla="*/ 3350398 h 6479439"/>
              <a:gd name="connsiteX4354" fmla="*/ 6953913 w 9586368"/>
              <a:gd name="connsiteY4354" fmla="*/ 3354436 h 6479439"/>
              <a:gd name="connsiteX4355" fmla="*/ 6953913 w 9586368"/>
              <a:gd name="connsiteY4355" fmla="*/ 3364306 h 6479439"/>
              <a:gd name="connsiteX4356" fmla="*/ 6949894 w 9586368"/>
              <a:gd name="connsiteY4356" fmla="*/ 3368345 h 6479439"/>
              <a:gd name="connsiteX4357" fmla="*/ 6939983 w 9586368"/>
              <a:gd name="connsiteY4357" fmla="*/ 3368345 h 6479439"/>
              <a:gd name="connsiteX4358" fmla="*/ 6935964 w 9586368"/>
              <a:gd name="connsiteY4358" fmla="*/ 3364306 h 6479439"/>
              <a:gd name="connsiteX4359" fmla="*/ 6935964 w 9586368"/>
              <a:gd name="connsiteY4359" fmla="*/ 3354436 h 6479439"/>
              <a:gd name="connsiteX4360" fmla="*/ 6700670 w 9586368"/>
              <a:gd name="connsiteY4360" fmla="*/ 3350398 h 6479439"/>
              <a:gd name="connsiteX4361" fmla="*/ 6710581 w 9586368"/>
              <a:gd name="connsiteY4361" fmla="*/ 3350398 h 6479439"/>
              <a:gd name="connsiteX4362" fmla="*/ 6714600 w 9586368"/>
              <a:gd name="connsiteY4362" fmla="*/ 3354436 h 6479439"/>
              <a:gd name="connsiteX4363" fmla="*/ 6714600 w 9586368"/>
              <a:gd name="connsiteY4363" fmla="*/ 3364306 h 6479439"/>
              <a:gd name="connsiteX4364" fmla="*/ 6710581 w 9586368"/>
              <a:gd name="connsiteY4364" fmla="*/ 3368345 h 6479439"/>
              <a:gd name="connsiteX4365" fmla="*/ 6700670 w 9586368"/>
              <a:gd name="connsiteY4365" fmla="*/ 3368345 h 6479439"/>
              <a:gd name="connsiteX4366" fmla="*/ 6696651 w 9586368"/>
              <a:gd name="connsiteY4366" fmla="*/ 3364306 h 6479439"/>
              <a:gd name="connsiteX4367" fmla="*/ 6696651 w 9586368"/>
              <a:gd name="connsiteY4367" fmla="*/ 3354436 h 6479439"/>
              <a:gd name="connsiteX4368" fmla="*/ 6461356 w 9586368"/>
              <a:gd name="connsiteY4368" fmla="*/ 3350398 h 6479439"/>
              <a:gd name="connsiteX4369" fmla="*/ 6471266 w 9586368"/>
              <a:gd name="connsiteY4369" fmla="*/ 3350398 h 6479439"/>
              <a:gd name="connsiteX4370" fmla="*/ 6475285 w 9586368"/>
              <a:gd name="connsiteY4370" fmla="*/ 3354436 h 6479439"/>
              <a:gd name="connsiteX4371" fmla="*/ 6475285 w 9586368"/>
              <a:gd name="connsiteY4371" fmla="*/ 3364306 h 6479439"/>
              <a:gd name="connsiteX4372" fmla="*/ 6471266 w 9586368"/>
              <a:gd name="connsiteY4372" fmla="*/ 3368345 h 6479439"/>
              <a:gd name="connsiteX4373" fmla="*/ 6461356 w 9586368"/>
              <a:gd name="connsiteY4373" fmla="*/ 3368345 h 6479439"/>
              <a:gd name="connsiteX4374" fmla="*/ 6457337 w 9586368"/>
              <a:gd name="connsiteY4374" fmla="*/ 3364306 h 6479439"/>
              <a:gd name="connsiteX4375" fmla="*/ 6457337 w 9586368"/>
              <a:gd name="connsiteY4375" fmla="*/ 3354436 h 6479439"/>
              <a:gd name="connsiteX4376" fmla="*/ 6222042 w 9586368"/>
              <a:gd name="connsiteY4376" fmla="*/ 3350398 h 6479439"/>
              <a:gd name="connsiteX4377" fmla="*/ 6231952 w 9586368"/>
              <a:gd name="connsiteY4377" fmla="*/ 3350398 h 6479439"/>
              <a:gd name="connsiteX4378" fmla="*/ 6235971 w 9586368"/>
              <a:gd name="connsiteY4378" fmla="*/ 3354436 h 6479439"/>
              <a:gd name="connsiteX4379" fmla="*/ 6235971 w 9586368"/>
              <a:gd name="connsiteY4379" fmla="*/ 3364306 h 6479439"/>
              <a:gd name="connsiteX4380" fmla="*/ 6231952 w 9586368"/>
              <a:gd name="connsiteY4380" fmla="*/ 3368345 h 6479439"/>
              <a:gd name="connsiteX4381" fmla="*/ 6222042 w 9586368"/>
              <a:gd name="connsiteY4381" fmla="*/ 3368345 h 6479439"/>
              <a:gd name="connsiteX4382" fmla="*/ 6218023 w 9586368"/>
              <a:gd name="connsiteY4382" fmla="*/ 3364306 h 6479439"/>
              <a:gd name="connsiteX4383" fmla="*/ 6218023 w 9586368"/>
              <a:gd name="connsiteY4383" fmla="*/ 3354436 h 6479439"/>
              <a:gd name="connsiteX4384" fmla="*/ 5982729 w 9586368"/>
              <a:gd name="connsiteY4384" fmla="*/ 3350398 h 6479439"/>
              <a:gd name="connsiteX4385" fmla="*/ 5992639 w 9586368"/>
              <a:gd name="connsiteY4385" fmla="*/ 3350398 h 6479439"/>
              <a:gd name="connsiteX4386" fmla="*/ 5996658 w 9586368"/>
              <a:gd name="connsiteY4386" fmla="*/ 3354436 h 6479439"/>
              <a:gd name="connsiteX4387" fmla="*/ 5996658 w 9586368"/>
              <a:gd name="connsiteY4387" fmla="*/ 3364306 h 6479439"/>
              <a:gd name="connsiteX4388" fmla="*/ 5992639 w 9586368"/>
              <a:gd name="connsiteY4388" fmla="*/ 3368345 h 6479439"/>
              <a:gd name="connsiteX4389" fmla="*/ 5982729 w 9586368"/>
              <a:gd name="connsiteY4389" fmla="*/ 3368345 h 6479439"/>
              <a:gd name="connsiteX4390" fmla="*/ 5978710 w 9586368"/>
              <a:gd name="connsiteY4390" fmla="*/ 3364306 h 6479439"/>
              <a:gd name="connsiteX4391" fmla="*/ 5978710 w 9586368"/>
              <a:gd name="connsiteY4391" fmla="*/ 3354436 h 6479439"/>
              <a:gd name="connsiteX4392" fmla="*/ 5743412 w 9586368"/>
              <a:gd name="connsiteY4392" fmla="*/ 3350398 h 6479439"/>
              <a:gd name="connsiteX4393" fmla="*/ 5753323 w 9586368"/>
              <a:gd name="connsiteY4393" fmla="*/ 3350398 h 6479439"/>
              <a:gd name="connsiteX4394" fmla="*/ 5757342 w 9586368"/>
              <a:gd name="connsiteY4394" fmla="*/ 3354436 h 6479439"/>
              <a:gd name="connsiteX4395" fmla="*/ 5757342 w 9586368"/>
              <a:gd name="connsiteY4395" fmla="*/ 3364306 h 6479439"/>
              <a:gd name="connsiteX4396" fmla="*/ 5753323 w 9586368"/>
              <a:gd name="connsiteY4396" fmla="*/ 3368345 h 6479439"/>
              <a:gd name="connsiteX4397" fmla="*/ 5743412 w 9586368"/>
              <a:gd name="connsiteY4397" fmla="*/ 3368345 h 6479439"/>
              <a:gd name="connsiteX4398" fmla="*/ 5739393 w 9586368"/>
              <a:gd name="connsiteY4398" fmla="*/ 3364306 h 6479439"/>
              <a:gd name="connsiteX4399" fmla="*/ 5739393 w 9586368"/>
              <a:gd name="connsiteY4399" fmla="*/ 3354436 h 6479439"/>
              <a:gd name="connsiteX4400" fmla="*/ 5504099 w 9586368"/>
              <a:gd name="connsiteY4400" fmla="*/ 3350398 h 6479439"/>
              <a:gd name="connsiteX4401" fmla="*/ 5514010 w 9586368"/>
              <a:gd name="connsiteY4401" fmla="*/ 3350398 h 6479439"/>
              <a:gd name="connsiteX4402" fmla="*/ 5518029 w 9586368"/>
              <a:gd name="connsiteY4402" fmla="*/ 3354436 h 6479439"/>
              <a:gd name="connsiteX4403" fmla="*/ 5518029 w 9586368"/>
              <a:gd name="connsiteY4403" fmla="*/ 3364306 h 6479439"/>
              <a:gd name="connsiteX4404" fmla="*/ 5514010 w 9586368"/>
              <a:gd name="connsiteY4404" fmla="*/ 3368345 h 6479439"/>
              <a:gd name="connsiteX4405" fmla="*/ 5504099 w 9586368"/>
              <a:gd name="connsiteY4405" fmla="*/ 3368345 h 6479439"/>
              <a:gd name="connsiteX4406" fmla="*/ 5500080 w 9586368"/>
              <a:gd name="connsiteY4406" fmla="*/ 3364306 h 6479439"/>
              <a:gd name="connsiteX4407" fmla="*/ 5500080 w 9586368"/>
              <a:gd name="connsiteY4407" fmla="*/ 3354436 h 6479439"/>
              <a:gd name="connsiteX4408" fmla="*/ 5264784 w 9586368"/>
              <a:gd name="connsiteY4408" fmla="*/ 3350398 h 6479439"/>
              <a:gd name="connsiteX4409" fmla="*/ 5274694 w 9586368"/>
              <a:gd name="connsiteY4409" fmla="*/ 3350398 h 6479439"/>
              <a:gd name="connsiteX4410" fmla="*/ 5278713 w 9586368"/>
              <a:gd name="connsiteY4410" fmla="*/ 3354436 h 6479439"/>
              <a:gd name="connsiteX4411" fmla="*/ 5278713 w 9586368"/>
              <a:gd name="connsiteY4411" fmla="*/ 3364306 h 6479439"/>
              <a:gd name="connsiteX4412" fmla="*/ 5274694 w 9586368"/>
              <a:gd name="connsiteY4412" fmla="*/ 3368345 h 6479439"/>
              <a:gd name="connsiteX4413" fmla="*/ 5264784 w 9586368"/>
              <a:gd name="connsiteY4413" fmla="*/ 3368345 h 6479439"/>
              <a:gd name="connsiteX4414" fmla="*/ 5260765 w 9586368"/>
              <a:gd name="connsiteY4414" fmla="*/ 3364306 h 6479439"/>
              <a:gd name="connsiteX4415" fmla="*/ 5260765 w 9586368"/>
              <a:gd name="connsiteY4415" fmla="*/ 3354436 h 6479439"/>
              <a:gd name="connsiteX4416" fmla="*/ 5025470 w 9586368"/>
              <a:gd name="connsiteY4416" fmla="*/ 3350398 h 6479439"/>
              <a:gd name="connsiteX4417" fmla="*/ 5035381 w 9586368"/>
              <a:gd name="connsiteY4417" fmla="*/ 3350398 h 6479439"/>
              <a:gd name="connsiteX4418" fmla="*/ 5039400 w 9586368"/>
              <a:gd name="connsiteY4418" fmla="*/ 3354436 h 6479439"/>
              <a:gd name="connsiteX4419" fmla="*/ 5039400 w 9586368"/>
              <a:gd name="connsiteY4419" fmla="*/ 3364306 h 6479439"/>
              <a:gd name="connsiteX4420" fmla="*/ 5035381 w 9586368"/>
              <a:gd name="connsiteY4420" fmla="*/ 3368345 h 6479439"/>
              <a:gd name="connsiteX4421" fmla="*/ 5025470 w 9586368"/>
              <a:gd name="connsiteY4421" fmla="*/ 3368345 h 6479439"/>
              <a:gd name="connsiteX4422" fmla="*/ 5021451 w 9586368"/>
              <a:gd name="connsiteY4422" fmla="*/ 3364306 h 6479439"/>
              <a:gd name="connsiteX4423" fmla="*/ 5021451 w 9586368"/>
              <a:gd name="connsiteY4423" fmla="*/ 3354436 h 6479439"/>
              <a:gd name="connsiteX4424" fmla="*/ 4786241 w 9586368"/>
              <a:gd name="connsiteY4424" fmla="*/ 3350398 h 6479439"/>
              <a:gd name="connsiteX4425" fmla="*/ 4796152 w 9586368"/>
              <a:gd name="connsiteY4425" fmla="*/ 3350398 h 6479439"/>
              <a:gd name="connsiteX4426" fmla="*/ 4800171 w 9586368"/>
              <a:gd name="connsiteY4426" fmla="*/ 3354436 h 6479439"/>
              <a:gd name="connsiteX4427" fmla="*/ 4800171 w 9586368"/>
              <a:gd name="connsiteY4427" fmla="*/ 3364306 h 6479439"/>
              <a:gd name="connsiteX4428" fmla="*/ 4796152 w 9586368"/>
              <a:gd name="connsiteY4428" fmla="*/ 3368345 h 6479439"/>
              <a:gd name="connsiteX4429" fmla="*/ 4786241 w 9586368"/>
              <a:gd name="connsiteY4429" fmla="*/ 3368345 h 6479439"/>
              <a:gd name="connsiteX4430" fmla="*/ 4782224 w 9586368"/>
              <a:gd name="connsiteY4430" fmla="*/ 3364306 h 6479439"/>
              <a:gd name="connsiteX4431" fmla="*/ 4782224 w 9586368"/>
              <a:gd name="connsiteY4431" fmla="*/ 3354436 h 6479439"/>
              <a:gd name="connsiteX4432" fmla="*/ 4546929 w 9586368"/>
              <a:gd name="connsiteY4432" fmla="*/ 3350398 h 6479439"/>
              <a:gd name="connsiteX4433" fmla="*/ 4556840 w 9586368"/>
              <a:gd name="connsiteY4433" fmla="*/ 3350398 h 6479439"/>
              <a:gd name="connsiteX4434" fmla="*/ 4560859 w 9586368"/>
              <a:gd name="connsiteY4434" fmla="*/ 3354436 h 6479439"/>
              <a:gd name="connsiteX4435" fmla="*/ 4560859 w 9586368"/>
              <a:gd name="connsiteY4435" fmla="*/ 3364306 h 6479439"/>
              <a:gd name="connsiteX4436" fmla="*/ 4556840 w 9586368"/>
              <a:gd name="connsiteY4436" fmla="*/ 3368345 h 6479439"/>
              <a:gd name="connsiteX4437" fmla="*/ 4546929 w 9586368"/>
              <a:gd name="connsiteY4437" fmla="*/ 3368345 h 6479439"/>
              <a:gd name="connsiteX4438" fmla="*/ 4542910 w 9586368"/>
              <a:gd name="connsiteY4438" fmla="*/ 3364306 h 6479439"/>
              <a:gd name="connsiteX4439" fmla="*/ 4542910 w 9586368"/>
              <a:gd name="connsiteY4439" fmla="*/ 3354436 h 6479439"/>
              <a:gd name="connsiteX4440" fmla="*/ 4307612 w 9586368"/>
              <a:gd name="connsiteY4440" fmla="*/ 3350398 h 6479439"/>
              <a:gd name="connsiteX4441" fmla="*/ 4317523 w 9586368"/>
              <a:gd name="connsiteY4441" fmla="*/ 3350398 h 6479439"/>
              <a:gd name="connsiteX4442" fmla="*/ 4321543 w 9586368"/>
              <a:gd name="connsiteY4442" fmla="*/ 3354436 h 6479439"/>
              <a:gd name="connsiteX4443" fmla="*/ 4321543 w 9586368"/>
              <a:gd name="connsiteY4443" fmla="*/ 3364306 h 6479439"/>
              <a:gd name="connsiteX4444" fmla="*/ 4317523 w 9586368"/>
              <a:gd name="connsiteY4444" fmla="*/ 3368345 h 6479439"/>
              <a:gd name="connsiteX4445" fmla="*/ 4307612 w 9586368"/>
              <a:gd name="connsiteY4445" fmla="*/ 3368345 h 6479439"/>
              <a:gd name="connsiteX4446" fmla="*/ 4303595 w 9586368"/>
              <a:gd name="connsiteY4446" fmla="*/ 3364306 h 6479439"/>
              <a:gd name="connsiteX4447" fmla="*/ 4303595 w 9586368"/>
              <a:gd name="connsiteY4447" fmla="*/ 3354436 h 6479439"/>
              <a:gd name="connsiteX4448" fmla="*/ 4068297 w 9586368"/>
              <a:gd name="connsiteY4448" fmla="*/ 3350398 h 6479439"/>
              <a:gd name="connsiteX4449" fmla="*/ 4078210 w 9586368"/>
              <a:gd name="connsiteY4449" fmla="*/ 3350398 h 6479439"/>
              <a:gd name="connsiteX4450" fmla="*/ 4082229 w 9586368"/>
              <a:gd name="connsiteY4450" fmla="*/ 3354436 h 6479439"/>
              <a:gd name="connsiteX4451" fmla="*/ 4082229 w 9586368"/>
              <a:gd name="connsiteY4451" fmla="*/ 3364306 h 6479439"/>
              <a:gd name="connsiteX4452" fmla="*/ 4078210 w 9586368"/>
              <a:gd name="connsiteY4452" fmla="*/ 3368345 h 6479439"/>
              <a:gd name="connsiteX4453" fmla="*/ 4068297 w 9586368"/>
              <a:gd name="connsiteY4453" fmla="*/ 3368345 h 6479439"/>
              <a:gd name="connsiteX4454" fmla="*/ 4064278 w 9586368"/>
              <a:gd name="connsiteY4454" fmla="*/ 3364306 h 6479439"/>
              <a:gd name="connsiteX4455" fmla="*/ 4064278 w 9586368"/>
              <a:gd name="connsiteY4455" fmla="*/ 3354436 h 6479439"/>
              <a:gd name="connsiteX4456" fmla="*/ 3828990 w 9586368"/>
              <a:gd name="connsiteY4456" fmla="*/ 3350398 h 6479439"/>
              <a:gd name="connsiteX4457" fmla="*/ 3838899 w 9586368"/>
              <a:gd name="connsiteY4457" fmla="*/ 3350398 h 6479439"/>
              <a:gd name="connsiteX4458" fmla="*/ 3842917 w 9586368"/>
              <a:gd name="connsiteY4458" fmla="*/ 3354436 h 6479439"/>
              <a:gd name="connsiteX4459" fmla="*/ 3842917 w 9586368"/>
              <a:gd name="connsiteY4459" fmla="*/ 3364306 h 6479439"/>
              <a:gd name="connsiteX4460" fmla="*/ 3838899 w 9586368"/>
              <a:gd name="connsiteY4460" fmla="*/ 3368345 h 6479439"/>
              <a:gd name="connsiteX4461" fmla="*/ 3828990 w 9586368"/>
              <a:gd name="connsiteY4461" fmla="*/ 3368345 h 6479439"/>
              <a:gd name="connsiteX4462" fmla="*/ 3824971 w 9586368"/>
              <a:gd name="connsiteY4462" fmla="*/ 3364306 h 6479439"/>
              <a:gd name="connsiteX4463" fmla="*/ 3824971 w 9586368"/>
              <a:gd name="connsiteY4463" fmla="*/ 3354436 h 6479439"/>
              <a:gd name="connsiteX4464" fmla="*/ 3589676 w 9586368"/>
              <a:gd name="connsiteY4464" fmla="*/ 3350398 h 6479439"/>
              <a:gd name="connsiteX4465" fmla="*/ 3599585 w 9586368"/>
              <a:gd name="connsiteY4465" fmla="*/ 3350398 h 6479439"/>
              <a:gd name="connsiteX4466" fmla="*/ 3603604 w 9586368"/>
              <a:gd name="connsiteY4466" fmla="*/ 3354436 h 6479439"/>
              <a:gd name="connsiteX4467" fmla="*/ 3603604 w 9586368"/>
              <a:gd name="connsiteY4467" fmla="*/ 3364306 h 6479439"/>
              <a:gd name="connsiteX4468" fmla="*/ 3599585 w 9586368"/>
              <a:gd name="connsiteY4468" fmla="*/ 3368345 h 6479439"/>
              <a:gd name="connsiteX4469" fmla="*/ 3589676 w 9586368"/>
              <a:gd name="connsiteY4469" fmla="*/ 3368345 h 6479439"/>
              <a:gd name="connsiteX4470" fmla="*/ 3585657 w 9586368"/>
              <a:gd name="connsiteY4470" fmla="*/ 3364306 h 6479439"/>
              <a:gd name="connsiteX4471" fmla="*/ 3585657 w 9586368"/>
              <a:gd name="connsiteY4471" fmla="*/ 3354436 h 6479439"/>
              <a:gd name="connsiteX4472" fmla="*/ 3350359 w 9586368"/>
              <a:gd name="connsiteY4472" fmla="*/ 3350398 h 6479439"/>
              <a:gd name="connsiteX4473" fmla="*/ 3360268 w 9586368"/>
              <a:gd name="connsiteY4473" fmla="*/ 3350398 h 6479439"/>
              <a:gd name="connsiteX4474" fmla="*/ 3364287 w 9586368"/>
              <a:gd name="connsiteY4474" fmla="*/ 3354436 h 6479439"/>
              <a:gd name="connsiteX4475" fmla="*/ 3364287 w 9586368"/>
              <a:gd name="connsiteY4475" fmla="*/ 3364306 h 6479439"/>
              <a:gd name="connsiteX4476" fmla="*/ 3360268 w 9586368"/>
              <a:gd name="connsiteY4476" fmla="*/ 3368345 h 6479439"/>
              <a:gd name="connsiteX4477" fmla="*/ 3350359 w 9586368"/>
              <a:gd name="connsiteY4477" fmla="*/ 3368345 h 6479439"/>
              <a:gd name="connsiteX4478" fmla="*/ 3346340 w 9586368"/>
              <a:gd name="connsiteY4478" fmla="*/ 3364306 h 6479439"/>
              <a:gd name="connsiteX4479" fmla="*/ 3346340 w 9586368"/>
              <a:gd name="connsiteY4479" fmla="*/ 3354436 h 6479439"/>
              <a:gd name="connsiteX4480" fmla="*/ 3111048 w 9586368"/>
              <a:gd name="connsiteY4480" fmla="*/ 3350398 h 6479439"/>
              <a:gd name="connsiteX4481" fmla="*/ 3120959 w 9586368"/>
              <a:gd name="connsiteY4481" fmla="*/ 3350398 h 6479439"/>
              <a:gd name="connsiteX4482" fmla="*/ 3124977 w 9586368"/>
              <a:gd name="connsiteY4482" fmla="*/ 3354436 h 6479439"/>
              <a:gd name="connsiteX4483" fmla="*/ 3124977 w 9586368"/>
              <a:gd name="connsiteY4483" fmla="*/ 3364306 h 6479439"/>
              <a:gd name="connsiteX4484" fmla="*/ 3120959 w 9586368"/>
              <a:gd name="connsiteY4484" fmla="*/ 3368345 h 6479439"/>
              <a:gd name="connsiteX4485" fmla="*/ 3111048 w 9586368"/>
              <a:gd name="connsiteY4485" fmla="*/ 3368345 h 6479439"/>
              <a:gd name="connsiteX4486" fmla="*/ 3107029 w 9586368"/>
              <a:gd name="connsiteY4486" fmla="*/ 3364306 h 6479439"/>
              <a:gd name="connsiteX4487" fmla="*/ 3107029 w 9586368"/>
              <a:gd name="connsiteY4487" fmla="*/ 3354436 h 6479439"/>
              <a:gd name="connsiteX4488" fmla="*/ 2871737 w 9586368"/>
              <a:gd name="connsiteY4488" fmla="*/ 3350398 h 6479439"/>
              <a:gd name="connsiteX4489" fmla="*/ 2881646 w 9586368"/>
              <a:gd name="connsiteY4489" fmla="*/ 3350398 h 6479439"/>
              <a:gd name="connsiteX4490" fmla="*/ 2885666 w 9586368"/>
              <a:gd name="connsiteY4490" fmla="*/ 3354436 h 6479439"/>
              <a:gd name="connsiteX4491" fmla="*/ 2885666 w 9586368"/>
              <a:gd name="connsiteY4491" fmla="*/ 3364306 h 6479439"/>
              <a:gd name="connsiteX4492" fmla="*/ 2881646 w 9586368"/>
              <a:gd name="connsiteY4492" fmla="*/ 3368345 h 6479439"/>
              <a:gd name="connsiteX4493" fmla="*/ 2871737 w 9586368"/>
              <a:gd name="connsiteY4493" fmla="*/ 3368345 h 6479439"/>
              <a:gd name="connsiteX4494" fmla="*/ 2867717 w 9586368"/>
              <a:gd name="connsiteY4494" fmla="*/ 3364306 h 6479439"/>
              <a:gd name="connsiteX4495" fmla="*/ 2867717 w 9586368"/>
              <a:gd name="connsiteY4495" fmla="*/ 3354436 h 6479439"/>
              <a:gd name="connsiteX4496" fmla="*/ 2632423 w 9586368"/>
              <a:gd name="connsiteY4496" fmla="*/ 3350398 h 6479439"/>
              <a:gd name="connsiteX4497" fmla="*/ 2642334 w 9586368"/>
              <a:gd name="connsiteY4497" fmla="*/ 3350398 h 6479439"/>
              <a:gd name="connsiteX4498" fmla="*/ 2646352 w 9586368"/>
              <a:gd name="connsiteY4498" fmla="*/ 3354436 h 6479439"/>
              <a:gd name="connsiteX4499" fmla="*/ 2646352 w 9586368"/>
              <a:gd name="connsiteY4499" fmla="*/ 3364306 h 6479439"/>
              <a:gd name="connsiteX4500" fmla="*/ 2642334 w 9586368"/>
              <a:gd name="connsiteY4500" fmla="*/ 3368345 h 6479439"/>
              <a:gd name="connsiteX4501" fmla="*/ 2632423 w 9586368"/>
              <a:gd name="connsiteY4501" fmla="*/ 3368345 h 6479439"/>
              <a:gd name="connsiteX4502" fmla="*/ 2628404 w 9586368"/>
              <a:gd name="connsiteY4502" fmla="*/ 3364306 h 6479439"/>
              <a:gd name="connsiteX4503" fmla="*/ 2628404 w 9586368"/>
              <a:gd name="connsiteY4503" fmla="*/ 3354436 h 6479439"/>
              <a:gd name="connsiteX4504" fmla="*/ 2393104 w 9586368"/>
              <a:gd name="connsiteY4504" fmla="*/ 3350398 h 6479439"/>
              <a:gd name="connsiteX4505" fmla="*/ 2403015 w 9586368"/>
              <a:gd name="connsiteY4505" fmla="*/ 3350398 h 6479439"/>
              <a:gd name="connsiteX4506" fmla="*/ 2407034 w 9586368"/>
              <a:gd name="connsiteY4506" fmla="*/ 3354436 h 6479439"/>
              <a:gd name="connsiteX4507" fmla="*/ 2407034 w 9586368"/>
              <a:gd name="connsiteY4507" fmla="*/ 3364306 h 6479439"/>
              <a:gd name="connsiteX4508" fmla="*/ 2403015 w 9586368"/>
              <a:gd name="connsiteY4508" fmla="*/ 3368345 h 6479439"/>
              <a:gd name="connsiteX4509" fmla="*/ 2393104 w 9586368"/>
              <a:gd name="connsiteY4509" fmla="*/ 3368345 h 6479439"/>
              <a:gd name="connsiteX4510" fmla="*/ 2389087 w 9586368"/>
              <a:gd name="connsiteY4510" fmla="*/ 3364306 h 6479439"/>
              <a:gd name="connsiteX4511" fmla="*/ 2389087 w 9586368"/>
              <a:gd name="connsiteY4511" fmla="*/ 3354436 h 6479439"/>
              <a:gd name="connsiteX4512" fmla="*/ 2157820 w 9586368"/>
              <a:gd name="connsiteY4512" fmla="*/ 3350398 h 6479439"/>
              <a:gd name="connsiteX4513" fmla="*/ 2167731 w 9586368"/>
              <a:gd name="connsiteY4513" fmla="*/ 3350398 h 6479439"/>
              <a:gd name="connsiteX4514" fmla="*/ 2171749 w 9586368"/>
              <a:gd name="connsiteY4514" fmla="*/ 3354436 h 6479439"/>
              <a:gd name="connsiteX4515" fmla="*/ 2171749 w 9586368"/>
              <a:gd name="connsiteY4515" fmla="*/ 3364306 h 6479439"/>
              <a:gd name="connsiteX4516" fmla="*/ 2167731 w 9586368"/>
              <a:gd name="connsiteY4516" fmla="*/ 3368345 h 6479439"/>
              <a:gd name="connsiteX4517" fmla="*/ 2157820 w 9586368"/>
              <a:gd name="connsiteY4517" fmla="*/ 3368345 h 6479439"/>
              <a:gd name="connsiteX4518" fmla="*/ 2153802 w 9586368"/>
              <a:gd name="connsiteY4518" fmla="*/ 3364306 h 6479439"/>
              <a:gd name="connsiteX4519" fmla="*/ 2153802 w 9586368"/>
              <a:gd name="connsiteY4519" fmla="*/ 3354436 h 6479439"/>
              <a:gd name="connsiteX4520" fmla="*/ 1918511 w 9586368"/>
              <a:gd name="connsiteY4520" fmla="*/ 3350398 h 6479439"/>
              <a:gd name="connsiteX4521" fmla="*/ 1928422 w 9586368"/>
              <a:gd name="connsiteY4521" fmla="*/ 3350398 h 6479439"/>
              <a:gd name="connsiteX4522" fmla="*/ 1932441 w 9586368"/>
              <a:gd name="connsiteY4522" fmla="*/ 3354436 h 6479439"/>
              <a:gd name="connsiteX4523" fmla="*/ 1932441 w 9586368"/>
              <a:gd name="connsiteY4523" fmla="*/ 3364306 h 6479439"/>
              <a:gd name="connsiteX4524" fmla="*/ 1928422 w 9586368"/>
              <a:gd name="connsiteY4524" fmla="*/ 3368345 h 6479439"/>
              <a:gd name="connsiteX4525" fmla="*/ 1918511 w 9586368"/>
              <a:gd name="connsiteY4525" fmla="*/ 3368345 h 6479439"/>
              <a:gd name="connsiteX4526" fmla="*/ 1914493 w 9586368"/>
              <a:gd name="connsiteY4526" fmla="*/ 3364306 h 6479439"/>
              <a:gd name="connsiteX4527" fmla="*/ 1914493 w 9586368"/>
              <a:gd name="connsiteY4527" fmla="*/ 3354436 h 6479439"/>
              <a:gd name="connsiteX4528" fmla="*/ 1679210 w 9586368"/>
              <a:gd name="connsiteY4528" fmla="*/ 3350398 h 6479439"/>
              <a:gd name="connsiteX4529" fmla="*/ 1689120 w 9586368"/>
              <a:gd name="connsiteY4529" fmla="*/ 3350398 h 6479439"/>
              <a:gd name="connsiteX4530" fmla="*/ 1693138 w 9586368"/>
              <a:gd name="connsiteY4530" fmla="*/ 3354436 h 6479439"/>
              <a:gd name="connsiteX4531" fmla="*/ 1693138 w 9586368"/>
              <a:gd name="connsiteY4531" fmla="*/ 3364306 h 6479439"/>
              <a:gd name="connsiteX4532" fmla="*/ 1689120 w 9586368"/>
              <a:gd name="connsiteY4532" fmla="*/ 3368345 h 6479439"/>
              <a:gd name="connsiteX4533" fmla="*/ 1679210 w 9586368"/>
              <a:gd name="connsiteY4533" fmla="*/ 3368345 h 6479439"/>
              <a:gd name="connsiteX4534" fmla="*/ 1675191 w 9586368"/>
              <a:gd name="connsiteY4534" fmla="*/ 3364306 h 6479439"/>
              <a:gd name="connsiteX4535" fmla="*/ 1675191 w 9586368"/>
              <a:gd name="connsiteY4535" fmla="*/ 3354436 h 6479439"/>
              <a:gd name="connsiteX4536" fmla="*/ 1439893 w 9586368"/>
              <a:gd name="connsiteY4536" fmla="*/ 3350398 h 6479439"/>
              <a:gd name="connsiteX4537" fmla="*/ 1449803 w 9586368"/>
              <a:gd name="connsiteY4537" fmla="*/ 3350398 h 6479439"/>
              <a:gd name="connsiteX4538" fmla="*/ 1453823 w 9586368"/>
              <a:gd name="connsiteY4538" fmla="*/ 3354436 h 6479439"/>
              <a:gd name="connsiteX4539" fmla="*/ 1453823 w 9586368"/>
              <a:gd name="connsiteY4539" fmla="*/ 3364306 h 6479439"/>
              <a:gd name="connsiteX4540" fmla="*/ 1449803 w 9586368"/>
              <a:gd name="connsiteY4540" fmla="*/ 3368345 h 6479439"/>
              <a:gd name="connsiteX4541" fmla="*/ 1439893 w 9586368"/>
              <a:gd name="connsiteY4541" fmla="*/ 3368345 h 6479439"/>
              <a:gd name="connsiteX4542" fmla="*/ 1435875 w 9586368"/>
              <a:gd name="connsiteY4542" fmla="*/ 3364306 h 6479439"/>
              <a:gd name="connsiteX4543" fmla="*/ 1435875 w 9586368"/>
              <a:gd name="connsiteY4543" fmla="*/ 3354436 h 6479439"/>
              <a:gd name="connsiteX4544" fmla="*/ 1200578 w 9586368"/>
              <a:gd name="connsiteY4544" fmla="*/ 3350398 h 6479439"/>
              <a:gd name="connsiteX4545" fmla="*/ 1210488 w 9586368"/>
              <a:gd name="connsiteY4545" fmla="*/ 3350398 h 6479439"/>
              <a:gd name="connsiteX4546" fmla="*/ 1214507 w 9586368"/>
              <a:gd name="connsiteY4546" fmla="*/ 3354436 h 6479439"/>
              <a:gd name="connsiteX4547" fmla="*/ 1214507 w 9586368"/>
              <a:gd name="connsiteY4547" fmla="*/ 3364306 h 6479439"/>
              <a:gd name="connsiteX4548" fmla="*/ 1210488 w 9586368"/>
              <a:gd name="connsiteY4548" fmla="*/ 3368345 h 6479439"/>
              <a:gd name="connsiteX4549" fmla="*/ 1200578 w 9586368"/>
              <a:gd name="connsiteY4549" fmla="*/ 3368345 h 6479439"/>
              <a:gd name="connsiteX4550" fmla="*/ 1196559 w 9586368"/>
              <a:gd name="connsiteY4550" fmla="*/ 3364306 h 6479439"/>
              <a:gd name="connsiteX4551" fmla="*/ 1196559 w 9586368"/>
              <a:gd name="connsiteY4551" fmla="*/ 3354436 h 6479439"/>
              <a:gd name="connsiteX4552" fmla="*/ 961265 w 9586368"/>
              <a:gd name="connsiteY4552" fmla="*/ 3350398 h 6479439"/>
              <a:gd name="connsiteX4553" fmla="*/ 971176 w 9586368"/>
              <a:gd name="connsiteY4553" fmla="*/ 3350398 h 6479439"/>
              <a:gd name="connsiteX4554" fmla="*/ 975194 w 9586368"/>
              <a:gd name="connsiteY4554" fmla="*/ 3354436 h 6479439"/>
              <a:gd name="connsiteX4555" fmla="*/ 975194 w 9586368"/>
              <a:gd name="connsiteY4555" fmla="*/ 3364306 h 6479439"/>
              <a:gd name="connsiteX4556" fmla="*/ 971176 w 9586368"/>
              <a:gd name="connsiteY4556" fmla="*/ 3368345 h 6479439"/>
              <a:gd name="connsiteX4557" fmla="*/ 961265 w 9586368"/>
              <a:gd name="connsiteY4557" fmla="*/ 3368345 h 6479439"/>
              <a:gd name="connsiteX4558" fmla="*/ 957246 w 9586368"/>
              <a:gd name="connsiteY4558" fmla="*/ 3364306 h 6479439"/>
              <a:gd name="connsiteX4559" fmla="*/ 957246 w 9586368"/>
              <a:gd name="connsiteY4559" fmla="*/ 3354436 h 6479439"/>
              <a:gd name="connsiteX4560" fmla="*/ 721967 w 9586368"/>
              <a:gd name="connsiteY4560" fmla="*/ 3350398 h 6479439"/>
              <a:gd name="connsiteX4561" fmla="*/ 731877 w 9586368"/>
              <a:gd name="connsiteY4561" fmla="*/ 3350398 h 6479439"/>
              <a:gd name="connsiteX4562" fmla="*/ 735896 w 9586368"/>
              <a:gd name="connsiteY4562" fmla="*/ 3354436 h 6479439"/>
              <a:gd name="connsiteX4563" fmla="*/ 735896 w 9586368"/>
              <a:gd name="connsiteY4563" fmla="*/ 3364306 h 6479439"/>
              <a:gd name="connsiteX4564" fmla="*/ 731877 w 9586368"/>
              <a:gd name="connsiteY4564" fmla="*/ 3368345 h 6479439"/>
              <a:gd name="connsiteX4565" fmla="*/ 721967 w 9586368"/>
              <a:gd name="connsiteY4565" fmla="*/ 3368345 h 6479439"/>
              <a:gd name="connsiteX4566" fmla="*/ 717949 w 9586368"/>
              <a:gd name="connsiteY4566" fmla="*/ 3364306 h 6479439"/>
              <a:gd name="connsiteX4567" fmla="*/ 717949 w 9586368"/>
              <a:gd name="connsiteY4567" fmla="*/ 3354436 h 6479439"/>
              <a:gd name="connsiteX4568" fmla="*/ 482655 w 9586368"/>
              <a:gd name="connsiteY4568" fmla="*/ 3350398 h 6479439"/>
              <a:gd name="connsiteX4569" fmla="*/ 492565 w 9586368"/>
              <a:gd name="connsiteY4569" fmla="*/ 3350398 h 6479439"/>
              <a:gd name="connsiteX4570" fmla="*/ 496584 w 9586368"/>
              <a:gd name="connsiteY4570" fmla="*/ 3354436 h 6479439"/>
              <a:gd name="connsiteX4571" fmla="*/ 496584 w 9586368"/>
              <a:gd name="connsiteY4571" fmla="*/ 3364306 h 6479439"/>
              <a:gd name="connsiteX4572" fmla="*/ 492565 w 9586368"/>
              <a:gd name="connsiteY4572" fmla="*/ 3368345 h 6479439"/>
              <a:gd name="connsiteX4573" fmla="*/ 482655 w 9586368"/>
              <a:gd name="connsiteY4573" fmla="*/ 3368345 h 6479439"/>
              <a:gd name="connsiteX4574" fmla="*/ 478636 w 9586368"/>
              <a:gd name="connsiteY4574" fmla="*/ 3364306 h 6479439"/>
              <a:gd name="connsiteX4575" fmla="*/ 478636 w 9586368"/>
              <a:gd name="connsiteY4575" fmla="*/ 3354436 h 6479439"/>
              <a:gd name="connsiteX4576" fmla="*/ 243341 w 9586368"/>
              <a:gd name="connsiteY4576" fmla="*/ 3350398 h 6479439"/>
              <a:gd name="connsiteX4577" fmla="*/ 253252 w 9586368"/>
              <a:gd name="connsiteY4577" fmla="*/ 3350398 h 6479439"/>
              <a:gd name="connsiteX4578" fmla="*/ 257271 w 9586368"/>
              <a:gd name="connsiteY4578" fmla="*/ 3354436 h 6479439"/>
              <a:gd name="connsiteX4579" fmla="*/ 257271 w 9586368"/>
              <a:gd name="connsiteY4579" fmla="*/ 3364306 h 6479439"/>
              <a:gd name="connsiteX4580" fmla="*/ 253252 w 9586368"/>
              <a:gd name="connsiteY4580" fmla="*/ 3368345 h 6479439"/>
              <a:gd name="connsiteX4581" fmla="*/ 243341 w 9586368"/>
              <a:gd name="connsiteY4581" fmla="*/ 3368345 h 6479439"/>
              <a:gd name="connsiteX4582" fmla="*/ 239322 w 9586368"/>
              <a:gd name="connsiteY4582" fmla="*/ 3364306 h 6479439"/>
              <a:gd name="connsiteX4583" fmla="*/ 239322 w 9586368"/>
              <a:gd name="connsiteY4583" fmla="*/ 3354436 h 6479439"/>
              <a:gd name="connsiteX4584" fmla="*/ 4029 w 9586368"/>
              <a:gd name="connsiteY4584" fmla="*/ 3350398 h 6479439"/>
              <a:gd name="connsiteX4585" fmla="*/ 13938 w 9586368"/>
              <a:gd name="connsiteY4585" fmla="*/ 3350398 h 6479439"/>
              <a:gd name="connsiteX4586" fmla="*/ 17957 w 9586368"/>
              <a:gd name="connsiteY4586" fmla="*/ 3354436 h 6479439"/>
              <a:gd name="connsiteX4587" fmla="*/ 17957 w 9586368"/>
              <a:gd name="connsiteY4587" fmla="*/ 3364306 h 6479439"/>
              <a:gd name="connsiteX4588" fmla="*/ 13938 w 9586368"/>
              <a:gd name="connsiteY4588" fmla="*/ 3368345 h 6479439"/>
              <a:gd name="connsiteX4589" fmla="*/ 4029 w 9586368"/>
              <a:gd name="connsiteY4589" fmla="*/ 3368345 h 6479439"/>
              <a:gd name="connsiteX4590" fmla="*/ 9 w 9586368"/>
              <a:gd name="connsiteY4590" fmla="*/ 3364306 h 6479439"/>
              <a:gd name="connsiteX4591" fmla="*/ 9 w 9586368"/>
              <a:gd name="connsiteY4591" fmla="*/ 3354436 h 6479439"/>
              <a:gd name="connsiteX4592" fmla="*/ 2157820 w 9586368"/>
              <a:gd name="connsiteY4592" fmla="*/ 3111118 h 6479439"/>
              <a:gd name="connsiteX4593" fmla="*/ 2167731 w 9586368"/>
              <a:gd name="connsiteY4593" fmla="*/ 3111118 h 6479439"/>
              <a:gd name="connsiteX4594" fmla="*/ 2171750 w 9586368"/>
              <a:gd name="connsiteY4594" fmla="*/ 3115157 h 6479439"/>
              <a:gd name="connsiteX4595" fmla="*/ 2171750 w 9586368"/>
              <a:gd name="connsiteY4595" fmla="*/ 3125027 h 6479439"/>
              <a:gd name="connsiteX4596" fmla="*/ 2167731 w 9586368"/>
              <a:gd name="connsiteY4596" fmla="*/ 3129066 h 6479439"/>
              <a:gd name="connsiteX4597" fmla="*/ 2157820 w 9586368"/>
              <a:gd name="connsiteY4597" fmla="*/ 3129066 h 6479439"/>
              <a:gd name="connsiteX4598" fmla="*/ 2153802 w 9586368"/>
              <a:gd name="connsiteY4598" fmla="*/ 3125027 h 6479439"/>
              <a:gd name="connsiteX4599" fmla="*/ 2153802 w 9586368"/>
              <a:gd name="connsiteY4599" fmla="*/ 3115157 h 6479439"/>
              <a:gd name="connsiteX4600" fmla="*/ 1918513 w 9586368"/>
              <a:gd name="connsiteY4600" fmla="*/ 3111118 h 6479439"/>
              <a:gd name="connsiteX4601" fmla="*/ 1928422 w 9586368"/>
              <a:gd name="connsiteY4601" fmla="*/ 3111118 h 6479439"/>
              <a:gd name="connsiteX4602" fmla="*/ 1932441 w 9586368"/>
              <a:gd name="connsiteY4602" fmla="*/ 3115157 h 6479439"/>
              <a:gd name="connsiteX4603" fmla="*/ 1932441 w 9586368"/>
              <a:gd name="connsiteY4603" fmla="*/ 3125027 h 6479439"/>
              <a:gd name="connsiteX4604" fmla="*/ 1928422 w 9586368"/>
              <a:gd name="connsiteY4604" fmla="*/ 3129066 h 6479439"/>
              <a:gd name="connsiteX4605" fmla="*/ 1918513 w 9586368"/>
              <a:gd name="connsiteY4605" fmla="*/ 3129066 h 6479439"/>
              <a:gd name="connsiteX4606" fmla="*/ 1914493 w 9586368"/>
              <a:gd name="connsiteY4606" fmla="*/ 3125027 h 6479439"/>
              <a:gd name="connsiteX4607" fmla="*/ 1914493 w 9586368"/>
              <a:gd name="connsiteY4607" fmla="*/ 3115157 h 6479439"/>
              <a:gd name="connsiteX4608" fmla="*/ 1679211 w 9586368"/>
              <a:gd name="connsiteY4608" fmla="*/ 3111118 h 6479439"/>
              <a:gd name="connsiteX4609" fmla="*/ 1689121 w 9586368"/>
              <a:gd name="connsiteY4609" fmla="*/ 3111118 h 6479439"/>
              <a:gd name="connsiteX4610" fmla="*/ 1693139 w 9586368"/>
              <a:gd name="connsiteY4610" fmla="*/ 3115157 h 6479439"/>
              <a:gd name="connsiteX4611" fmla="*/ 1693139 w 9586368"/>
              <a:gd name="connsiteY4611" fmla="*/ 3125027 h 6479439"/>
              <a:gd name="connsiteX4612" fmla="*/ 1689121 w 9586368"/>
              <a:gd name="connsiteY4612" fmla="*/ 3129066 h 6479439"/>
              <a:gd name="connsiteX4613" fmla="*/ 1679211 w 9586368"/>
              <a:gd name="connsiteY4613" fmla="*/ 3129066 h 6479439"/>
              <a:gd name="connsiteX4614" fmla="*/ 1675191 w 9586368"/>
              <a:gd name="connsiteY4614" fmla="*/ 3125027 h 6479439"/>
              <a:gd name="connsiteX4615" fmla="*/ 1675191 w 9586368"/>
              <a:gd name="connsiteY4615" fmla="*/ 3115157 h 6479439"/>
              <a:gd name="connsiteX4616" fmla="*/ 1439895 w 9586368"/>
              <a:gd name="connsiteY4616" fmla="*/ 3111118 h 6479439"/>
              <a:gd name="connsiteX4617" fmla="*/ 1449805 w 9586368"/>
              <a:gd name="connsiteY4617" fmla="*/ 3111118 h 6479439"/>
              <a:gd name="connsiteX4618" fmla="*/ 1453823 w 9586368"/>
              <a:gd name="connsiteY4618" fmla="*/ 3115157 h 6479439"/>
              <a:gd name="connsiteX4619" fmla="*/ 1453823 w 9586368"/>
              <a:gd name="connsiteY4619" fmla="*/ 3125027 h 6479439"/>
              <a:gd name="connsiteX4620" fmla="*/ 1449805 w 9586368"/>
              <a:gd name="connsiteY4620" fmla="*/ 3129066 h 6479439"/>
              <a:gd name="connsiteX4621" fmla="*/ 1439895 w 9586368"/>
              <a:gd name="connsiteY4621" fmla="*/ 3129066 h 6479439"/>
              <a:gd name="connsiteX4622" fmla="*/ 1435875 w 9586368"/>
              <a:gd name="connsiteY4622" fmla="*/ 3125027 h 6479439"/>
              <a:gd name="connsiteX4623" fmla="*/ 1435875 w 9586368"/>
              <a:gd name="connsiteY4623" fmla="*/ 3115157 h 6479439"/>
              <a:gd name="connsiteX4624" fmla="*/ 1200578 w 9586368"/>
              <a:gd name="connsiteY4624" fmla="*/ 3111118 h 6479439"/>
              <a:gd name="connsiteX4625" fmla="*/ 1210489 w 9586368"/>
              <a:gd name="connsiteY4625" fmla="*/ 3111118 h 6479439"/>
              <a:gd name="connsiteX4626" fmla="*/ 1214507 w 9586368"/>
              <a:gd name="connsiteY4626" fmla="*/ 3115157 h 6479439"/>
              <a:gd name="connsiteX4627" fmla="*/ 1214507 w 9586368"/>
              <a:gd name="connsiteY4627" fmla="*/ 3125027 h 6479439"/>
              <a:gd name="connsiteX4628" fmla="*/ 1210489 w 9586368"/>
              <a:gd name="connsiteY4628" fmla="*/ 3129066 h 6479439"/>
              <a:gd name="connsiteX4629" fmla="*/ 1200578 w 9586368"/>
              <a:gd name="connsiteY4629" fmla="*/ 3129066 h 6479439"/>
              <a:gd name="connsiteX4630" fmla="*/ 1196560 w 9586368"/>
              <a:gd name="connsiteY4630" fmla="*/ 3125027 h 6479439"/>
              <a:gd name="connsiteX4631" fmla="*/ 1196560 w 9586368"/>
              <a:gd name="connsiteY4631" fmla="*/ 3115157 h 6479439"/>
              <a:gd name="connsiteX4632" fmla="*/ 961266 w 9586368"/>
              <a:gd name="connsiteY4632" fmla="*/ 3111118 h 6479439"/>
              <a:gd name="connsiteX4633" fmla="*/ 971176 w 9586368"/>
              <a:gd name="connsiteY4633" fmla="*/ 3111118 h 6479439"/>
              <a:gd name="connsiteX4634" fmla="*/ 975195 w 9586368"/>
              <a:gd name="connsiteY4634" fmla="*/ 3115157 h 6479439"/>
              <a:gd name="connsiteX4635" fmla="*/ 975195 w 9586368"/>
              <a:gd name="connsiteY4635" fmla="*/ 3125027 h 6479439"/>
              <a:gd name="connsiteX4636" fmla="*/ 971176 w 9586368"/>
              <a:gd name="connsiteY4636" fmla="*/ 3129066 h 6479439"/>
              <a:gd name="connsiteX4637" fmla="*/ 961266 w 9586368"/>
              <a:gd name="connsiteY4637" fmla="*/ 3129066 h 6479439"/>
              <a:gd name="connsiteX4638" fmla="*/ 957247 w 9586368"/>
              <a:gd name="connsiteY4638" fmla="*/ 3125027 h 6479439"/>
              <a:gd name="connsiteX4639" fmla="*/ 957247 w 9586368"/>
              <a:gd name="connsiteY4639" fmla="*/ 3115157 h 6479439"/>
              <a:gd name="connsiteX4640" fmla="*/ 9572438 w 9586368"/>
              <a:gd name="connsiteY4640" fmla="*/ 3111067 h 6479439"/>
              <a:gd name="connsiteX4641" fmla="*/ 9582349 w 9586368"/>
              <a:gd name="connsiteY4641" fmla="*/ 3111067 h 6479439"/>
              <a:gd name="connsiteX4642" fmla="*/ 9586368 w 9586368"/>
              <a:gd name="connsiteY4642" fmla="*/ 3115105 h 6479439"/>
              <a:gd name="connsiteX4643" fmla="*/ 9586368 w 9586368"/>
              <a:gd name="connsiteY4643" fmla="*/ 3124976 h 6479439"/>
              <a:gd name="connsiteX4644" fmla="*/ 9582349 w 9586368"/>
              <a:gd name="connsiteY4644" fmla="*/ 3129015 h 6479439"/>
              <a:gd name="connsiteX4645" fmla="*/ 9572438 w 9586368"/>
              <a:gd name="connsiteY4645" fmla="*/ 3129015 h 6479439"/>
              <a:gd name="connsiteX4646" fmla="*/ 9568419 w 9586368"/>
              <a:gd name="connsiteY4646" fmla="*/ 3124976 h 6479439"/>
              <a:gd name="connsiteX4647" fmla="*/ 9568419 w 9586368"/>
              <a:gd name="connsiteY4647" fmla="*/ 3115105 h 6479439"/>
              <a:gd name="connsiteX4648" fmla="*/ 9333125 w 9586368"/>
              <a:gd name="connsiteY4648" fmla="*/ 3111067 h 6479439"/>
              <a:gd name="connsiteX4649" fmla="*/ 9343036 w 9586368"/>
              <a:gd name="connsiteY4649" fmla="*/ 3111067 h 6479439"/>
              <a:gd name="connsiteX4650" fmla="*/ 9347055 w 9586368"/>
              <a:gd name="connsiteY4650" fmla="*/ 3115105 h 6479439"/>
              <a:gd name="connsiteX4651" fmla="*/ 9347055 w 9586368"/>
              <a:gd name="connsiteY4651" fmla="*/ 3124976 h 6479439"/>
              <a:gd name="connsiteX4652" fmla="*/ 9343036 w 9586368"/>
              <a:gd name="connsiteY4652" fmla="*/ 3129015 h 6479439"/>
              <a:gd name="connsiteX4653" fmla="*/ 9333125 w 9586368"/>
              <a:gd name="connsiteY4653" fmla="*/ 3129015 h 6479439"/>
              <a:gd name="connsiteX4654" fmla="*/ 9329106 w 9586368"/>
              <a:gd name="connsiteY4654" fmla="*/ 3124976 h 6479439"/>
              <a:gd name="connsiteX4655" fmla="*/ 9329106 w 9586368"/>
              <a:gd name="connsiteY4655" fmla="*/ 3115105 h 6479439"/>
              <a:gd name="connsiteX4656" fmla="*/ 9093811 w 9586368"/>
              <a:gd name="connsiteY4656" fmla="*/ 3111067 h 6479439"/>
              <a:gd name="connsiteX4657" fmla="*/ 9103722 w 9586368"/>
              <a:gd name="connsiteY4657" fmla="*/ 3111067 h 6479439"/>
              <a:gd name="connsiteX4658" fmla="*/ 9107741 w 9586368"/>
              <a:gd name="connsiteY4658" fmla="*/ 3115105 h 6479439"/>
              <a:gd name="connsiteX4659" fmla="*/ 9107741 w 9586368"/>
              <a:gd name="connsiteY4659" fmla="*/ 3124976 h 6479439"/>
              <a:gd name="connsiteX4660" fmla="*/ 9103722 w 9586368"/>
              <a:gd name="connsiteY4660" fmla="*/ 3129015 h 6479439"/>
              <a:gd name="connsiteX4661" fmla="*/ 9093811 w 9586368"/>
              <a:gd name="connsiteY4661" fmla="*/ 3129015 h 6479439"/>
              <a:gd name="connsiteX4662" fmla="*/ 9089792 w 9586368"/>
              <a:gd name="connsiteY4662" fmla="*/ 3124976 h 6479439"/>
              <a:gd name="connsiteX4663" fmla="*/ 9089792 w 9586368"/>
              <a:gd name="connsiteY4663" fmla="*/ 3115105 h 6479439"/>
              <a:gd name="connsiteX4664" fmla="*/ 8854496 w 9586368"/>
              <a:gd name="connsiteY4664" fmla="*/ 3111067 h 6479439"/>
              <a:gd name="connsiteX4665" fmla="*/ 8864407 w 9586368"/>
              <a:gd name="connsiteY4665" fmla="*/ 3111067 h 6479439"/>
              <a:gd name="connsiteX4666" fmla="*/ 8868426 w 9586368"/>
              <a:gd name="connsiteY4666" fmla="*/ 3115105 h 6479439"/>
              <a:gd name="connsiteX4667" fmla="*/ 8868426 w 9586368"/>
              <a:gd name="connsiteY4667" fmla="*/ 3124976 h 6479439"/>
              <a:gd name="connsiteX4668" fmla="*/ 8864407 w 9586368"/>
              <a:gd name="connsiteY4668" fmla="*/ 3129015 h 6479439"/>
              <a:gd name="connsiteX4669" fmla="*/ 8854496 w 9586368"/>
              <a:gd name="connsiteY4669" fmla="*/ 3129015 h 6479439"/>
              <a:gd name="connsiteX4670" fmla="*/ 8850477 w 9586368"/>
              <a:gd name="connsiteY4670" fmla="*/ 3124976 h 6479439"/>
              <a:gd name="connsiteX4671" fmla="*/ 8850477 w 9586368"/>
              <a:gd name="connsiteY4671" fmla="*/ 3115105 h 6479439"/>
              <a:gd name="connsiteX4672" fmla="*/ 8615184 w 9586368"/>
              <a:gd name="connsiteY4672" fmla="*/ 3111067 h 6479439"/>
              <a:gd name="connsiteX4673" fmla="*/ 8625095 w 9586368"/>
              <a:gd name="connsiteY4673" fmla="*/ 3111067 h 6479439"/>
              <a:gd name="connsiteX4674" fmla="*/ 8629114 w 9586368"/>
              <a:gd name="connsiteY4674" fmla="*/ 3115105 h 6479439"/>
              <a:gd name="connsiteX4675" fmla="*/ 8629114 w 9586368"/>
              <a:gd name="connsiteY4675" fmla="*/ 3124976 h 6479439"/>
              <a:gd name="connsiteX4676" fmla="*/ 8625095 w 9586368"/>
              <a:gd name="connsiteY4676" fmla="*/ 3129015 h 6479439"/>
              <a:gd name="connsiteX4677" fmla="*/ 8615184 w 9586368"/>
              <a:gd name="connsiteY4677" fmla="*/ 3129015 h 6479439"/>
              <a:gd name="connsiteX4678" fmla="*/ 8611165 w 9586368"/>
              <a:gd name="connsiteY4678" fmla="*/ 3124976 h 6479439"/>
              <a:gd name="connsiteX4679" fmla="*/ 8611165 w 9586368"/>
              <a:gd name="connsiteY4679" fmla="*/ 3115105 h 6479439"/>
              <a:gd name="connsiteX4680" fmla="*/ 8375869 w 9586368"/>
              <a:gd name="connsiteY4680" fmla="*/ 3111067 h 6479439"/>
              <a:gd name="connsiteX4681" fmla="*/ 8385779 w 9586368"/>
              <a:gd name="connsiteY4681" fmla="*/ 3111067 h 6479439"/>
              <a:gd name="connsiteX4682" fmla="*/ 8389799 w 9586368"/>
              <a:gd name="connsiteY4682" fmla="*/ 3115105 h 6479439"/>
              <a:gd name="connsiteX4683" fmla="*/ 8389799 w 9586368"/>
              <a:gd name="connsiteY4683" fmla="*/ 3124976 h 6479439"/>
              <a:gd name="connsiteX4684" fmla="*/ 8385779 w 9586368"/>
              <a:gd name="connsiteY4684" fmla="*/ 3129015 h 6479439"/>
              <a:gd name="connsiteX4685" fmla="*/ 8375869 w 9586368"/>
              <a:gd name="connsiteY4685" fmla="*/ 3129015 h 6479439"/>
              <a:gd name="connsiteX4686" fmla="*/ 8371850 w 9586368"/>
              <a:gd name="connsiteY4686" fmla="*/ 3124976 h 6479439"/>
              <a:gd name="connsiteX4687" fmla="*/ 8371850 w 9586368"/>
              <a:gd name="connsiteY4687" fmla="*/ 3115105 h 6479439"/>
              <a:gd name="connsiteX4688" fmla="*/ 8136553 w 9586368"/>
              <a:gd name="connsiteY4688" fmla="*/ 3111067 h 6479439"/>
              <a:gd name="connsiteX4689" fmla="*/ 8146464 w 9586368"/>
              <a:gd name="connsiteY4689" fmla="*/ 3111067 h 6479439"/>
              <a:gd name="connsiteX4690" fmla="*/ 8150483 w 9586368"/>
              <a:gd name="connsiteY4690" fmla="*/ 3115105 h 6479439"/>
              <a:gd name="connsiteX4691" fmla="*/ 8150483 w 9586368"/>
              <a:gd name="connsiteY4691" fmla="*/ 3124976 h 6479439"/>
              <a:gd name="connsiteX4692" fmla="*/ 8146464 w 9586368"/>
              <a:gd name="connsiteY4692" fmla="*/ 3129015 h 6479439"/>
              <a:gd name="connsiteX4693" fmla="*/ 8136553 w 9586368"/>
              <a:gd name="connsiteY4693" fmla="*/ 3129015 h 6479439"/>
              <a:gd name="connsiteX4694" fmla="*/ 8132534 w 9586368"/>
              <a:gd name="connsiteY4694" fmla="*/ 3124976 h 6479439"/>
              <a:gd name="connsiteX4695" fmla="*/ 8132534 w 9586368"/>
              <a:gd name="connsiteY4695" fmla="*/ 3115105 h 6479439"/>
              <a:gd name="connsiteX4696" fmla="*/ 7897241 w 9586368"/>
              <a:gd name="connsiteY4696" fmla="*/ 3111067 h 6479439"/>
              <a:gd name="connsiteX4697" fmla="*/ 7907151 w 9586368"/>
              <a:gd name="connsiteY4697" fmla="*/ 3111067 h 6479439"/>
              <a:gd name="connsiteX4698" fmla="*/ 7911170 w 9586368"/>
              <a:gd name="connsiteY4698" fmla="*/ 3115105 h 6479439"/>
              <a:gd name="connsiteX4699" fmla="*/ 7911170 w 9586368"/>
              <a:gd name="connsiteY4699" fmla="*/ 3124976 h 6479439"/>
              <a:gd name="connsiteX4700" fmla="*/ 7907151 w 9586368"/>
              <a:gd name="connsiteY4700" fmla="*/ 3129015 h 6479439"/>
              <a:gd name="connsiteX4701" fmla="*/ 7897241 w 9586368"/>
              <a:gd name="connsiteY4701" fmla="*/ 3129015 h 6479439"/>
              <a:gd name="connsiteX4702" fmla="*/ 7893222 w 9586368"/>
              <a:gd name="connsiteY4702" fmla="*/ 3124976 h 6479439"/>
              <a:gd name="connsiteX4703" fmla="*/ 7893222 w 9586368"/>
              <a:gd name="connsiteY4703" fmla="*/ 3115105 h 6479439"/>
              <a:gd name="connsiteX4704" fmla="*/ 7657926 w 9586368"/>
              <a:gd name="connsiteY4704" fmla="*/ 3111067 h 6479439"/>
              <a:gd name="connsiteX4705" fmla="*/ 7667836 w 9586368"/>
              <a:gd name="connsiteY4705" fmla="*/ 3111067 h 6479439"/>
              <a:gd name="connsiteX4706" fmla="*/ 7671855 w 9586368"/>
              <a:gd name="connsiteY4706" fmla="*/ 3115105 h 6479439"/>
              <a:gd name="connsiteX4707" fmla="*/ 7671855 w 9586368"/>
              <a:gd name="connsiteY4707" fmla="*/ 3124976 h 6479439"/>
              <a:gd name="connsiteX4708" fmla="*/ 7667836 w 9586368"/>
              <a:gd name="connsiteY4708" fmla="*/ 3129015 h 6479439"/>
              <a:gd name="connsiteX4709" fmla="*/ 7657926 w 9586368"/>
              <a:gd name="connsiteY4709" fmla="*/ 3129015 h 6479439"/>
              <a:gd name="connsiteX4710" fmla="*/ 7653906 w 9586368"/>
              <a:gd name="connsiteY4710" fmla="*/ 3124976 h 6479439"/>
              <a:gd name="connsiteX4711" fmla="*/ 7653906 w 9586368"/>
              <a:gd name="connsiteY4711" fmla="*/ 3115105 h 6479439"/>
              <a:gd name="connsiteX4712" fmla="*/ 7418611 w 9586368"/>
              <a:gd name="connsiteY4712" fmla="*/ 3111067 h 6479439"/>
              <a:gd name="connsiteX4713" fmla="*/ 7428521 w 9586368"/>
              <a:gd name="connsiteY4713" fmla="*/ 3111067 h 6479439"/>
              <a:gd name="connsiteX4714" fmla="*/ 7432540 w 9586368"/>
              <a:gd name="connsiteY4714" fmla="*/ 3115105 h 6479439"/>
              <a:gd name="connsiteX4715" fmla="*/ 7432540 w 9586368"/>
              <a:gd name="connsiteY4715" fmla="*/ 3124976 h 6479439"/>
              <a:gd name="connsiteX4716" fmla="*/ 7428521 w 9586368"/>
              <a:gd name="connsiteY4716" fmla="*/ 3129015 h 6479439"/>
              <a:gd name="connsiteX4717" fmla="*/ 7418611 w 9586368"/>
              <a:gd name="connsiteY4717" fmla="*/ 3129015 h 6479439"/>
              <a:gd name="connsiteX4718" fmla="*/ 7414592 w 9586368"/>
              <a:gd name="connsiteY4718" fmla="*/ 3124976 h 6479439"/>
              <a:gd name="connsiteX4719" fmla="*/ 7414592 w 9586368"/>
              <a:gd name="connsiteY4719" fmla="*/ 3115105 h 6479439"/>
              <a:gd name="connsiteX4720" fmla="*/ 7179298 w 9586368"/>
              <a:gd name="connsiteY4720" fmla="*/ 3111067 h 6479439"/>
              <a:gd name="connsiteX4721" fmla="*/ 7189209 w 9586368"/>
              <a:gd name="connsiteY4721" fmla="*/ 3111067 h 6479439"/>
              <a:gd name="connsiteX4722" fmla="*/ 7193228 w 9586368"/>
              <a:gd name="connsiteY4722" fmla="*/ 3115105 h 6479439"/>
              <a:gd name="connsiteX4723" fmla="*/ 7193228 w 9586368"/>
              <a:gd name="connsiteY4723" fmla="*/ 3124976 h 6479439"/>
              <a:gd name="connsiteX4724" fmla="*/ 7189209 w 9586368"/>
              <a:gd name="connsiteY4724" fmla="*/ 3129015 h 6479439"/>
              <a:gd name="connsiteX4725" fmla="*/ 7179298 w 9586368"/>
              <a:gd name="connsiteY4725" fmla="*/ 3129015 h 6479439"/>
              <a:gd name="connsiteX4726" fmla="*/ 7175279 w 9586368"/>
              <a:gd name="connsiteY4726" fmla="*/ 3124976 h 6479439"/>
              <a:gd name="connsiteX4727" fmla="*/ 7175279 w 9586368"/>
              <a:gd name="connsiteY4727" fmla="*/ 3115105 h 6479439"/>
              <a:gd name="connsiteX4728" fmla="*/ 6939983 w 9586368"/>
              <a:gd name="connsiteY4728" fmla="*/ 3111067 h 6479439"/>
              <a:gd name="connsiteX4729" fmla="*/ 6949894 w 9586368"/>
              <a:gd name="connsiteY4729" fmla="*/ 3111067 h 6479439"/>
              <a:gd name="connsiteX4730" fmla="*/ 6953913 w 9586368"/>
              <a:gd name="connsiteY4730" fmla="*/ 3115105 h 6479439"/>
              <a:gd name="connsiteX4731" fmla="*/ 6953913 w 9586368"/>
              <a:gd name="connsiteY4731" fmla="*/ 3124976 h 6479439"/>
              <a:gd name="connsiteX4732" fmla="*/ 6949894 w 9586368"/>
              <a:gd name="connsiteY4732" fmla="*/ 3129015 h 6479439"/>
              <a:gd name="connsiteX4733" fmla="*/ 6939983 w 9586368"/>
              <a:gd name="connsiteY4733" fmla="*/ 3129015 h 6479439"/>
              <a:gd name="connsiteX4734" fmla="*/ 6935964 w 9586368"/>
              <a:gd name="connsiteY4734" fmla="*/ 3124976 h 6479439"/>
              <a:gd name="connsiteX4735" fmla="*/ 6935964 w 9586368"/>
              <a:gd name="connsiteY4735" fmla="*/ 3115105 h 6479439"/>
              <a:gd name="connsiteX4736" fmla="*/ 6700670 w 9586368"/>
              <a:gd name="connsiteY4736" fmla="*/ 3111067 h 6479439"/>
              <a:gd name="connsiteX4737" fmla="*/ 6710581 w 9586368"/>
              <a:gd name="connsiteY4737" fmla="*/ 3111067 h 6479439"/>
              <a:gd name="connsiteX4738" fmla="*/ 6714600 w 9586368"/>
              <a:gd name="connsiteY4738" fmla="*/ 3115105 h 6479439"/>
              <a:gd name="connsiteX4739" fmla="*/ 6714600 w 9586368"/>
              <a:gd name="connsiteY4739" fmla="*/ 3124976 h 6479439"/>
              <a:gd name="connsiteX4740" fmla="*/ 6710581 w 9586368"/>
              <a:gd name="connsiteY4740" fmla="*/ 3129015 h 6479439"/>
              <a:gd name="connsiteX4741" fmla="*/ 6700670 w 9586368"/>
              <a:gd name="connsiteY4741" fmla="*/ 3129015 h 6479439"/>
              <a:gd name="connsiteX4742" fmla="*/ 6696651 w 9586368"/>
              <a:gd name="connsiteY4742" fmla="*/ 3124976 h 6479439"/>
              <a:gd name="connsiteX4743" fmla="*/ 6696651 w 9586368"/>
              <a:gd name="connsiteY4743" fmla="*/ 3115105 h 6479439"/>
              <a:gd name="connsiteX4744" fmla="*/ 6461356 w 9586368"/>
              <a:gd name="connsiteY4744" fmla="*/ 3111067 h 6479439"/>
              <a:gd name="connsiteX4745" fmla="*/ 6471266 w 9586368"/>
              <a:gd name="connsiteY4745" fmla="*/ 3111067 h 6479439"/>
              <a:gd name="connsiteX4746" fmla="*/ 6475285 w 9586368"/>
              <a:gd name="connsiteY4746" fmla="*/ 3115105 h 6479439"/>
              <a:gd name="connsiteX4747" fmla="*/ 6475285 w 9586368"/>
              <a:gd name="connsiteY4747" fmla="*/ 3124976 h 6479439"/>
              <a:gd name="connsiteX4748" fmla="*/ 6471266 w 9586368"/>
              <a:gd name="connsiteY4748" fmla="*/ 3129015 h 6479439"/>
              <a:gd name="connsiteX4749" fmla="*/ 6461356 w 9586368"/>
              <a:gd name="connsiteY4749" fmla="*/ 3129015 h 6479439"/>
              <a:gd name="connsiteX4750" fmla="*/ 6457337 w 9586368"/>
              <a:gd name="connsiteY4750" fmla="*/ 3124976 h 6479439"/>
              <a:gd name="connsiteX4751" fmla="*/ 6457337 w 9586368"/>
              <a:gd name="connsiteY4751" fmla="*/ 3115105 h 6479439"/>
              <a:gd name="connsiteX4752" fmla="*/ 6222042 w 9586368"/>
              <a:gd name="connsiteY4752" fmla="*/ 3111067 h 6479439"/>
              <a:gd name="connsiteX4753" fmla="*/ 6231952 w 9586368"/>
              <a:gd name="connsiteY4753" fmla="*/ 3111067 h 6479439"/>
              <a:gd name="connsiteX4754" fmla="*/ 6235971 w 9586368"/>
              <a:gd name="connsiteY4754" fmla="*/ 3115105 h 6479439"/>
              <a:gd name="connsiteX4755" fmla="*/ 6235971 w 9586368"/>
              <a:gd name="connsiteY4755" fmla="*/ 3124976 h 6479439"/>
              <a:gd name="connsiteX4756" fmla="*/ 6231952 w 9586368"/>
              <a:gd name="connsiteY4756" fmla="*/ 3129015 h 6479439"/>
              <a:gd name="connsiteX4757" fmla="*/ 6222042 w 9586368"/>
              <a:gd name="connsiteY4757" fmla="*/ 3129015 h 6479439"/>
              <a:gd name="connsiteX4758" fmla="*/ 6218023 w 9586368"/>
              <a:gd name="connsiteY4758" fmla="*/ 3124976 h 6479439"/>
              <a:gd name="connsiteX4759" fmla="*/ 6218023 w 9586368"/>
              <a:gd name="connsiteY4759" fmla="*/ 3115105 h 6479439"/>
              <a:gd name="connsiteX4760" fmla="*/ 5982729 w 9586368"/>
              <a:gd name="connsiteY4760" fmla="*/ 3111067 h 6479439"/>
              <a:gd name="connsiteX4761" fmla="*/ 5992639 w 9586368"/>
              <a:gd name="connsiteY4761" fmla="*/ 3111067 h 6479439"/>
              <a:gd name="connsiteX4762" fmla="*/ 5996658 w 9586368"/>
              <a:gd name="connsiteY4762" fmla="*/ 3115105 h 6479439"/>
              <a:gd name="connsiteX4763" fmla="*/ 5996658 w 9586368"/>
              <a:gd name="connsiteY4763" fmla="*/ 3124976 h 6479439"/>
              <a:gd name="connsiteX4764" fmla="*/ 5992639 w 9586368"/>
              <a:gd name="connsiteY4764" fmla="*/ 3129015 h 6479439"/>
              <a:gd name="connsiteX4765" fmla="*/ 5982729 w 9586368"/>
              <a:gd name="connsiteY4765" fmla="*/ 3129015 h 6479439"/>
              <a:gd name="connsiteX4766" fmla="*/ 5978710 w 9586368"/>
              <a:gd name="connsiteY4766" fmla="*/ 3124976 h 6479439"/>
              <a:gd name="connsiteX4767" fmla="*/ 5978710 w 9586368"/>
              <a:gd name="connsiteY4767" fmla="*/ 3115105 h 6479439"/>
              <a:gd name="connsiteX4768" fmla="*/ 5743412 w 9586368"/>
              <a:gd name="connsiteY4768" fmla="*/ 3111067 h 6479439"/>
              <a:gd name="connsiteX4769" fmla="*/ 5753323 w 9586368"/>
              <a:gd name="connsiteY4769" fmla="*/ 3111067 h 6479439"/>
              <a:gd name="connsiteX4770" fmla="*/ 5757342 w 9586368"/>
              <a:gd name="connsiteY4770" fmla="*/ 3115105 h 6479439"/>
              <a:gd name="connsiteX4771" fmla="*/ 5757342 w 9586368"/>
              <a:gd name="connsiteY4771" fmla="*/ 3124976 h 6479439"/>
              <a:gd name="connsiteX4772" fmla="*/ 5753323 w 9586368"/>
              <a:gd name="connsiteY4772" fmla="*/ 3129015 h 6479439"/>
              <a:gd name="connsiteX4773" fmla="*/ 5743412 w 9586368"/>
              <a:gd name="connsiteY4773" fmla="*/ 3129015 h 6479439"/>
              <a:gd name="connsiteX4774" fmla="*/ 5739393 w 9586368"/>
              <a:gd name="connsiteY4774" fmla="*/ 3124976 h 6479439"/>
              <a:gd name="connsiteX4775" fmla="*/ 5739393 w 9586368"/>
              <a:gd name="connsiteY4775" fmla="*/ 3115105 h 6479439"/>
              <a:gd name="connsiteX4776" fmla="*/ 5504099 w 9586368"/>
              <a:gd name="connsiteY4776" fmla="*/ 3111067 h 6479439"/>
              <a:gd name="connsiteX4777" fmla="*/ 5514010 w 9586368"/>
              <a:gd name="connsiteY4777" fmla="*/ 3111067 h 6479439"/>
              <a:gd name="connsiteX4778" fmla="*/ 5518029 w 9586368"/>
              <a:gd name="connsiteY4778" fmla="*/ 3115105 h 6479439"/>
              <a:gd name="connsiteX4779" fmla="*/ 5518029 w 9586368"/>
              <a:gd name="connsiteY4779" fmla="*/ 3124976 h 6479439"/>
              <a:gd name="connsiteX4780" fmla="*/ 5514010 w 9586368"/>
              <a:gd name="connsiteY4780" fmla="*/ 3129015 h 6479439"/>
              <a:gd name="connsiteX4781" fmla="*/ 5504099 w 9586368"/>
              <a:gd name="connsiteY4781" fmla="*/ 3129015 h 6479439"/>
              <a:gd name="connsiteX4782" fmla="*/ 5500080 w 9586368"/>
              <a:gd name="connsiteY4782" fmla="*/ 3124976 h 6479439"/>
              <a:gd name="connsiteX4783" fmla="*/ 5500080 w 9586368"/>
              <a:gd name="connsiteY4783" fmla="*/ 3115105 h 6479439"/>
              <a:gd name="connsiteX4784" fmla="*/ 5264784 w 9586368"/>
              <a:gd name="connsiteY4784" fmla="*/ 3111067 h 6479439"/>
              <a:gd name="connsiteX4785" fmla="*/ 5274694 w 9586368"/>
              <a:gd name="connsiteY4785" fmla="*/ 3111067 h 6479439"/>
              <a:gd name="connsiteX4786" fmla="*/ 5278713 w 9586368"/>
              <a:gd name="connsiteY4786" fmla="*/ 3115105 h 6479439"/>
              <a:gd name="connsiteX4787" fmla="*/ 5278713 w 9586368"/>
              <a:gd name="connsiteY4787" fmla="*/ 3124976 h 6479439"/>
              <a:gd name="connsiteX4788" fmla="*/ 5274694 w 9586368"/>
              <a:gd name="connsiteY4788" fmla="*/ 3129015 h 6479439"/>
              <a:gd name="connsiteX4789" fmla="*/ 5264784 w 9586368"/>
              <a:gd name="connsiteY4789" fmla="*/ 3129015 h 6479439"/>
              <a:gd name="connsiteX4790" fmla="*/ 5260765 w 9586368"/>
              <a:gd name="connsiteY4790" fmla="*/ 3124976 h 6479439"/>
              <a:gd name="connsiteX4791" fmla="*/ 5260765 w 9586368"/>
              <a:gd name="connsiteY4791" fmla="*/ 3115105 h 6479439"/>
              <a:gd name="connsiteX4792" fmla="*/ 5025470 w 9586368"/>
              <a:gd name="connsiteY4792" fmla="*/ 3111067 h 6479439"/>
              <a:gd name="connsiteX4793" fmla="*/ 5035381 w 9586368"/>
              <a:gd name="connsiteY4793" fmla="*/ 3111067 h 6479439"/>
              <a:gd name="connsiteX4794" fmla="*/ 5039400 w 9586368"/>
              <a:gd name="connsiteY4794" fmla="*/ 3115105 h 6479439"/>
              <a:gd name="connsiteX4795" fmla="*/ 5039400 w 9586368"/>
              <a:gd name="connsiteY4795" fmla="*/ 3124976 h 6479439"/>
              <a:gd name="connsiteX4796" fmla="*/ 5035381 w 9586368"/>
              <a:gd name="connsiteY4796" fmla="*/ 3129015 h 6479439"/>
              <a:gd name="connsiteX4797" fmla="*/ 5025470 w 9586368"/>
              <a:gd name="connsiteY4797" fmla="*/ 3129015 h 6479439"/>
              <a:gd name="connsiteX4798" fmla="*/ 5021451 w 9586368"/>
              <a:gd name="connsiteY4798" fmla="*/ 3124976 h 6479439"/>
              <a:gd name="connsiteX4799" fmla="*/ 5021451 w 9586368"/>
              <a:gd name="connsiteY4799" fmla="*/ 3115105 h 6479439"/>
              <a:gd name="connsiteX4800" fmla="*/ 4786241 w 9586368"/>
              <a:gd name="connsiteY4800" fmla="*/ 3111067 h 6479439"/>
              <a:gd name="connsiteX4801" fmla="*/ 4796152 w 9586368"/>
              <a:gd name="connsiteY4801" fmla="*/ 3111067 h 6479439"/>
              <a:gd name="connsiteX4802" fmla="*/ 4800171 w 9586368"/>
              <a:gd name="connsiteY4802" fmla="*/ 3115105 h 6479439"/>
              <a:gd name="connsiteX4803" fmla="*/ 4800171 w 9586368"/>
              <a:gd name="connsiteY4803" fmla="*/ 3124976 h 6479439"/>
              <a:gd name="connsiteX4804" fmla="*/ 4796152 w 9586368"/>
              <a:gd name="connsiteY4804" fmla="*/ 3129015 h 6479439"/>
              <a:gd name="connsiteX4805" fmla="*/ 4786241 w 9586368"/>
              <a:gd name="connsiteY4805" fmla="*/ 3129015 h 6479439"/>
              <a:gd name="connsiteX4806" fmla="*/ 4782224 w 9586368"/>
              <a:gd name="connsiteY4806" fmla="*/ 3124976 h 6479439"/>
              <a:gd name="connsiteX4807" fmla="*/ 4782224 w 9586368"/>
              <a:gd name="connsiteY4807" fmla="*/ 3115105 h 6479439"/>
              <a:gd name="connsiteX4808" fmla="*/ 4546929 w 9586368"/>
              <a:gd name="connsiteY4808" fmla="*/ 3111067 h 6479439"/>
              <a:gd name="connsiteX4809" fmla="*/ 4556840 w 9586368"/>
              <a:gd name="connsiteY4809" fmla="*/ 3111067 h 6479439"/>
              <a:gd name="connsiteX4810" fmla="*/ 4560859 w 9586368"/>
              <a:gd name="connsiteY4810" fmla="*/ 3115105 h 6479439"/>
              <a:gd name="connsiteX4811" fmla="*/ 4560859 w 9586368"/>
              <a:gd name="connsiteY4811" fmla="*/ 3124976 h 6479439"/>
              <a:gd name="connsiteX4812" fmla="*/ 4556840 w 9586368"/>
              <a:gd name="connsiteY4812" fmla="*/ 3129015 h 6479439"/>
              <a:gd name="connsiteX4813" fmla="*/ 4546929 w 9586368"/>
              <a:gd name="connsiteY4813" fmla="*/ 3129015 h 6479439"/>
              <a:gd name="connsiteX4814" fmla="*/ 4542910 w 9586368"/>
              <a:gd name="connsiteY4814" fmla="*/ 3124976 h 6479439"/>
              <a:gd name="connsiteX4815" fmla="*/ 4542910 w 9586368"/>
              <a:gd name="connsiteY4815" fmla="*/ 3115105 h 6479439"/>
              <a:gd name="connsiteX4816" fmla="*/ 4307612 w 9586368"/>
              <a:gd name="connsiteY4816" fmla="*/ 3111067 h 6479439"/>
              <a:gd name="connsiteX4817" fmla="*/ 4317523 w 9586368"/>
              <a:gd name="connsiteY4817" fmla="*/ 3111067 h 6479439"/>
              <a:gd name="connsiteX4818" fmla="*/ 4321543 w 9586368"/>
              <a:gd name="connsiteY4818" fmla="*/ 3115105 h 6479439"/>
              <a:gd name="connsiteX4819" fmla="*/ 4321543 w 9586368"/>
              <a:gd name="connsiteY4819" fmla="*/ 3124976 h 6479439"/>
              <a:gd name="connsiteX4820" fmla="*/ 4317523 w 9586368"/>
              <a:gd name="connsiteY4820" fmla="*/ 3129015 h 6479439"/>
              <a:gd name="connsiteX4821" fmla="*/ 4307612 w 9586368"/>
              <a:gd name="connsiteY4821" fmla="*/ 3129015 h 6479439"/>
              <a:gd name="connsiteX4822" fmla="*/ 4303595 w 9586368"/>
              <a:gd name="connsiteY4822" fmla="*/ 3124976 h 6479439"/>
              <a:gd name="connsiteX4823" fmla="*/ 4303595 w 9586368"/>
              <a:gd name="connsiteY4823" fmla="*/ 3115105 h 6479439"/>
              <a:gd name="connsiteX4824" fmla="*/ 4068297 w 9586368"/>
              <a:gd name="connsiteY4824" fmla="*/ 3111067 h 6479439"/>
              <a:gd name="connsiteX4825" fmla="*/ 4078210 w 9586368"/>
              <a:gd name="connsiteY4825" fmla="*/ 3111067 h 6479439"/>
              <a:gd name="connsiteX4826" fmla="*/ 4082229 w 9586368"/>
              <a:gd name="connsiteY4826" fmla="*/ 3115105 h 6479439"/>
              <a:gd name="connsiteX4827" fmla="*/ 4082229 w 9586368"/>
              <a:gd name="connsiteY4827" fmla="*/ 3124976 h 6479439"/>
              <a:gd name="connsiteX4828" fmla="*/ 4078210 w 9586368"/>
              <a:gd name="connsiteY4828" fmla="*/ 3129015 h 6479439"/>
              <a:gd name="connsiteX4829" fmla="*/ 4068297 w 9586368"/>
              <a:gd name="connsiteY4829" fmla="*/ 3129015 h 6479439"/>
              <a:gd name="connsiteX4830" fmla="*/ 4064278 w 9586368"/>
              <a:gd name="connsiteY4830" fmla="*/ 3124976 h 6479439"/>
              <a:gd name="connsiteX4831" fmla="*/ 4064278 w 9586368"/>
              <a:gd name="connsiteY4831" fmla="*/ 3115105 h 6479439"/>
              <a:gd name="connsiteX4832" fmla="*/ 3828990 w 9586368"/>
              <a:gd name="connsiteY4832" fmla="*/ 3111067 h 6479439"/>
              <a:gd name="connsiteX4833" fmla="*/ 3838899 w 9586368"/>
              <a:gd name="connsiteY4833" fmla="*/ 3111067 h 6479439"/>
              <a:gd name="connsiteX4834" fmla="*/ 3842917 w 9586368"/>
              <a:gd name="connsiteY4834" fmla="*/ 3115105 h 6479439"/>
              <a:gd name="connsiteX4835" fmla="*/ 3842917 w 9586368"/>
              <a:gd name="connsiteY4835" fmla="*/ 3124976 h 6479439"/>
              <a:gd name="connsiteX4836" fmla="*/ 3838899 w 9586368"/>
              <a:gd name="connsiteY4836" fmla="*/ 3129015 h 6479439"/>
              <a:gd name="connsiteX4837" fmla="*/ 3828990 w 9586368"/>
              <a:gd name="connsiteY4837" fmla="*/ 3129015 h 6479439"/>
              <a:gd name="connsiteX4838" fmla="*/ 3824971 w 9586368"/>
              <a:gd name="connsiteY4838" fmla="*/ 3124976 h 6479439"/>
              <a:gd name="connsiteX4839" fmla="*/ 3824971 w 9586368"/>
              <a:gd name="connsiteY4839" fmla="*/ 3115105 h 6479439"/>
              <a:gd name="connsiteX4840" fmla="*/ 3589676 w 9586368"/>
              <a:gd name="connsiteY4840" fmla="*/ 3111067 h 6479439"/>
              <a:gd name="connsiteX4841" fmla="*/ 3599585 w 9586368"/>
              <a:gd name="connsiteY4841" fmla="*/ 3111067 h 6479439"/>
              <a:gd name="connsiteX4842" fmla="*/ 3603604 w 9586368"/>
              <a:gd name="connsiteY4842" fmla="*/ 3115105 h 6479439"/>
              <a:gd name="connsiteX4843" fmla="*/ 3603604 w 9586368"/>
              <a:gd name="connsiteY4843" fmla="*/ 3124976 h 6479439"/>
              <a:gd name="connsiteX4844" fmla="*/ 3599585 w 9586368"/>
              <a:gd name="connsiteY4844" fmla="*/ 3129015 h 6479439"/>
              <a:gd name="connsiteX4845" fmla="*/ 3589676 w 9586368"/>
              <a:gd name="connsiteY4845" fmla="*/ 3129015 h 6479439"/>
              <a:gd name="connsiteX4846" fmla="*/ 3585657 w 9586368"/>
              <a:gd name="connsiteY4846" fmla="*/ 3124976 h 6479439"/>
              <a:gd name="connsiteX4847" fmla="*/ 3585657 w 9586368"/>
              <a:gd name="connsiteY4847" fmla="*/ 3115105 h 6479439"/>
              <a:gd name="connsiteX4848" fmla="*/ 3350359 w 9586368"/>
              <a:gd name="connsiteY4848" fmla="*/ 3111067 h 6479439"/>
              <a:gd name="connsiteX4849" fmla="*/ 3360268 w 9586368"/>
              <a:gd name="connsiteY4849" fmla="*/ 3111067 h 6479439"/>
              <a:gd name="connsiteX4850" fmla="*/ 3364287 w 9586368"/>
              <a:gd name="connsiteY4850" fmla="*/ 3115105 h 6479439"/>
              <a:gd name="connsiteX4851" fmla="*/ 3364287 w 9586368"/>
              <a:gd name="connsiteY4851" fmla="*/ 3124976 h 6479439"/>
              <a:gd name="connsiteX4852" fmla="*/ 3360268 w 9586368"/>
              <a:gd name="connsiteY4852" fmla="*/ 3129015 h 6479439"/>
              <a:gd name="connsiteX4853" fmla="*/ 3350359 w 9586368"/>
              <a:gd name="connsiteY4853" fmla="*/ 3129015 h 6479439"/>
              <a:gd name="connsiteX4854" fmla="*/ 3346340 w 9586368"/>
              <a:gd name="connsiteY4854" fmla="*/ 3124976 h 6479439"/>
              <a:gd name="connsiteX4855" fmla="*/ 3346340 w 9586368"/>
              <a:gd name="connsiteY4855" fmla="*/ 3115105 h 6479439"/>
              <a:gd name="connsiteX4856" fmla="*/ 3111048 w 9586368"/>
              <a:gd name="connsiteY4856" fmla="*/ 3111067 h 6479439"/>
              <a:gd name="connsiteX4857" fmla="*/ 3120959 w 9586368"/>
              <a:gd name="connsiteY4857" fmla="*/ 3111067 h 6479439"/>
              <a:gd name="connsiteX4858" fmla="*/ 3124977 w 9586368"/>
              <a:gd name="connsiteY4858" fmla="*/ 3115105 h 6479439"/>
              <a:gd name="connsiteX4859" fmla="*/ 3124977 w 9586368"/>
              <a:gd name="connsiteY4859" fmla="*/ 3124976 h 6479439"/>
              <a:gd name="connsiteX4860" fmla="*/ 3120959 w 9586368"/>
              <a:gd name="connsiteY4860" fmla="*/ 3129015 h 6479439"/>
              <a:gd name="connsiteX4861" fmla="*/ 3111048 w 9586368"/>
              <a:gd name="connsiteY4861" fmla="*/ 3129015 h 6479439"/>
              <a:gd name="connsiteX4862" fmla="*/ 3107029 w 9586368"/>
              <a:gd name="connsiteY4862" fmla="*/ 3124976 h 6479439"/>
              <a:gd name="connsiteX4863" fmla="*/ 3107029 w 9586368"/>
              <a:gd name="connsiteY4863" fmla="*/ 3115105 h 6479439"/>
              <a:gd name="connsiteX4864" fmla="*/ 2871737 w 9586368"/>
              <a:gd name="connsiteY4864" fmla="*/ 3111067 h 6479439"/>
              <a:gd name="connsiteX4865" fmla="*/ 2881646 w 9586368"/>
              <a:gd name="connsiteY4865" fmla="*/ 3111067 h 6479439"/>
              <a:gd name="connsiteX4866" fmla="*/ 2885666 w 9586368"/>
              <a:gd name="connsiteY4866" fmla="*/ 3115105 h 6479439"/>
              <a:gd name="connsiteX4867" fmla="*/ 2885666 w 9586368"/>
              <a:gd name="connsiteY4867" fmla="*/ 3124976 h 6479439"/>
              <a:gd name="connsiteX4868" fmla="*/ 2881646 w 9586368"/>
              <a:gd name="connsiteY4868" fmla="*/ 3129015 h 6479439"/>
              <a:gd name="connsiteX4869" fmla="*/ 2871737 w 9586368"/>
              <a:gd name="connsiteY4869" fmla="*/ 3129015 h 6479439"/>
              <a:gd name="connsiteX4870" fmla="*/ 2867717 w 9586368"/>
              <a:gd name="connsiteY4870" fmla="*/ 3124976 h 6479439"/>
              <a:gd name="connsiteX4871" fmla="*/ 2867717 w 9586368"/>
              <a:gd name="connsiteY4871" fmla="*/ 3115105 h 6479439"/>
              <a:gd name="connsiteX4872" fmla="*/ 2632423 w 9586368"/>
              <a:gd name="connsiteY4872" fmla="*/ 3111067 h 6479439"/>
              <a:gd name="connsiteX4873" fmla="*/ 2642334 w 9586368"/>
              <a:gd name="connsiteY4873" fmla="*/ 3111067 h 6479439"/>
              <a:gd name="connsiteX4874" fmla="*/ 2646352 w 9586368"/>
              <a:gd name="connsiteY4874" fmla="*/ 3115105 h 6479439"/>
              <a:gd name="connsiteX4875" fmla="*/ 2646352 w 9586368"/>
              <a:gd name="connsiteY4875" fmla="*/ 3124976 h 6479439"/>
              <a:gd name="connsiteX4876" fmla="*/ 2642334 w 9586368"/>
              <a:gd name="connsiteY4876" fmla="*/ 3129015 h 6479439"/>
              <a:gd name="connsiteX4877" fmla="*/ 2632423 w 9586368"/>
              <a:gd name="connsiteY4877" fmla="*/ 3129015 h 6479439"/>
              <a:gd name="connsiteX4878" fmla="*/ 2628404 w 9586368"/>
              <a:gd name="connsiteY4878" fmla="*/ 3124976 h 6479439"/>
              <a:gd name="connsiteX4879" fmla="*/ 2628404 w 9586368"/>
              <a:gd name="connsiteY4879" fmla="*/ 3115105 h 6479439"/>
              <a:gd name="connsiteX4880" fmla="*/ 2393104 w 9586368"/>
              <a:gd name="connsiteY4880" fmla="*/ 3111067 h 6479439"/>
              <a:gd name="connsiteX4881" fmla="*/ 2403015 w 9586368"/>
              <a:gd name="connsiteY4881" fmla="*/ 3111067 h 6479439"/>
              <a:gd name="connsiteX4882" fmla="*/ 2407034 w 9586368"/>
              <a:gd name="connsiteY4882" fmla="*/ 3115105 h 6479439"/>
              <a:gd name="connsiteX4883" fmla="*/ 2407034 w 9586368"/>
              <a:gd name="connsiteY4883" fmla="*/ 3124976 h 6479439"/>
              <a:gd name="connsiteX4884" fmla="*/ 2403015 w 9586368"/>
              <a:gd name="connsiteY4884" fmla="*/ 3129015 h 6479439"/>
              <a:gd name="connsiteX4885" fmla="*/ 2393104 w 9586368"/>
              <a:gd name="connsiteY4885" fmla="*/ 3129015 h 6479439"/>
              <a:gd name="connsiteX4886" fmla="*/ 2389087 w 9586368"/>
              <a:gd name="connsiteY4886" fmla="*/ 3124976 h 6479439"/>
              <a:gd name="connsiteX4887" fmla="*/ 2389087 w 9586368"/>
              <a:gd name="connsiteY4887" fmla="*/ 3115105 h 6479439"/>
              <a:gd name="connsiteX4888" fmla="*/ 721968 w 9586368"/>
              <a:gd name="connsiteY4888" fmla="*/ 3111067 h 6479439"/>
              <a:gd name="connsiteX4889" fmla="*/ 731878 w 9586368"/>
              <a:gd name="connsiteY4889" fmla="*/ 3111067 h 6479439"/>
              <a:gd name="connsiteX4890" fmla="*/ 735897 w 9586368"/>
              <a:gd name="connsiteY4890" fmla="*/ 3115105 h 6479439"/>
              <a:gd name="connsiteX4891" fmla="*/ 735897 w 9586368"/>
              <a:gd name="connsiteY4891" fmla="*/ 3124976 h 6479439"/>
              <a:gd name="connsiteX4892" fmla="*/ 731878 w 9586368"/>
              <a:gd name="connsiteY4892" fmla="*/ 3129015 h 6479439"/>
              <a:gd name="connsiteX4893" fmla="*/ 721968 w 9586368"/>
              <a:gd name="connsiteY4893" fmla="*/ 3129015 h 6479439"/>
              <a:gd name="connsiteX4894" fmla="*/ 717949 w 9586368"/>
              <a:gd name="connsiteY4894" fmla="*/ 3124976 h 6479439"/>
              <a:gd name="connsiteX4895" fmla="*/ 717949 w 9586368"/>
              <a:gd name="connsiteY4895" fmla="*/ 3115105 h 6479439"/>
              <a:gd name="connsiteX4896" fmla="*/ 482656 w 9586368"/>
              <a:gd name="connsiteY4896" fmla="*/ 3111067 h 6479439"/>
              <a:gd name="connsiteX4897" fmla="*/ 492566 w 9586368"/>
              <a:gd name="connsiteY4897" fmla="*/ 3111067 h 6479439"/>
              <a:gd name="connsiteX4898" fmla="*/ 496585 w 9586368"/>
              <a:gd name="connsiteY4898" fmla="*/ 3115105 h 6479439"/>
              <a:gd name="connsiteX4899" fmla="*/ 496585 w 9586368"/>
              <a:gd name="connsiteY4899" fmla="*/ 3124976 h 6479439"/>
              <a:gd name="connsiteX4900" fmla="*/ 492566 w 9586368"/>
              <a:gd name="connsiteY4900" fmla="*/ 3129015 h 6479439"/>
              <a:gd name="connsiteX4901" fmla="*/ 482656 w 9586368"/>
              <a:gd name="connsiteY4901" fmla="*/ 3129015 h 6479439"/>
              <a:gd name="connsiteX4902" fmla="*/ 478637 w 9586368"/>
              <a:gd name="connsiteY4902" fmla="*/ 3124976 h 6479439"/>
              <a:gd name="connsiteX4903" fmla="*/ 478637 w 9586368"/>
              <a:gd name="connsiteY4903" fmla="*/ 3115105 h 6479439"/>
              <a:gd name="connsiteX4904" fmla="*/ 243342 w 9586368"/>
              <a:gd name="connsiteY4904" fmla="*/ 3111067 h 6479439"/>
              <a:gd name="connsiteX4905" fmla="*/ 253252 w 9586368"/>
              <a:gd name="connsiteY4905" fmla="*/ 3111067 h 6479439"/>
              <a:gd name="connsiteX4906" fmla="*/ 257271 w 9586368"/>
              <a:gd name="connsiteY4906" fmla="*/ 3115105 h 6479439"/>
              <a:gd name="connsiteX4907" fmla="*/ 257271 w 9586368"/>
              <a:gd name="connsiteY4907" fmla="*/ 3124976 h 6479439"/>
              <a:gd name="connsiteX4908" fmla="*/ 253252 w 9586368"/>
              <a:gd name="connsiteY4908" fmla="*/ 3129015 h 6479439"/>
              <a:gd name="connsiteX4909" fmla="*/ 243342 w 9586368"/>
              <a:gd name="connsiteY4909" fmla="*/ 3129015 h 6479439"/>
              <a:gd name="connsiteX4910" fmla="*/ 239323 w 9586368"/>
              <a:gd name="connsiteY4910" fmla="*/ 3124976 h 6479439"/>
              <a:gd name="connsiteX4911" fmla="*/ 239323 w 9586368"/>
              <a:gd name="connsiteY4911" fmla="*/ 3115105 h 6479439"/>
              <a:gd name="connsiteX4912" fmla="*/ 4029 w 9586368"/>
              <a:gd name="connsiteY4912" fmla="*/ 3111067 h 6479439"/>
              <a:gd name="connsiteX4913" fmla="*/ 13939 w 9586368"/>
              <a:gd name="connsiteY4913" fmla="*/ 3111067 h 6479439"/>
              <a:gd name="connsiteX4914" fmla="*/ 17959 w 9586368"/>
              <a:gd name="connsiteY4914" fmla="*/ 3115105 h 6479439"/>
              <a:gd name="connsiteX4915" fmla="*/ 17959 w 9586368"/>
              <a:gd name="connsiteY4915" fmla="*/ 3124976 h 6479439"/>
              <a:gd name="connsiteX4916" fmla="*/ 13939 w 9586368"/>
              <a:gd name="connsiteY4916" fmla="*/ 3129015 h 6479439"/>
              <a:gd name="connsiteX4917" fmla="*/ 4029 w 9586368"/>
              <a:gd name="connsiteY4917" fmla="*/ 3129015 h 6479439"/>
              <a:gd name="connsiteX4918" fmla="*/ 10 w 9586368"/>
              <a:gd name="connsiteY4918" fmla="*/ 3124976 h 6479439"/>
              <a:gd name="connsiteX4919" fmla="*/ 10 w 9586368"/>
              <a:gd name="connsiteY4919" fmla="*/ 3115105 h 6479439"/>
              <a:gd name="connsiteX4920" fmla="*/ 2157820 w 9586368"/>
              <a:gd name="connsiteY4920" fmla="*/ 2871788 h 6479439"/>
              <a:gd name="connsiteX4921" fmla="*/ 2167732 w 9586368"/>
              <a:gd name="connsiteY4921" fmla="*/ 2871788 h 6479439"/>
              <a:gd name="connsiteX4922" fmla="*/ 2171750 w 9586368"/>
              <a:gd name="connsiteY4922" fmla="*/ 2875826 h 6479439"/>
              <a:gd name="connsiteX4923" fmla="*/ 2171750 w 9586368"/>
              <a:gd name="connsiteY4923" fmla="*/ 2885696 h 6479439"/>
              <a:gd name="connsiteX4924" fmla="*/ 2167732 w 9586368"/>
              <a:gd name="connsiteY4924" fmla="*/ 2889735 h 6479439"/>
              <a:gd name="connsiteX4925" fmla="*/ 2157820 w 9586368"/>
              <a:gd name="connsiteY4925" fmla="*/ 2889735 h 6479439"/>
              <a:gd name="connsiteX4926" fmla="*/ 2153802 w 9586368"/>
              <a:gd name="connsiteY4926" fmla="*/ 2885696 h 6479439"/>
              <a:gd name="connsiteX4927" fmla="*/ 2153802 w 9586368"/>
              <a:gd name="connsiteY4927" fmla="*/ 2875826 h 6479439"/>
              <a:gd name="connsiteX4928" fmla="*/ 1918513 w 9586368"/>
              <a:gd name="connsiteY4928" fmla="*/ 2871788 h 6479439"/>
              <a:gd name="connsiteX4929" fmla="*/ 1928422 w 9586368"/>
              <a:gd name="connsiteY4929" fmla="*/ 2871788 h 6479439"/>
              <a:gd name="connsiteX4930" fmla="*/ 1932441 w 9586368"/>
              <a:gd name="connsiteY4930" fmla="*/ 2875826 h 6479439"/>
              <a:gd name="connsiteX4931" fmla="*/ 1932441 w 9586368"/>
              <a:gd name="connsiteY4931" fmla="*/ 2885696 h 6479439"/>
              <a:gd name="connsiteX4932" fmla="*/ 1928422 w 9586368"/>
              <a:gd name="connsiteY4932" fmla="*/ 2889735 h 6479439"/>
              <a:gd name="connsiteX4933" fmla="*/ 1918513 w 9586368"/>
              <a:gd name="connsiteY4933" fmla="*/ 2889735 h 6479439"/>
              <a:gd name="connsiteX4934" fmla="*/ 1914493 w 9586368"/>
              <a:gd name="connsiteY4934" fmla="*/ 2885696 h 6479439"/>
              <a:gd name="connsiteX4935" fmla="*/ 1914493 w 9586368"/>
              <a:gd name="connsiteY4935" fmla="*/ 2875826 h 6479439"/>
              <a:gd name="connsiteX4936" fmla="*/ 1679211 w 9586368"/>
              <a:gd name="connsiteY4936" fmla="*/ 2871788 h 6479439"/>
              <a:gd name="connsiteX4937" fmla="*/ 1689121 w 9586368"/>
              <a:gd name="connsiteY4937" fmla="*/ 2871788 h 6479439"/>
              <a:gd name="connsiteX4938" fmla="*/ 1693141 w 9586368"/>
              <a:gd name="connsiteY4938" fmla="*/ 2875826 h 6479439"/>
              <a:gd name="connsiteX4939" fmla="*/ 1693141 w 9586368"/>
              <a:gd name="connsiteY4939" fmla="*/ 2885696 h 6479439"/>
              <a:gd name="connsiteX4940" fmla="*/ 1689121 w 9586368"/>
              <a:gd name="connsiteY4940" fmla="*/ 2889735 h 6479439"/>
              <a:gd name="connsiteX4941" fmla="*/ 1679211 w 9586368"/>
              <a:gd name="connsiteY4941" fmla="*/ 2889735 h 6479439"/>
              <a:gd name="connsiteX4942" fmla="*/ 1675193 w 9586368"/>
              <a:gd name="connsiteY4942" fmla="*/ 2885696 h 6479439"/>
              <a:gd name="connsiteX4943" fmla="*/ 1675193 w 9586368"/>
              <a:gd name="connsiteY4943" fmla="*/ 2875826 h 6479439"/>
              <a:gd name="connsiteX4944" fmla="*/ 1439895 w 9586368"/>
              <a:gd name="connsiteY4944" fmla="*/ 2871788 h 6479439"/>
              <a:gd name="connsiteX4945" fmla="*/ 1449805 w 9586368"/>
              <a:gd name="connsiteY4945" fmla="*/ 2871788 h 6479439"/>
              <a:gd name="connsiteX4946" fmla="*/ 1453824 w 9586368"/>
              <a:gd name="connsiteY4946" fmla="*/ 2875826 h 6479439"/>
              <a:gd name="connsiteX4947" fmla="*/ 1453824 w 9586368"/>
              <a:gd name="connsiteY4947" fmla="*/ 2885696 h 6479439"/>
              <a:gd name="connsiteX4948" fmla="*/ 1449805 w 9586368"/>
              <a:gd name="connsiteY4948" fmla="*/ 2889735 h 6479439"/>
              <a:gd name="connsiteX4949" fmla="*/ 1439895 w 9586368"/>
              <a:gd name="connsiteY4949" fmla="*/ 2889735 h 6479439"/>
              <a:gd name="connsiteX4950" fmla="*/ 1435876 w 9586368"/>
              <a:gd name="connsiteY4950" fmla="*/ 2885696 h 6479439"/>
              <a:gd name="connsiteX4951" fmla="*/ 1435876 w 9586368"/>
              <a:gd name="connsiteY4951" fmla="*/ 2875826 h 6479439"/>
              <a:gd name="connsiteX4952" fmla="*/ 1200579 w 9586368"/>
              <a:gd name="connsiteY4952" fmla="*/ 2871788 h 6479439"/>
              <a:gd name="connsiteX4953" fmla="*/ 1210489 w 9586368"/>
              <a:gd name="connsiteY4953" fmla="*/ 2871788 h 6479439"/>
              <a:gd name="connsiteX4954" fmla="*/ 1214509 w 9586368"/>
              <a:gd name="connsiteY4954" fmla="*/ 2875826 h 6479439"/>
              <a:gd name="connsiteX4955" fmla="*/ 1214509 w 9586368"/>
              <a:gd name="connsiteY4955" fmla="*/ 2885696 h 6479439"/>
              <a:gd name="connsiteX4956" fmla="*/ 1210489 w 9586368"/>
              <a:gd name="connsiteY4956" fmla="*/ 2889735 h 6479439"/>
              <a:gd name="connsiteX4957" fmla="*/ 1200579 w 9586368"/>
              <a:gd name="connsiteY4957" fmla="*/ 2889735 h 6479439"/>
              <a:gd name="connsiteX4958" fmla="*/ 1196560 w 9586368"/>
              <a:gd name="connsiteY4958" fmla="*/ 2885696 h 6479439"/>
              <a:gd name="connsiteX4959" fmla="*/ 1196560 w 9586368"/>
              <a:gd name="connsiteY4959" fmla="*/ 2875826 h 6479439"/>
              <a:gd name="connsiteX4960" fmla="*/ 961267 w 9586368"/>
              <a:gd name="connsiteY4960" fmla="*/ 2871788 h 6479439"/>
              <a:gd name="connsiteX4961" fmla="*/ 971177 w 9586368"/>
              <a:gd name="connsiteY4961" fmla="*/ 2871788 h 6479439"/>
              <a:gd name="connsiteX4962" fmla="*/ 975195 w 9586368"/>
              <a:gd name="connsiteY4962" fmla="*/ 2875826 h 6479439"/>
              <a:gd name="connsiteX4963" fmla="*/ 975195 w 9586368"/>
              <a:gd name="connsiteY4963" fmla="*/ 2885696 h 6479439"/>
              <a:gd name="connsiteX4964" fmla="*/ 971177 w 9586368"/>
              <a:gd name="connsiteY4964" fmla="*/ 2889735 h 6479439"/>
              <a:gd name="connsiteX4965" fmla="*/ 961267 w 9586368"/>
              <a:gd name="connsiteY4965" fmla="*/ 2889735 h 6479439"/>
              <a:gd name="connsiteX4966" fmla="*/ 957247 w 9586368"/>
              <a:gd name="connsiteY4966" fmla="*/ 2885696 h 6479439"/>
              <a:gd name="connsiteX4967" fmla="*/ 957247 w 9586368"/>
              <a:gd name="connsiteY4967" fmla="*/ 2875826 h 6479439"/>
              <a:gd name="connsiteX4968" fmla="*/ 9572438 w 9586368"/>
              <a:gd name="connsiteY4968" fmla="*/ 2871736 h 6479439"/>
              <a:gd name="connsiteX4969" fmla="*/ 9582349 w 9586368"/>
              <a:gd name="connsiteY4969" fmla="*/ 2871736 h 6479439"/>
              <a:gd name="connsiteX4970" fmla="*/ 9586368 w 9586368"/>
              <a:gd name="connsiteY4970" fmla="*/ 2875775 h 6479439"/>
              <a:gd name="connsiteX4971" fmla="*/ 9586368 w 9586368"/>
              <a:gd name="connsiteY4971" fmla="*/ 2885645 h 6479439"/>
              <a:gd name="connsiteX4972" fmla="*/ 9582349 w 9586368"/>
              <a:gd name="connsiteY4972" fmla="*/ 2889684 h 6479439"/>
              <a:gd name="connsiteX4973" fmla="*/ 9572438 w 9586368"/>
              <a:gd name="connsiteY4973" fmla="*/ 2889684 h 6479439"/>
              <a:gd name="connsiteX4974" fmla="*/ 9568419 w 9586368"/>
              <a:gd name="connsiteY4974" fmla="*/ 2885645 h 6479439"/>
              <a:gd name="connsiteX4975" fmla="*/ 9568419 w 9586368"/>
              <a:gd name="connsiteY4975" fmla="*/ 2875775 h 6479439"/>
              <a:gd name="connsiteX4976" fmla="*/ 9333125 w 9586368"/>
              <a:gd name="connsiteY4976" fmla="*/ 2871736 h 6479439"/>
              <a:gd name="connsiteX4977" fmla="*/ 9343036 w 9586368"/>
              <a:gd name="connsiteY4977" fmla="*/ 2871736 h 6479439"/>
              <a:gd name="connsiteX4978" fmla="*/ 9347055 w 9586368"/>
              <a:gd name="connsiteY4978" fmla="*/ 2875775 h 6479439"/>
              <a:gd name="connsiteX4979" fmla="*/ 9347055 w 9586368"/>
              <a:gd name="connsiteY4979" fmla="*/ 2885645 h 6479439"/>
              <a:gd name="connsiteX4980" fmla="*/ 9343036 w 9586368"/>
              <a:gd name="connsiteY4980" fmla="*/ 2889684 h 6479439"/>
              <a:gd name="connsiteX4981" fmla="*/ 9333125 w 9586368"/>
              <a:gd name="connsiteY4981" fmla="*/ 2889684 h 6479439"/>
              <a:gd name="connsiteX4982" fmla="*/ 9329106 w 9586368"/>
              <a:gd name="connsiteY4982" fmla="*/ 2885645 h 6479439"/>
              <a:gd name="connsiteX4983" fmla="*/ 9329106 w 9586368"/>
              <a:gd name="connsiteY4983" fmla="*/ 2875775 h 6479439"/>
              <a:gd name="connsiteX4984" fmla="*/ 9093811 w 9586368"/>
              <a:gd name="connsiteY4984" fmla="*/ 2871736 h 6479439"/>
              <a:gd name="connsiteX4985" fmla="*/ 9103722 w 9586368"/>
              <a:gd name="connsiteY4985" fmla="*/ 2871736 h 6479439"/>
              <a:gd name="connsiteX4986" fmla="*/ 9107741 w 9586368"/>
              <a:gd name="connsiteY4986" fmla="*/ 2875775 h 6479439"/>
              <a:gd name="connsiteX4987" fmla="*/ 9107741 w 9586368"/>
              <a:gd name="connsiteY4987" fmla="*/ 2885645 h 6479439"/>
              <a:gd name="connsiteX4988" fmla="*/ 9103722 w 9586368"/>
              <a:gd name="connsiteY4988" fmla="*/ 2889684 h 6479439"/>
              <a:gd name="connsiteX4989" fmla="*/ 9093811 w 9586368"/>
              <a:gd name="connsiteY4989" fmla="*/ 2889684 h 6479439"/>
              <a:gd name="connsiteX4990" fmla="*/ 9089792 w 9586368"/>
              <a:gd name="connsiteY4990" fmla="*/ 2885645 h 6479439"/>
              <a:gd name="connsiteX4991" fmla="*/ 9089792 w 9586368"/>
              <a:gd name="connsiteY4991" fmla="*/ 2875775 h 6479439"/>
              <a:gd name="connsiteX4992" fmla="*/ 8854496 w 9586368"/>
              <a:gd name="connsiteY4992" fmla="*/ 2871736 h 6479439"/>
              <a:gd name="connsiteX4993" fmla="*/ 8864407 w 9586368"/>
              <a:gd name="connsiteY4993" fmla="*/ 2871736 h 6479439"/>
              <a:gd name="connsiteX4994" fmla="*/ 8868426 w 9586368"/>
              <a:gd name="connsiteY4994" fmla="*/ 2875775 h 6479439"/>
              <a:gd name="connsiteX4995" fmla="*/ 8868426 w 9586368"/>
              <a:gd name="connsiteY4995" fmla="*/ 2885645 h 6479439"/>
              <a:gd name="connsiteX4996" fmla="*/ 8864407 w 9586368"/>
              <a:gd name="connsiteY4996" fmla="*/ 2889684 h 6479439"/>
              <a:gd name="connsiteX4997" fmla="*/ 8854496 w 9586368"/>
              <a:gd name="connsiteY4997" fmla="*/ 2889684 h 6479439"/>
              <a:gd name="connsiteX4998" fmla="*/ 8850477 w 9586368"/>
              <a:gd name="connsiteY4998" fmla="*/ 2885645 h 6479439"/>
              <a:gd name="connsiteX4999" fmla="*/ 8850477 w 9586368"/>
              <a:gd name="connsiteY4999" fmla="*/ 2875775 h 6479439"/>
              <a:gd name="connsiteX5000" fmla="*/ 8615184 w 9586368"/>
              <a:gd name="connsiteY5000" fmla="*/ 2871736 h 6479439"/>
              <a:gd name="connsiteX5001" fmla="*/ 8625095 w 9586368"/>
              <a:gd name="connsiteY5001" fmla="*/ 2871736 h 6479439"/>
              <a:gd name="connsiteX5002" fmla="*/ 8629114 w 9586368"/>
              <a:gd name="connsiteY5002" fmla="*/ 2875775 h 6479439"/>
              <a:gd name="connsiteX5003" fmla="*/ 8629114 w 9586368"/>
              <a:gd name="connsiteY5003" fmla="*/ 2885645 h 6479439"/>
              <a:gd name="connsiteX5004" fmla="*/ 8625095 w 9586368"/>
              <a:gd name="connsiteY5004" fmla="*/ 2889684 h 6479439"/>
              <a:gd name="connsiteX5005" fmla="*/ 8615184 w 9586368"/>
              <a:gd name="connsiteY5005" fmla="*/ 2889684 h 6479439"/>
              <a:gd name="connsiteX5006" fmla="*/ 8611165 w 9586368"/>
              <a:gd name="connsiteY5006" fmla="*/ 2885645 h 6479439"/>
              <a:gd name="connsiteX5007" fmla="*/ 8611165 w 9586368"/>
              <a:gd name="connsiteY5007" fmla="*/ 2875775 h 6479439"/>
              <a:gd name="connsiteX5008" fmla="*/ 8375869 w 9586368"/>
              <a:gd name="connsiteY5008" fmla="*/ 2871736 h 6479439"/>
              <a:gd name="connsiteX5009" fmla="*/ 8385779 w 9586368"/>
              <a:gd name="connsiteY5009" fmla="*/ 2871736 h 6479439"/>
              <a:gd name="connsiteX5010" fmla="*/ 8389799 w 9586368"/>
              <a:gd name="connsiteY5010" fmla="*/ 2875775 h 6479439"/>
              <a:gd name="connsiteX5011" fmla="*/ 8389799 w 9586368"/>
              <a:gd name="connsiteY5011" fmla="*/ 2885645 h 6479439"/>
              <a:gd name="connsiteX5012" fmla="*/ 8385779 w 9586368"/>
              <a:gd name="connsiteY5012" fmla="*/ 2889684 h 6479439"/>
              <a:gd name="connsiteX5013" fmla="*/ 8375869 w 9586368"/>
              <a:gd name="connsiteY5013" fmla="*/ 2889684 h 6479439"/>
              <a:gd name="connsiteX5014" fmla="*/ 8371850 w 9586368"/>
              <a:gd name="connsiteY5014" fmla="*/ 2885645 h 6479439"/>
              <a:gd name="connsiteX5015" fmla="*/ 8371850 w 9586368"/>
              <a:gd name="connsiteY5015" fmla="*/ 2875775 h 6479439"/>
              <a:gd name="connsiteX5016" fmla="*/ 8136553 w 9586368"/>
              <a:gd name="connsiteY5016" fmla="*/ 2871736 h 6479439"/>
              <a:gd name="connsiteX5017" fmla="*/ 8146464 w 9586368"/>
              <a:gd name="connsiteY5017" fmla="*/ 2871736 h 6479439"/>
              <a:gd name="connsiteX5018" fmla="*/ 8150483 w 9586368"/>
              <a:gd name="connsiteY5018" fmla="*/ 2875775 h 6479439"/>
              <a:gd name="connsiteX5019" fmla="*/ 8150483 w 9586368"/>
              <a:gd name="connsiteY5019" fmla="*/ 2885645 h 6479439"/>
              <a:gd name="connsiteX5020" fmla="*/ 8146464 w 9586368"/>
              <a:gd name="connsiteY5020" fmla="*/ 2889684 h 6479439"/>
              <a:gd name="connsiteX5021" fmla="*/ 8136553 w 9586368"/>
              <a:gd name="connsiteY5021" fmla="*/ 2889684 h 6479439"/>
              <a:gd name="connsiteX5022" fmla="*/ 8132534 w 9586368"/>
              <a:gd name="connsiteY5022" fmla="*/ 2885645 h 6479439"/>
              <a:gd name="connsiteX5023" fmla="*/ 8132534 w 9586368"/>
              <a:gd name="connsiteY5023" fmla="*/ 2875775 h 6479439"/>
              <a:gd name="connsiteX5024" fmla="*/ 7897241 w 9586368"/>
              <a:gd name="connsiteY5024" fmla="*/ 2871736 h 6479439"/>
              <a:gd name="connsiteX5025" fmla="*/ 7907151 w 9586368"/>
              <a:gd name="connsiteY5025" fmla="*/ 2871736 h 6479439"/>
              <a:gd name="connsiteX5026" fmla="*/ 7911170 w 9586368"/>
              <a:gd name="connsiteY5026" fmla="*/ 2875775 h 6479439"/>
              <a:gd name="connsiteX5027" fmla="*/ 7911170 w 9586368"/>
              <a:gd name="connsiteY5027" fmla="*/ 2885645 h 6479439"/>
              <a:gd name="connsiteX5028" fmla="*/ 7907151 w 9586368"/>
              <a:gd name="connsiteY5028" fmla="*/ 2889684 h 6479439"/>
              <a:gd name="connsiteX5029" fmla="*/ 7897241 w 9586368"/>
              <a:gd name="connsiteY5029" fmla="*/ 2889684 h 6479439"/>
              <a:gd name="connsiteX5030" fmla="*/ 7893222 w 9586368"/>
              <a:gd name="connsiteY5030" fmla="*/ 2885645 h 6479439"/>
              <a:gd name="connsiteX5031" fmla="*/ 7893222 w 9586368"/>
              <a:gd name="connsiteY5031" fmla="*/ 2875775 h 6479439"/>
              <a:gd name="connsiteX5032" fmla="*/ 7657926 w 9586368"/>
              <a:gd name="connsiteY5032" fmla="*/ 2871736 h 6479439"/>
              <a:gd name="connsiteX5033" fmla="*/ 7667836 w 9586368"/>
              <a:gd name="connsiteY5033" fmla="*/ 2871736 h 6479439"/>
              <a:gd name="connsiteX5034" fmla="*/ 7671855 w 9586368"/>
              <a:gd name="connsiteY5034" fmla="*/ 2875775 h 6479439"/>
              <a:gd name="connsiteX5035" fmla="*/ 7671855 w 9586368"/>
              <a:gd name="connsiteY5035" fmla="*/ 2885645 h 6479439"/>
              <a:gd name="connsiteX5036" fmla="*/ 7667836 w 9586368"/>
              <a:gd name="connsiteY5036" fmla="*/ 2889684 h 6479439"/>
              <a:gd name="connsiteX5037" fmla="*/ 7657926 w 9586368"/>
              <a:gd name="connsiteY5037" fmla="*/ 2889684 h 6479439"/>
              <a:gd name="connsiteX5038" fmla="*/ 7653906 w 9586368"/>
              <a:gd name="connsiteY5038" fmla="*/ 2885645 h 6479439"/>
              <a:gd name="connsiteX5039" fmla="*/ 7653906 w 9586368"/>
              <a:gd name="connsiteY5039" fmla="*/ 2875775 h 6479439"/>
              <a:gd name="connsiteX5040" fmla="*/ 7418611 w 9586368"/>
              <a:gd name="connsiteY5040" fmla="*/ 2871736 h 6479439"/>
              <a:gd name="connsiteX5041" fmla="*/ 7428521 w 9586368"/>
              <a:gd name="connsiteY5041" fmla="*/ 2871736 h 6479439"/>
              <a:gd name="connsiteX5042" fmla="*/ 7432540 w 9586368"/>
              <a:gd name="connsiteY5042" fmla="*/ 2875775 h 6479439"/>
              <a:gd name="connsiteX5043" fmla="*/ 7432540 w 9586368"/>
              <a:gd name="connsiteY5043" fmla="*/ 2885645 h 6479439"/>
              <a:gd name="connsiteX5044" fmla="*/ 7428521 w 9586368"/>
              <a:gd name="connsiteY5044" fmla="*/ 2889684 h 6479439"/>
              <a:gd name="connsiteX5045" fmla="*/ 7418611 w 9586368"/>
              <a:gd name="connsiteY5045" fmla="*/ 2889684 h 6479439"/>
              <a:gd name="connsiteX5046" fmla="*/ 7414592 w 9586368"/>
              <a:gd name="connsiteY5046" fmla="*/ 2885645 h 6479439"/>
              <a:gd name="connsiteX5047" fmla="*/ 7414592 w 9586368"/>
              <a:gd name="connsiteY5047" fmla="*/ 2875775 h 6479439"/>
              <a:gd name="connsiteX5048" fmla="*/ 7179298 w 9586368"/>
              <a:gd name="connsiteY5048" fmla="*/ 2871736 h 6479439"/>
              <a:gd name="connsiteX5049" fmla="*/ 7189209 w 9586368"/>
              <a:gd name="connsiteY5049" fmla="*/ 2871736 h 6479439"/>
              <a:gd name="connsiteX5050" fmla="*/ 7193228 w 9586368"/>
              <a:gd name="connsiteY5050" fmla="*/ 2875775 h 6479439"/>
              <a:gd name="connsiteX5051" fmla="*/ 7193228 w 9586368"/>
              <a:gd name="connsiteY5051" fmla="*/ 2885645 h 6479439"/>
              <a:gd name="connsiteX5052" fmla="*/ 7189209 w 9586368"/>
              <a:gd name="connsiteY5052" fmla="*/ 2889684 h 6479439"/>
              <a:gd name="connsiteX5053" fmla="*/ 7179298 w 9586368"/>
              <a:gd name="connsiteY5053" fmla="*/ 2889684 h 6479439"/>
              <a:gd name="connsiteX5054" fmla="*/ 7175279 w 9586368"/>
              <a:gd name="connsiteY5054" fmla="*/ 2885645 h 6479439"/>
              <a:gd name="connsiteX5055" fmla="*/ 7175279 w 9586368"/>
              <a:gd name="connsiteY5055" fmla="*/ 2875775 h 6479439"/>
              <a:gd name="connsiteX5056" fmla="*/ 6939983 w 9586368"/>
              <a:gd name="connsiteY5056" fmla="*/ 2871736 h 6479439"/>
              <a:gd name="connsiteX5057" fmla="*/ 6949894 w 9586368"/>
              <a:gd name="connsiteY5057" fmla="*/ 2871736 h 6479439"/>
              <a:gd name="connsiteX5058" fmla="*/ 6953913 w 9586368"/>
              <a:gd name="connsiteY5058" fmla="*/ 2875775 h 6479439"/>
              <a:gd name="connsiteX5059" fmla="*/ 6953913 w 9586368"/>
              <a:gd name="connsiteY5059" fmla="*/ 2885645 h 6479439"/>
              <a:gd name="connsiteX5060" fmla="*/ 6949894 w 9586368"/>
              <a:gd name="connsiteY5060" fmla="*/ 2889684 h 6479439"/>
              <a:gd name="connsiteX5061" fmla="*/ 6939983 w 9586368"/>
              <a:gd name="connsiteY5061" fmla="*/ 2889684 h 6479439"/>
              <a:gd name="connsiteX5062" fmla="*/ 6935964 w 9586368"/>
              <a:gd name="connsiteY5062" fmla="*/ 2885645 h 6479439"/>
              <a:gd name="connsiteX5063" fmla="*/ 6935964 w 9586368"/>
              <a:gd name="connsiteY5063" fmla="*/ 2875775 h 6479439"/>
              <a:gd name="connsiteX5064" fmla="*/ 6700670 w 9586368"/>
              <a:gd name="connsiteY5064" fmla="*/ 2871736 h 6479439"/>
              <a:gd name="connsiteX5065" fmla="*/ 6710581 w 9586368"/>
              <a:gd name="connsiteY5065" fmla="*/ 2871736 h 6479439"/>
              <a:gd name="connsiteX5066" fmla="*/ 6714600 w 9586368"/>
              <a:gd name="connsiteY5066" fmla="*/ 2875775 h 6479439"/>
              <a:gd name="connsiteX5067" fmla="*/ 6714600 w 9586368"/>
              <a:gd name="connsiteY5067" fmla="*/ 2885645 h 6479439"/>
              <a:gd name="connsiteX5068" fmla="*/ 6710581 w 9586368"/>
              <a:gd name="connsiteY5068" fmla="*/ 2889684 h 6479439"/>
              <a:gd name="connsiteX5069" fmla="*/ 6700670 w 9586368"/>
              <a:gd name="connsiteY5069" fmla="*/ 2889684 h 6479439"/>
              <a:gd name="connsiteX5070" fmla="*/ 6696651 w 9586368"/>
              <a:gd name="connsiteY5070" fmla="*/ 2885645 h 6479439"/>
              <a:gd name="connsiteX5071" fmla="*/ 6696651 w 9586368"/>
              <a:gd name="connsiteY5071" fmla="*/ 2875775 h 6479439"/>
              <a:gd name="connsiteX5072" fmla="*/ 6461356 w 9586368"/>
              <a:gd name="connsiteY5072" fmla="*/ 2871736 h 6479439"/>
              <a:gd name="connsiteX5073" fmla="*/ 6471266 w 9586368"/>
              <a:gd name="connsiteY5073" fmla="*/ 2871736 h 6479439"/>
              <a:gd name="connsiteX5074" fmla="*/ 6475285 w 9586368"/>
              <a:gd name="connsiteY5074" fmla="*/ 2875775 h 6479439"/>
              <a:gd name="connsiteX5075" fmla="*/ 6475285 w 9586368"/>
              <a:gd name="connsiteY5075" fmla="*/ 2885645 h 6479439"/>
              <a:gd name="connsiteX5076" fmla="*/ 6471266 w 9586368"/>
              <a:gd name="connsiteY5076" fmla="*/ 2889684 h 6479439"/>
              <a:gd name="connsiteX5077" fmla="*/ 6461356 w 9586368"/>
              <a:gd name="connsiteY5077" fmla="*/ 2889684 h 6479439"/>
              <a:gd name="connsiteX5078" fmla="*/ 6457337 w 9586368"/>
              <a:gd name="connsiteY5078" fmla="*/ 2885645 h 6479439"/>
              <a:gd name="connsiteX5079" fmla="*/ 6457337 w 9586368"/>
              <a:gd name="connsiteY5079" fmla="*/ 2875775 h 6479439"/>
              <a:gd name="connsiteX5080" fmla="*/ 6222042 w 9586368"/>
              <a:gd name="connsiteY5080" fmla="*/ 2871736 h 6479439"/>
              <a:gd name="connsiteX5081" fmla="*/ 6231952 w 9586368"/>
              <a:gd name="connsiteY5081" fmla="*/ 2871736 h 6479439"/>
              <a:gd name="connsiteX5082" fmla="*/ 6235971 w 9586368"/>
              <a:gd name="connsiteY5082" fmla="*/ 2875775 h 6479439"/>
              <a:gd name="connsiteX5083" fmla="*/ 6235971 w 9586368"/>
              <a:gd name="connsiteY5083" fmla="*/ 2885645 h 6479439"/>
              <a:gd name="connsiteX5084" fmla="*/ 6231952 w 9586368"/>
              <a:gd name="connsiteY5084" fmla="*/ 2889684 h 6479439"/>
              <a:gd name="connsiteX5085" fmla="*/ 6222042 w 9586368"/>
              <a:gd name="connsiteY5085" fmla="*/ 2889684 h 6479439"/>
              <a:gd name="connsiteX5086" fmla="*/ 6218023 w 9586368"/>
              <a:gd name="connsiteY5086" fmla="*/ 2885645 h 6479439"/>
              <a:gd name="connsiteX5087" fmla="*/ 6218023 w 9586368"/>
              <a:gd name="connsiteY5087" fmla="*/ 2875775 h 6479439"/>
              <a:gd name="connsiteX5088" fmla="*/ 5982729 w 9586368"/>
              <a:gd name="connsiteY5088" fmla="*/ 2871736 h 6479439"/>
              <a:gd name="connsiteX5089" fmla="*/ 5992639 w 9586368"/>
              <a:gd name="connsiteY5089" fmla="*/ 2871736 h 6479439"/>
              <a:gd name="connsiteX5090" fmla="*/ 5996658 w 9586368"/>
              <a:gd name="connsiteY5090" fmla="*/ 2875775 h 6479439"/>
              <a:gd name="connsiteX5091" fmla="*/ 5996658 w 9586368"/>
              <a:gd name="connsiteY5091" fmla="*/ 2885645 h 6479439"/>
              <a:gd name="connsiteX5092" fmla="*/ 5992639 w 9586368"/>
              <a:gd name="connsiteY5092" fmla="*/ 2889684 h 6479439"/>
              <a:gd name="connsiteX5093" fmla="*/ 5982729 w 9586368"/>
              <a:gd name="connsiteY5093" fmla="*/ 2889684 h 6479439"/>
              <a:gd name="connsiteX5094" fmla="*/ 5978710 w 9586368"/>
              <a:gd name="connsiteY5094" fmla="*/ 2885645 h 6479439"/>
              <a:gd name="connsiteX5095" fmla="*/ 5978710 w 9586368"/>
              <a:gd name="connsiteY5095" fmla="*/ 2875775 h 6479439"/>
              <a:gd name="connsiteX5096" fmla="*/ 5743412 w 9586368"/>
              <a:gd name="connsiteY5096" fmla="*/ 2871736 h 6479439"/>
              <a:gd name="connsiteX5097" fmla="*/ 5753323 w 9586368"/>
              <a:gd name="connsiteY5097" fmla="*/ 2871736 h 6479439"/>
              <a:gd name="connsiteX5098" fmla="*/ 5757342 w 9586368"/>
              <a:gd name="connsiteY5098" fmla="*/ 2875775 h 6479439"/>
              <a:gd name="connsiteX5099" fmla="*/ 5757342 w 9586368"/>
              <a:gd name="connsiteY5099" fmla="*/ 2885645 h 6479439"/>
              <a:gd name="connsiteX5100" fmla="*/ 5753323 w 9586368"/>
              <a:gd name="connsiteY5100" fmla="*/ 2889684 h 6479439"/>
              <a:gd name="connsiteX5101" fmla="*/ 5743412 w 9586368"/>
              <a:gd name="connsiteY5101" fmla="*/ 2889684 h 6479439"/>
              <a:gd name="connsiteX5102" fmla="*/ 5739393 w 9586368"/>
              <a:gd name="connsiteY5102" fmla="*/ 2885645 h 6479439"/>
              <a:gd name="connsiteX5103" fmla="*/ 5739393 w 9586368"/>
              <a:gd name="connsiteY5103" fmla="*/ 2875775 h 6479439"/>
              <a:gd name="connsiteX5104" fmla="*/ 5504099 w 9586368"/>
              <a:gd name="connsiteY5104" fmla="*/ 2871736 h 6479439"/>
              <a:gd name="connsiteX5105" fmla="*/ 5514010 w 9586368"/>
              <a:gd name="connsiteY5105" fmla="*/ 2871736 h 6479439"/>
              <a:gd name="connsiteX5106" fmla="*/ 5518029 w 9586368"/>
              <a:gd name="connsiteY5106" fmla="*/ 2875775 h 6479439"/>
              <a:gd name="connsiteX5107" fmla="*/ 5518029 w 9586368"/>
              <a:gd name="connsiteY5107" fmla="*/ 2885645 h 6479439"/>
              <a:gd name="connsiteX5108" fmla="*/ 5514010 w 9586368"/>
              <a:gd name="connsiteY5108" fmla="*/ 2889684 h 6479439"/>
              <a:gd name="connsiteX5109" fmla="*/ 5504099 w 9586368"/>
              <a:gd name="connsiteY5109" fmla="*/ 2889684 h 6479439"/>
              <a:gd name="connsiteX5110" fmla="*/ 5500080 w 9586368"/>
              <a:gd name="connsiteY5110" fmla="*/ 2885645 h 6479439"/>
              <a:gd name="connsiteX5111" fmla="*/ 5500080 w 9586368"/>
              <a:gd name="connsiteY5111" fmla="*/ 2875775 h 6479439"/>
              <a:gd name="connsiteX5112" fmla="*/ 5264784 w 9586368"/>
              <a:gd name="connsiteY5112" fmla="*/ 2871736 h 6479439"/>
              <a:gd name="connsiteX5113" fmla="*/ 5274694 w 9586368"/>
              <a:gd name="connsiteY5113" fmla="*/ 2871736 h 6479439"/>
              <a:gd name="connsiteX5114" fmla="*/ 5278713 w 9586368"/>
              <a:gd name="connsiteY5114" fmla="*/ 2875775 h 6479439"/>
              <a:gd name="connsiteX5115" fmla="*/ 5278713 w 9586368"/>
              <a:gd name="connsiteY5115" fmla="*/ 2885645 h 6479439"/>
              <a:gd name="connsiteX5116" fmla="*/ 5274694 w 9586368"/>
              <a:gd name="connsiteY5116" fmla="*/ 2889684 h 6479439"/>
              <a:gd name="connsiteX5117" fmla="*/ 5264784 w 9586368"/>
              <a:gd name="connsiteY5117" fmla="*/ 2889684 h 6479439"/>
              <a:gd name="connsiteX5118" fmla="*/ 5260765 w 9586368"/>
              <a:gd name="connsiteY5118" fmla="*/ 2885645 h 6479439"/>
              <a:gd name="connsiteX5119" fmla="*/ 5260765 w 9586368"/>
              <a:gd name="connsiteY5119" fmla="*/ 2875775 h 6479439"/>
              <a:gd name="connsiteX5120" fmla="*/ 5025470 w 9586368"/>
              <a:gd name="connsiteY5120" fmla="*/ 2871736 h 6479439"/>
              <a:gd name="connsiteX5121" fmla="*/ 5035381 w 9586368"/>
              <a:gd name="connsiteY5121" fmla="*/ 2871736 h 6479439"/>
              <a:gd name="connsiteX5122" fmla="*/ 5039400 w 9586368"/>
              <a:gd name="connsiteY5122" fmla="*/ 2875775 h 6479439"/>
              <a:gd name="connsiteX5123" fmla="*/ 5039400 w 9586368"/>
              <a:gd name="connsiteY5123" fmla="*/ 2885645 h 6479439"/>
              <a:gd name="connsiteX5124" fmla="*/ 5035381 w 9586368"/>
              <a:gd name="connsiteY5124" fmla="*/ 2889684 h 6479439"/>
              <a:gd name="connsiteX5125" fmla="*/ 5025470 w 9586368"/>
              <a:gd name="connsiteY5125" fmla="*/ 2889684 h 6479439"/>
              <a:gd name="connsiteX5126" fmla="*/ 5021451 w 9586368"/>
              <a:gd name="connsiteY5126" fmla="*/ 2885645 h 6479439"/>
              <a:gd name="connsiteX5127" fmla="*/ 5021451 w 9586368"/>
              <a:gd name="connsiteY5127" fmla="*/ 2875775 h 6479439"/>
              <a:gd name="connsiteX5128" fmla="*/ 4786241 w 9586368"/>
              <a:gd name="connsiteY5128" fmla="*/ 2871736 h 6479439"/>
              <a:gd name="connsiteX5129" fmla="*/ 4796152 w 9586368"/>
              <a:gd name="connsiteY5129" fmla="*/ 2871736 h 6479439"/>
              <a:gd name="connsiteX5130" fmla="*/ 4800171 w 9586368"/>
              <a:gd name="connsiteY5130" fmla="*/ 2875775 h 6479439"/>
              <a:gd name="connsiteX5131" fmla="*/ 4800171 w 9586368"/>
              <a:gd name="connsiteY5131" fmla="*/ 2885645 h 6479439"/>
              <a:gd name="connsiteX5132" fmla="*/ 4796152 w 9586368"/>
              <a:gd name="connsiteY5132" fmla="*/ 2889684 h 6479439"/>
              <a:gd name="connsiteX5133" fmla="*/ 4786241 w 9586368"/>
              <a:gd name="connsiteY5133" fmla="*/ 2889684 h 6479439"/>
              <a:gd name="connsiteX5134" fmla="*/ 4782224 w 9586368"/>
              <a:gd name="connsiteY5134" fmla="*/ 2885645 h 6479439"/>
              <a:gd name="connsiteX5135" fmla="*/ 4782224 w 9586368"/>
              <a:gd name="connsiteY5135" fmla="*/ 2875775 h 6479439"/>
              <a:gd name="connsiteX5136" fmla="*/ 4546929 w 9586368"/>
              <a:gd name="connsiteY5136" fmla="*/ 2871736 h 6479439"/>
              <a:gd name="connsiteX5137" fmla="*/ 4556840 w 9586368"/>
              <a:gd name="connsiteY5137" fmla="*/ 2871736 h 6479439"/>
              <a:gd name="connsiteX5138" fmla="*/ 4560859 w 9586368"/>
              <a:gd name="connsiteY5138" fmla="*/ 2875775 h 6479439"/>
              <a:gd name="connsiteX5139" fmla="*/ 4560859 w 9586368"/>
              <a:gd name="connsiteY5139" fmla="*/ 2885645 h 6479439"/>
              <a:gd name="connsiteX5140" fmla="*/ 4556840 w 9586368"/>
              <a:gd name="connsiteY5140" fmla="*/ 2889684 h 6479439"/>
              <a:gd name="connsiteX5141" fmla="*/ 4546929 w 9586368"/>
              <a:gd name="connsiteY5141" fmla="*/ 2889684 h 6479439"/>
              <a:gd name="connsiteX5142" fmla="*/ 4542910 w 9586368"/>
              <a:gd name="connsiteY5142" fmla="*/ 2885645 h 6479439"/>
              <a:gd name="connsiteX5143" fmla="*/ 4542910 w 9586368"/>
              <a:gd name="connsiteY5143" fmla="*/ 2875775 h 6479439"/>
              <a:gd name="connsiteX5144" fmla="*/ 4307612 w 9586368"/>
              <a:gd name="connsiteY5144" fmla="*/ 2871736 h 6479439"/>
              <a:gd name="connsiteX5145" fmla="*/ 4317523 w 9586368"/>
              <a:gd name="connsiteY5145" fmla="*/ 2871736 h 6479439"/>
              <a:gd name="connsiteX5146" fmla="*/ 4321543 w 9586368"/>
              <a:gd name="connsiteY5146" fmla="*/ 2875775 h 6479439"/>
              <a:gd name="connsiteX5147" fmla="*/ 4321543 w 9586368"/>
              <a:gd name="connsiteY5147" fmla="*/ 2885645 h 6479439"/>
              <a:gd name="connsiteX5148" fmla="*/ 4317523 w 9586368"/>
              <a:gd name="connsiteY5148" fmla="*/ 2889684 h 6479439"/>
              <a:gd name="connsiteX5149" fmla="*/ 4307612 w 9586368"/>
              <a:gd name="connsiteY5149" fmla="*/ 2889684 h 6479439"/>
              <a:gd name="connsiteX5150" fmla="*/ 4303595 w 9586368"/>
              <a:gd name="connsiteY5150" fmla="*/ 2885645 h 6479439"/>
              <a:gd name="connsiteX5151" fmla="*/ 4303595 w 9586368"/>
              <a:gd name="connsiteY5151" fmla="*/ 2875775 h 6479439"/>
              <a:gd name="connsiteX5152" fmla="*/ 4068297 w 9586368"/>
              <a:gd name="connsiteY5152" fmla="*/ 2871736 h 6479439"/>
              <a:gd name="connsiteX5153" fmla="*/ 4078210 w 9586368"/>
              <a:gd name="connsiteY5153" fmla="*/ 2871736 h 6479439"/>
              <a:gd name="connsiteX5154" fmla="*/ 4082229 w 9586368"/>
              <a:gd name="connsiteY5154" fmla="*/ 2875775 h 6479439"/>
              <a:gd name="connsiteX5155" fmla="*/ 4082229 w 9586368"/>
              <a:gd name="connsiteY5155" fmla="*/ 2885645 h 6479439"/>
              <a:gd name="connsiteX5156" fmla="*/ 4078210 w 9586368"/>
              <a:gd name="connsiteY5156" fmla="*/ 2889684 h 6479439"/>
              <a:gd name="connsiteX5157" fmla="*/ 4068297 w 9586368"/>
              <a:gd name="connsiteY5157" fmla="*/ 2889684 h 6479439"/>
              <a:gd name="connsiteX5158" fmla="*/ 4064278 w 9586368"/>
              <a:gd name="connsiteY5158" fmla="*/ 2885645 h 6479439"/>
              <a:gd name="connsiteX5159" fmla="*/ 4064278 w 9586368"/>
              <a:gd name="connsiteY5159" fmla="*/ 2875775 h 6479439"/>
              <a:gd name="connsiteX5160" fmla="*/ 3828990 w 9586368"/>
              <a:gd name="connsiteY5160" fmla="*/ 2871736 h 6479439"/>
              <a:gd name="connsiteX5161" fmla="*/ 3838899 w 9586368"/>
              <a:gd name="connsiteY5161" fmla="*/ 2871736 h 6479439"/>
              <a:gd name="connsiteX5162" fmla="*/ 3842917 w 9586368"/>
              <a:gd name="connsiteY5162" fmla="*/ 2875775 h 6479439"/>
              <a:gd name="connsiteX5163" fmla="*/ 3842917 w 9586368"/>
              <a:gd name="connsiteY5163" fmla="*/ 2885645 h 6479439"/>
              <a:gd name="connsiteX5164" fmla="*/ 3838899 w 9586368"/>
              <a:gd name="connsiteY5164" fmla="*/ 2889684 h 6479439"/>
              <a:gd name="connsiteX5165" fmla="*/ 3828990 w 9586368"/>
              <a:gd name="connsiteY5165" fmla="*/ 2889684 h 6479439"/>
              <a:gd name="connsiteX5166" fmla="*/ 3824971 w 9586368"/>
              <a:gd name="connsiteY5166" fmla="*/ 2885645 h 6479439"/>
              <a:gd name="connsiteX5167" fmla="*/ 3824971 w 9586368"/>
              <a:gd name="connsiteY5167" fmla="*/ 2875775 h 6479439"/>
              <a:gd name="connsiteX5168" fmla="*/ 3589676 w 9586368"/>
              <a:gd name="connsiteY5168" fmla="*/ 2871736 h 6479439"/>
              <a:gd name="connsiteX5169" fmla="*/ 3599585 w 9586368"/>
              <a:gd name="connsiteY5169" fmla="*/ 2871736 h 6479439"/>
              <a:gd name="connsiteX5170" fmla="*/ 3603604 w 9586368"/>
              <a:gd name="connsiteY5170" fmla="*/ 2875775 h 6479439"/>
              <a:gd name="connsiteX5171" fmla="*/ 3603604 w 9586368"/>
              <a:gd name="connsiteY5171" fmla="*/ 2885645 h 6479439"/>
              <a:gd name="connsiteX5172" fmla="*/ 3599585 w 9586368"/>
              <a:gd name="connsiteY5172" fmla="*/ 2889684 h 6479439"/>
              <a:gd name="connsiteX5173" fmla="*/ 3589676 w 9586368"/>
              <a:gd name="connsiteY5173" fmla="*/ 2889684 h 6479439"/>
              <a:gd name="connsiteX5174" fmla="*/ 3585657 w 9586368"/>
              <a:gd name="connsiteY5174" fmla="*/ 2885645 h 6479439"/>
              <a:gd name="connsiteX5175" fmla="*/ 3585657 w 9586368"/>
              <a:gd name="connsiteY5175" fmla="*/ 2875775 h 6479439"/>
              <a:gd name="connsiteX5176" fmla="*/ 3350359 w 9586368"/>
              <a:gd name="connsiteY5176" fmla="*/ 2871736 h 6479439"/>
              <a:gd name="connsiteX5177" fmla="*/ 3360268 w 9586368"/>
              <a:gd name="connsiteY5177" fmla="*/ 2871736 h 6479439"/>
              <a:gd name="connsiteX5178" fmla="*/ 3364287 w 9586368"/>
              <a:gd name="connsiteY5178" fmla="*/ 2875775 h 6479439"/>
              <a:gd name="connsiteX5179" fmla="*/ 3364287 w 9586368"/>
              <a:gd name="connsiteY5179" fmla="*/ 2885645 h 6479439"/>
              <a:gd name="connsiteX5180" fmla="*/ 3360268 w 9586368"/>
              <a:gd name="connsiteY5180" fmla="*/ 2889684 h 6479439"/>
              <a:gd name="connsiteX5181" fmla="*/ 3350359 w 9586368"/>
              <a:gd name="connsiteY5181" fmla="*/ 2889684 h 6479439"/>
              <a:gd name="connsiteX5182" fmla="*/ 3346340 w 9586368"/>
              <a:gd name="connsiteY5182" fmla="*/ 2885645 h 6479439"/>
              <a:gd name="connsiteX5183" fmla="*/ 3346340 w 9586368"/>
              <a:gd name="connsiteY5183" fmla="*/ 2875775 h 6479439"/>
              <a:gd name="connsiteX5184" fmla="*/ 3111048 w 9586368"/>
              <a:gd name="connsiteY5184" fmla="*/ 2871736 h 6479439"/>
              <a:gd name="connsiteX5185" fmla="*/ 3120959 w 9586368"/>
              <a:gd name="connsiteY5185" fmla="*/ 2871736 h 6479439"/>
              <a:gd name="connsiteX5186" fmla="*/ 3124977 w 9586368"/>
              <a:gd name="connsiteY5186" fmla="*/ 2875775 h 6479439"/>
              <a:gd name="connsiteX5187" fmla="*/ 3124977 w 9586368"/>
              <a:gd name="connsiteY5187" fmla="*/ 2885645 h 6479439"/>
              <a:gd name="connsiteX5188" fmla="*/ 3120959 w 9586368"/>
              <a:gd name="connsiteY5188" fmla="*/ 2889684 h 6479439"/>
              <a:gd name="connsiteX5189" fmla="*/ 3111048 w 9586368"/>
              <a:gd name="connsiteY5189" fmla="*/ 2889684 h 6479439"/>
              <a:gd name="connsiteX5190" fmla="*/ 3107029 w 9586368"/>
              <a:gd name="connsiteY5190" fmla="*/ 2885645 h 6479439"/>
              <a:gd name="connsiteX5191" fmla="*/ 3107029 w 9586368"/>
              <a:gd name="connsiteY5191" fmla="*/ 2875775 h 6479439"/>
              <a:gd name="connsiteX5192" fmla="*/ 2871737 w 9586368"/>
              <a:gd name="connsiteY5192" fmla="*/ 2871736 h 6479439"/>
              <a:gd name="connsiteX5193" fmla="*/ 2881646 w 9586368"/>
              <a:gd name="connsiteY5193" fmla="*/ 2871736 h 6479439"/>
              <a:gd name="connsiteX5194" fmla="*/ 2885666 w 9586368"/>
              <a:gd name="connsiteY5194" fmla="*/ 2875775 h 6479439"/>
              <a:gd name="connsiteX5195" fmla="*/ 2885666 w 9586368"/>
              <a:gd name="connsiteY5195" fmla="*/ 2885645 h 6479439"/>
              <a:gd name="connsiteX5196" fmla="*/ 2881646 w 9586368"/>
              <a:gd name="connsiteY5196" fmla="*/ 2889684 h 6479439"/>
              <a:gd name="connsiteX5197" fmla="*/ 2871737 w 9586368"/>
              <a:gd name="connsiteY5197" fmla="*/ 2889684 h 6479439"/>
              <a:gd name="connsiteX5198" fmla="*/ 2867717 w 9586368"/>
              <a:gd name="connsiteY5198" fmla="*/ 2885645 h 6479439"/>
              <a:gd name="connsiteX5199" fmla="*/ 2867717 w 9586368"/>
              <a:gd name="connsiteY5199" fmla="*/ 2875775 h 6479439"/>
              <a:gd name="connsiteX5200" fmla="*/ 2632423 w 9586368"/>
              <a:gd name="connsiteY5200" fmla="*/ 2871736 h 6479439"/>
              <a:gd name="connsiteX5201" fmla="*/ 2642334 w 9586368"/>
              <a:gd name="connsiteY5201" fmla="*/ 2871736 h 6479439"/>
              <a:gd name="connsiteX5202" fmla="*/ 2646352 w 9586368"/>
              <a:gd name="connsiteY5202" fmla="*/ 2875775 h 6479439"/>
              <a:gd name="connsiteX5203" fmla="*/ 2646352 w 9586368"/>
              <a:gd name="connsiteY5203" fmla="*/ 2885645 h 6479439"/>
              <a:gd name="connsiteX5204" fmla="*/ 2642334 w 9586368"/>
              <a:gd name="connsiteY5204" fmla="*/ 2889684 h 6479439"/>
              <a:gd name="connsiteX5205" fmla="*/ 2632423 w 9586368"/>
              <a:gd name="connsiteY5205" fmla="*/ 2889684 h 6479439"/>
              <a:gd name="connsiteX5206" fmla="*/ 2628404 w 9586368"/>
              <a:gd name="connsiteY5206" fmla="*/ 2885645 h 6479439"/>
              <a:gd name="connsiteX5207" fmla="*/ 2628404 w 9586368"/>
              <a:gd name="connsiteY5207" fmla="*/ 2875775 h 6479439"/>
              <a:gd name="connsiteX5208" fmla="*/ 2393104 w 9586368"/>
              <a:gd name="connsiteY5208" fmla="*/ 2871736 h 6479439"/>
              <a:gd name="connsiteX5209" fmla="*/ 2403015 w 9586368"/>
              <a:gd name="connsiteY5209" fmla="*/ 2871736 h 6479439"/>
              <a:gd name="connsiteX5210" fmla="*/ 2407034 w 9586368"/>
              <a:gd name="connsiteY5210" fmla="*/ 2875775 h 6479439"/>
              <a:gd name="connsiteX5211" fmla="*/ 2407034 w 9586368"/>
              <a:gd name="connsiteY5211" fmla="*/ 2885645 h 6479439"/>
              <a:gd name="connsiteX5212" fmla="*/ 2403015 w 9586368"/>
              <a:gd name="connsiteY5212" fmla="*/ 2889684 h 6479439"/>
              <a:gd name="connsiteX5213" fmla="*/ 2393104 w 9586368"/>
              <a:gd name="connsiteY5213" fmla="*/ 2889684 h 6479439"/>
              <a:gd name="connsiteX5214" fmla="*/ 2389087 w 9586368"/>
              <a:gd name="connsiteY5214" fmla="*/ 2885645 h 6479439"/>
              <a:gd name="connsiteX5215" fmla="*/ 2389087 w 9586368"/>
              <a:gd name="connsiteY5215" fmla="*/ 2875775 h 6479439"/>
              <a:gd name="connsiteX5216" fmla="*/ 721969 w 9586368"/>
              <a:gd name="connsiteY5216" fmla="*/ 2871736 h 6479439"/>
              <a:gd name="connsiteX5217" fmla="*/ 731879 w 9586368"/>
              <a:gd name="connsiteY5217" fmla="*/ 2871736 h 6479439"/>
              <a:gd name="connsiteX5218" fmla="*/ 735898 w 9586368"/>
              <a:gd name="connsiteY5218" fmla="*/ 2875775 h 6479439"/>
              <a:gd name="connsiteX5219" fmla="*/ 735898 w 9586368"/>
              <a:gd name="connsiteY5219" fmla="*/ 2885645 h 6479439"/>
              <a:gd name="connsiteX5220" fmla="*/ 731879 w 9586368"/>
              <a:gd name="connsiteY5220" fmla="*/ 2889684 h 6479439"/>
              <a:gd name="connsiteX5221" fmla="*/ 721969 w 9586368"/>
              <a:gd name="connsiteY5221" fmla="*/ 2889684 h 6479439"/>
              <a:gd name="connsiteX5222" fmla="*/ 717950 w 9586368"/>
              <a:gd name="connsiteY5222" fmla="*/ 2885645 h 6479439"/>
              <a:gd name="connsiteX5223" fmla="*/ 717950 w 9586368"/>
              <a:gd name="connsiteY5223" fmla="*/ 2875775 h 6479439"/>
              <a:gd name="connsiteX5224" fmla="*/ 482656 w 9586368"/>
              <a:gd name="connsiteY5224" fmla="*/ 2871736 h 6479439"/>
              <a:gd name="connsiteX5225" fmla="*/ 492567 w 9586368"/>
              <a:gd name="connsiteY5225" fmla="*/ 2871736 h 6479439"/>
              <a:gd name="connsiteX5226" fmla="*/ 496586 w 9586368"/>
              <a:gd name="connsiteY5226" fmla="*/ 2875775 h 6479439"/>
              <a:gd name="connsiteX5227" fmla="*/ 496586 w 9586368"/>
              <a:gd name="connsiteY5227" fmla="*/ 2885645 h 6479439"/>
              <a:gd name="connsiteX5228" fmla="*/ 492567 w 9586368"/>
              <a:gd name="connsiteY5228" fmla="*/ 2889684 h 6479439"/>
              <a:gd name="connsiteX5229" fmla="*/ 482656 w 9586368"/>
              <a:gd name="connsiteY5229" fmla="*/ 2889684 h 6479439"/>
              <a:gd name="connsiteX5230" fmla="*/ 478637 w 9586368"/>
              <a:gd name="connsiteY5230" fmla="*/ 2885645 h 6479439"/>
              <a:gd name="connsiteX5231" fmla="*/ 478637 w 9586368"/>
              <a:gd name="connsiteY5231" fmla="*/ 2875775 h 6479439"/>
              <a:gd name="connsiteX5232" fmla="*/ 243343 w 9586368"/>
              <a:gd name="connsiteY5232" fmla="*/ 2871736 h 6479439"/>
              <a:gd name="connsiteX5233" fmla="*/ 253253 w 9586368"/>
              <a:gd name="connsiteY5233" fmla="*/ 2871736 h 6479439"/>
              <a:gd name="connsiteX5234" fmla="*/ 257272 w 9586368"/>
              <a:gd name="connsiteY5234" fmla="*/ 2875775 h 6479439"/>
              <a:gd name="connsiteX5235" fmla="*/ 257272 w 9586368"/>
              <a:gd name="connsiteY5235" fmla="*/ 2885645 h 6479439"/>
              <a:gd name="connsiteX5236" fmla="*/ 253253 w 9586368"/>
              <a:gd name="connsiteY5236" fmla="*/ 2889684 h 6479439"/>
              <a:gd name="connsiteX5237" fmla="*/ 243343 w 9586368"/>
              <a:gd name="connsiteY5237" fmla="*/ 2889684 h 6479439"/>
              <a:gd name="connsiteX5238" fmla="*/ 239324 w 9586368"/>
              <a:gd name="connsiteY5238" fmla="*/ 2885645 h 6479439"/>
              <a:gd name="connsiteX5239" fmla="*/ 239324 w 9586368"/>
              <a:gd name="connsiteY5239" fmla="*/ 2875775 h 6479439"/>
              <a:gd name="connsiteX5240" fmla="*/ 4030 w 9586368"/>
              <a:gd name="connsiteY5240" fmla="*/ 2871736 h 6479439"/>
              <a:gd name="connsiteX5241" fmla="*/ 13940 w 9586368"/>
              <a:gd name="connsiteY5241" fmla="*/ 2871736 h 6479439"/>
              <a:gd name="connsiteX5242" fmla="*/ 17959 w 9586368"/>
              <a:gd name="connsiteY5242" fmla="*/ 2875775 h 6479439"/>
              <a:gd name="connsiteX5243" fmla="*/ 17959 w 9586368"/>
              <a:gd name="connsiteY5243" fmla="*/ 2885645 h 6479439"/>
              <a:gd name="connsiteX5244" fmla="*/ 13940 w 9586368"/>
              <a:gd name="connsiteY5244" fmla="*/ 2889684 h 6479439"/>
              <a:gd name="connsiteX5245" fmla="*/ 4030 w 9586368"/>
              <a:gd name="connsiteY5245" fmla="*/ 2889684 h 6479439"/>
              <a:gd name="connsiteX5246" fmla="*/ 11 w 9586368"/>
              <a:gd name="connsiteY5246" fmla="*/ 2885645 h 6479439"/>
              <a:gd name="connsiteX5247" fmla="*/ 11 w 9586368"/>
              <a:gd name="connsiteY5247" fmla="*/ 2875775 h 6479439"/>
              <a:gd name="connsiteX5248" fmla="*/ 9572438 w 9586368"/>
              <a:gd name="connsiteY5248" fmla="*/ 2632457 h 6479439"/>
              <a:gd name="connsiteX5249" fmla="*/ 9582349 w 9586368"/>
              <a:gd name="connsiteY5249" fmla="*/ 2632457 h 6479439"/>
              <a:gd name="connsiteX5250" fmla="*/ 9586368 w 9586368"/>
              <a:gd name="connsiteY5250" fmla="*/ 2636496 h 6479439"/>
              <a:gd name="connsiteX5251" fmla="*/ 9586368 w 9586368"/>
              <a:gd name="connsiteY5251" fmla="*/ 2646366 h 6479439"/>
              <a:gd name="connsiteX5252" fmla="*/ 9582349 w 9586368"/>
              <a:gd name="connsiteY5252" fmla="*/ 2650405 h 6479439"/>
              <a:gd name="connsiteX5253" fmla="*/ 9572438 w 9586368"/>
              <a:gd name="connsiteY5253" fmla="*/ 2650405 h 6479439"/>
              <a:gd name="connsiteX5254" fmla="*/ 9568419 w 9586368"/>
              <a:gd name="connsiteY5254" fmla="*/ 2646366 h 6479439"/>
              <a:gd name="connsiteX5255" fmla="*/ 9568419 w 9586368"/>
              <a:gd name="connsiteY5255" fmla="*/ 2636496 h 6479439"/>
              <a:gd name="connsiteX5256" fmla="*/ 9333125 w 9586368"/>
              <a:gd name="connsiteY5256" fmla="*/ 2632457 h 6479439"/>
              <a:gd name="connsiteX5257" fmla="*/ 9343036 w 9586368"/>
              <a:gd name="connsiteY5257" fmla="*/ 2632457 h 6479439"/>
              <a:gd name="connsiteX5258" fmla="*/ 9347055 w 9586368"/>
              <a:gd name="connsiteY5258" fmla="*/ 2636496 h 6479439"/>
              <a:gd name="connsiteX5259" fmla="*/ 9347055 w 9586368"/>
              <a:gd name="connsiteY5259" fmla="*/ 2646366 h 6479439"/>
              <a:gd name="connsiteX5260" fmla="*/ 9343036 w 9586368"/>
              <a:gd name="connsiteY5260" fmla="*/ 2650405 h 6479439"/>
              <a:gd name="connsiteX5261" fmla="*/ 9333125 w 9586368"/>
              <a:gd name="connsiteY5261" fmla="*/ 2650405 h 6479439"/>
              <a:gd name="connsiteX5262" fmla="*/ 9329106 w 9586368"/>
              <a:gd name="connsiteY5262" fmla="*/ 2646366 h 6479439"/>
              <a:gd name="connsiteX5263" fmla="*/ 9329106 w 9586368"/>
              <a:gd name="connsiteY5263" fmla="*/ 2636496 h 6479439"/>
              <a:gd name="connsiteX5264" fmla="*/ 9093811 w 9586368"/>
              <a:gd name="connsiteY5264" fmla="*/ 2632457 h 6479439"/>
              <a:gd name="connsiteX5265" fmla="*/ 9103722 w 9586368"/>
              <a:gd name="connsiteY5265" fmla="*/ 2632457 h 6479439"/>
              <a:gd name="connsiteX5266" fmla="*/ 9107741 w 9586368"/>
              <a:gd name="connsiteY5266" fmla="*/ 2636496 h 6479439"/>
              <a:gd name="connsiteX5267" fmla="*/ 9107741 w 9586368"/>
              <a:gd name="connsiteY5267" fmla="*/ 2646366 h 6479439"/>
              <a:gd name="connsiteX5268" fmla="*/ 9103722 w 9586368"/>
              <a:gd name="connsiteY5268" fmla="*/ 2650405 h 6479439"/>
              <a:gd name="connsiteX5269" fmla="*/ 9093811 w 9586368"/>
              <a:gd name="connsiteY5269" fmla="*/ 2650405 h 6479439"/>
              <a:gd name="connsiteX5270" fmla="*/ 9089792 w 9586368"/>
              <a:gd name="connsiteY5270" fmla="*/ 2646366 h 6479439"/>
              <a:gd name="connsiteX5271" fmla="*/ 9089792 w 9586368"/>
              <a:gd name="connsiteY5271" fmla="*/ 2636496 h 6479439"/>
              <a:gd name="connsiteX5272" fmla="*/ 8854496 w 9586368"/>
              <a:gd name="connsiteY5272" fmla="*/ 2632457 h 6479439"/>
              <a:gd name="connsiteX5273" fmla="*/ 8864407 w 9586368"/>
              <a:gd name="connsiteY5273" fmla="*/ 2632457 h 6479439"/>
              <a:gd name="connsiteX5274" fmla="*/ 8868426 w 9586368"/>
              <a:gd name="connsiteY5274" fmla="*/ 2636496 h 6479439"/>
              <a:gd name="connsiteX5275" fmla="*/ 8868426 w 9586368"/>
              <a:gd name="connsiteY5275" fmla="*/ 2646366 h 6479439"/>
              <a:gd name="connsiteX5276" fmla="*/ 8864407 w 9586368"/>
              <a:gd name="connsiteY5276" fmla="*/ 2650405 h 6479439"/>
              <a:gd name="connsiteX5277" fmla="*/ 8854496 w 9586368"/>
              <a:gd name="connsiteY5277" fmla="*/ 2650405 h 6479439"/>
              <a:gd name="connsiteX5278" fmla="*/ 8850477 w 9586368"/>
              <a:gd name="connsiteY5278" fmla="*/ 2646366 h 6479439"/>
              <a:gd name="connsiteX5279" fmla="*/ 8850477 w 9586368"/>
              <a:gd name="connsiteY5279" fmla="*/ 2636496 h 6479439"/>
              <a:gd name="connsiteX5280" fmla="*/ 8615184 w 9586368"/>
              <a:gd name="connsiteY5280" fmla="*/ 2632457 h 6479439"/>
              <a:gd name="connsiteX5281" fmla="*/ 8625095 w 9586368"/>
              <a:gd name="connsiteY5281" fmla="*/ 2632457 h 6479439"/>
              <a:gd name="connsiteX5282" fmla="*/ 8629114 w 9586368"/>
              <a:gd name="connsiteY5282" fmla="*/ 2636496 h 6479439"/>
              <a:gd name="connsiteX5283" fmla="*/ 8629114 w 9586368"/>
              <a:gd name="connsiteY5283" fmla="*/ 2646366 h 6479439"/>
              <a:gd name="connsiteX5284" fmla="*/ 8625095 w 9586368"/>
              <a:gd name="connsiteY5284" fmla="*/ 2650405 h 6479439"/>
              <a:gd name="connsiteX5285" fmla="*/ 8615184 w 9586368"/>
              <a:gd name="connsiteY5285" fmla="*/ 2650405 h 6479439"/>
              <a:gd name="connsiteX5286" fmla="*/ 8611165 w 9586368"/>
              <a:gd name="connsiteY5286" fmla="*/ 2646366 h 6479439"/>
              <a:gd name="connsiteX5287" fmla="*/ 8611165 w 9586368"/>
              <a:gd name="connsiteY5287" fmla="*/ 2636496 h 6479439"/>
              <a:gd name="connsiteX5288" fmla="*/ 8375869 w 9586368"/>
              <a:gd name="connsiteY5288" fmla="*/ 2632457 h 6479439"/>
              <a:gd name="connsiteX5289" fmla="*/ 8385779 w 9586368"/>
              <a:gd name="connsiteY5289" fmla="*/ 2632457 h 6479439"/>
              <a:gd name="connsiteX5290" fmla="*/ 8389799 w 9586368"/>
              <a:gd name="connsiteY5290" fmla="*/ 2636496 h 6479439"/>
              <a:gd name="connsiteX5291" fmla="*/ 8389799 w 9586368"/>
              <a:gd name="connsiteY5291" fmla="*/ 2646366 h 6479439"/>
              <a:gd name="connsiteX5292" fmla="*/ 8385779 w 9586368"/>
              <a:gd name="connsiteY5292" fmla="*/ 2650405 h 6479439"/>
              <a:gd name="connsiteX5293" fmla="*/ 8375869 w 9586368"/>
              <a:gd name="connsiteY5293" fmla="*/ 2650405 h 6479439"/>
              <a:gd name="connsiteX5294" fmla="*/ 8371850 w 9586368"/>
              <a:gd name="connsiteY5294" fmla="*/ 2646366 h 6479439"/>
              <a:gd name="connsiteX5295" fmla="*/ 8371850 w 9586368"/>
              <a:gd name="connsiteY5295" fmla="*/ 2636496 h 6479439"/>
              <a:gd name="connsiteX5296" fmla="*/ 8136553 w 9586368"/>
              <a:gd name="connsiteY5296" fmla="*/ 2632457 h 6479439"/>
              <a:gd name="connsiteX5297" fmla="*/ 8146464 w 9586368"/>
              <a:gd name="connsiteY5297" fmla="*/ 2632457 h 6479439"/>
              <a:gd name="connsiteX5298" fmla="*/ 8150483 w 9586368"/>
              <a:gd name="connsiteY5298" fmla="*/ 2636496 h 6479439"/>
              <a:gd name="connsiteX5299" fmla="*/ 8150483 w 9586368"/>
              <a:gd name="connsiteY5299" fmla="*/ 2646366 h 6479439"/>
              <a:gd name="connsiteX5300" fmla="*/ 8146464 w 9586368"/>
              <a:gd name="connsiteY5300" fmla="*/ 2650405 h 6479439"/>
              <a:gd name="connsiteX5301" fmla="*/ 8136553 w 9586368"/>
              <a:gd name="connsiteY5301" fmla="*/ 2650405 h 6479439"/>
              <a:gd name="connsiteX5302" fmla="*/ 8132534 w 9586368"/>
              <a:gd name="connsiteY5302" fmla="*/ 2646366 h 6479439"/>
              <a:gd name="connsiteX5303" fmla="*/ 8132534 w 9586368"/>
              <a:gd name="connsiteY5303" fmla="*/ 2636496 h 6479439"/>
              <a:gd name="connsiteX5304" fmla="*/ 7897241 w 9586368"/>
              <a:gd name="connsiteY5304" fmla="*/ 2632457 h 6479439"/>
              <a:gd name="connsiteX5305" fmla="*/ 7907151 w 9586368"/>
              <a:gd name="connsiteY5305" fmla="*/ 2632457 h 6479439"/>
              <a:gd name="connsiteX5306" fmla="*/ 7911170 w 9586368"/>
              <a:gd name="connsiteY5306" fmla="*/ 2636496 h 6479439"/>
              <a:gd name="connsiteX5307" fmla="*/ 7911170 w 9586368"/>
              <a:gd name="connsiteY5307" fmla="*/ 2646366 h 6479439"/>
              <a:gd name="connsiteX5308" fmla="*/ 7907151 w 9586368"/>
              <a:gd name="connsiteY5308" fmla="*/ 2650405 h 6479439"/>
              <a:gd name="connsiteX5309" fmla="*/ 7897241 w 9586368"/>
              <a:gd name="connsiteY5309" fmla="*/ 2650405 h 6479439"/>
              <a:gd name="connsiteX5310" fmla="*/ 7893222 w 9586368"/>
              <a:gd name="connsiteY5310" fmla="*/ 2646366 h 6479439"/>
              <a:gd name="connsiteX5311" fmla="*/ 7893222 w 9586368"/>
              <a:gd name="connsiteY5311" fmla="*/ 2636496 h 6479439"/>
              <a:gd name="connsiteX5312" fmla="*/ 7657926 w 9586368"/>
              <a:gd name="connsiteY5312" fmla="*/ 2632457 h 6479439"/>
              <a:gd name="connsiteX5313" fmla="*/ 7667836 w 9586368"/>
              <a:gd name="connsiteY5313" fmla="*/ 2632457 h 6479439"/>
              <a:gd name="connsiteX5314" fmla="*/ 7671855 w 9586368"/>
              <a:gd name="connsiteY5314" fmla="*/ 2636496 h 6479439"/>
              <a:gd name="connsiteX5315" fmla="*/ 7671855 w 9586368"/>
              <a:gd name="connsiteY5315" fmla="*/ 2646366 h 6479439"/>
              <a:gd name="connsiteX5316" fmla="*/ 7667836 w 9586368"/>
              <a:gd name="connsiteY5316" fmla="*/ 2650405 h 6479439"/>
              <a:gd name="connsiteX5317" fmla="*/ 7657926 w 9586368"/>
              <a:gd name="connsiteY5317" fmla="*/ 2650405 h 6479439"/>
              <a:gd name="connsiteX5318" fmla="*/ 7653906 w 9586368"/>
              <a:gd name="connsiteY5318" fmla="*/ 2646366 h 6479439"/>
              <a:gd name="connsiteX5319" fmla="*/ 7653906 w 9586368"/>
              <a:gd name="connsiteY5319" fmla="*/ 2636496 h 6479439"/>
              <a:gd name="connsiteX5320" fmla="*/ 7418611 w 9586368"/>
              <a:gd name="connsiteY5320" fmla="*/ 2632457 h 6479439"/>
              <a:gd name="connsiteX5321" fmla="*/ 7428521 w 9586368"/>
              <a:gd name="connsiteY5321" fmla="*/ 2632457 h 6479439"/>
              <a:gd name="connsiteX5322" fmla="*/ 7432540 w 9586368"/>
              <a:gd name="connsiteY5322" fmla="*/ 2636496 h 6479439"/>
              <a:gd name="connsiteX5323" fmla="*/ 7432540 w 9586368"/>
              <a:gd name="connsiteY5323" fmla="*/ 2646366 h 6479439"/>
              <a:gd name="connsiteX5324" fmla="*/ 7428521 w 9586368"/>
              <a:gd name="connsiteY5324" fmla="*/ 2650405 h 6479439"/>
              <a:gd name="connsiteX5325" fmla="*/ 7418611 w 9586368"/>
              <a:gd name="connsiteY5325" fmla="*/ 2650405 h 6479439"/>
              <a:gd name="connsiteX5326" fmla="*/ 7414592 w 9586368"/>
              <a:gd name="connsiteY5326" fmla="*/ 2646366 h 6479439"/>
              <a:gd name="connsiteX5327" fmla="*/ 7414592 w 9586368"/>
              <a:gd name="connsiteY5327" fmla="*/ 2636496 h 6479439"/>
              <a:gd name="connsiteX5328" fmla="*/ 7179298 w 9586368"/>
              <a:gd name="connsiteY5328" fmla="*/ 2632457 h 6479439"/>
              <a:gd name="connsiteX5329" fmla="*/ 7189209 w 9586368"/>
              <a:gd name="connsiteY5329" fmla="*/ 2632457 h 6479439"/>
              <a:gd name="connsiteX5330" fmla="*/ 7193228 w 9586368"/>
              <a:gd name="connsiteY5330" fmla="*/ 2636496 h 6479439"/>
              <a:gd name="connsiteX5331" fmla="*/ 7193228 w 9586368"/>
              <a:gd name="connsiteY5331" fmla="*/ 2646366 h 6479439"/>
              <a:gd name="connsiteX5332" fmla="*/ 7189209 w 9586368"/>
              <a:gd name="connsiteY5332" fmla="*/ 2650405 h 6479439"/>
              <a:gd name="connsiteX5333" fmla="*/ 7179298 w 9586368"/>
              <a:gd name="connsiteY5333" fmla="*/ 2650405 h 6479439"/>
              <a:gd name="connsiteX5334" fmla="*/ 7175279 w 9586368"/>
              <a:gd name="connsiteY5334" fmla="*/ 2646366 h 6479439"/>
              <a:gd name="connsiteX5335" fmla="*/ 7175279 w 9586368"/>
              <a:gd name="connsiteY5335" fmla="*/ 2636496 h 6479439"/>
              <a:gd name="connsiteX5336" fmla="*/ 6939983 w 9586368"/>
              <a:gd name="connsiteY5336" fmla="*/ 2632457 h 6479439"/>
              <a:gd name="connsiteX5337" fmla="*/ 6949894 w 9586368"/>
              <a:gd name="connsiteY5337" fmla="*/ 2632457 h 6479439"/>
              <a:gd name="connsiteX5338" fmla="*/ 6953913 w 9586368"/>
              <a:gd name="connsiteY5338" fmla="*/ 2636496 h 6479439"/>
              <a:gd name="connsiteX5339" fmla="*/ 6953913 w 9586368"/>
              <a:gd name="connsiteY5339" fmla="*/ 2646366 h 6479439"/>
              <a:gd name="connsiteX5340" fmla="*/ 6949894 w 9586368"/>
              <a:gd name="connsiteY5340" fmla="*/ 2650405 h 6479439"/>
              <a:gd name="connsiteX5341" fmla="*/ 6939983 w 9586368"/>
              <a:gd name="connsiteY5341" fmla="*/ 2650405 h 6479439"/>
              <a:gd name="connsiteX5342" fmla="*/ 6935964 w 9586368"/>
              <a:gd name="connsiteY5342" fmla="*/ 2646366 h 6479439"/>
              <a:gd name="connsiteX5343" fmla="*/ 6935964 w 9586368"/>
              <a:gd name="connsiteY5343" fmla="*/ 2636496 h 6479439"/>
              <a:gd name="connsiteX5344" fmla="*/ 6700670 w 9586368"/>
              <a:gd name="connsiteY5344" fmla="*/ 2632457 h 6479439"/>
              <a:gd name="connsiteX5345" fmla="*/ 6710581 w 9586368"/>
              <a:gd name="connsiteY5345" fmla="*/ 2632457 h 6479439"/>
              <a:gd name="connsiteX5346" fmla="*/ 6714600 w 9586368"/>
              <a:gd name="connsiteY5346" fmla="*/ 2636496 h 6479439"/>
              <a:gd name="connsiteX5347" fmla="*/ 6714600 w 9586368"/>
              <a:gd name="connsiteY5347" fmla="*/ 2646366 h 6479439"/>
              <a:gd name="connsiteX5348" fmla="*/ 6710581 w 9586368"/>
              <a:gd name="connsiteY5348" fmla="*/ 2650405 h 6479439"/>
              <a:gd name="connsiteX5349" fmla="*/ 6700670 w 9586368"/>
              <a:gd name="connsiteY5349" fmla="*/ 2650405 h 6479439"/>
              <a:gd name="connsiteX5350" fmla="*/ 6696651 w 9586368"/>
              <a:gd name="connsiteY5350" fmla="*/ 2646366 h 6479439"/>
              <a:gd name="connsiteX5351" fmla="*/ 6696651 w 9586368"/>
              <a:gd name="connsiteY5351" fmla="*/ 2636496 h 6479439"/>
              <a:gd name="connsiteX5352" fmla="*/ 6461356 w 9586368"/>
              <a:gd name="connsiteY5352" fmla="*/ 2632457 h 6479439"/>
              <a:gd name="connsiteX5353" fmla="*/ 6471266 w 9586368"/>
              <a:gd name="connsiteY5353" fmla="*/ 2632457 h 6479439"/>
              <a:gd name="connsiteX5354" fmla="*/ 6475285 w 9586368"/>
              <a:gd name="connsiteY5354" fmla="*/ 2636496 h 6479439"/>
              <a:gd name="connsiteX5355" fmla="*/ 6475285 w 9586368"/>
              <a:gd name="connsiteY5355" fmla="*/ 2646366 h 6479439"/>
              <a:gd name="connsiteX5356" fmla="*/ 6471266 w 9586368"/>
              <a:gd name="connsiteY5356" fmla="*/ 2650405 h 6479439"/>
              <a:gd name="connsiteX5357" fmla="*/ 6461356 w 9586368"/>
              <a:gd name="connsiteY5357" fmla="*/ 2650405 h 6479439"/>
              <a:gd name="connsiteX5358" fmla="*/ 6457337 w 9586368"/>
              <a:gd name="connsiteY5358" fmla="*/ 2646366 h 6479439"/>
              <a:gd name="connsiteX5359" fmla="*/ 6457337 w 9586368"/>
              <a:gd name="connsiteY5359" fmla="*/ 2636496 h 6479439"/>
              <a:gd name="connsiteX5360" fmla="*/ 6222042 w 9586368"/>
              <a:gd name="connsiteY5360" fmla="*/ 2632457 h 6479439"/>
              <a:gd name="connsiteX5361" fmla="*/ 6231952 w 9586368"/>
              <a:gd name="connsiteY5361" fmla="*/ 2632457 h 6479439"/>
              <a:gd name="connsiteX5362" fmla="*/ 6235971 w 9586368"/>
              <a:gd name="connsiteY5362" fmla="*/ 2636496 h 6479439"/>
              <a:gd name="connsiteX5363" fmla="*/ 6235971 w 9586368"/>
              <a:gd name="connsiteY5363" fmla="*/ 2646366 h 6479439"/>
              <a:gd name="connsiteX5364" fmla="*/ 6231952 w 9586368"/>
              <a:gd name="connsiteY5364" fmla="*/ 2650405 h 6479439"/>
              <a:gd name="connsiteX5365" fmla="*/ 6222042 w 9586368"/>
              <a:gd name="connsiteY5365" fmla="*/ 2650405 h 6479439"/>
              <a:gd name="connsiteX5366" fmla="*/ 6218023 w 9586368"/>
              <a:gd name="connsiteY5366" fmla="*/ 2646366 h 6479439"/>
              <a:gd name="connsiteX5367" fmla="*/ 6218023 w 9586368"/>
              <a:gd name="connsiteY5367" fmla="*/ 2636496 h 6479439"/>
              <a:gd name="connsiteX5368" fmla="*/ 5982729 w 9586368"/>
              <a:gd name="connsiteY5368" fmla="*/ 2632457 h 6479439"/>
              <a:gd name="connsiteX5369" fmla="*/ 5992639 w 9586368"/>
              <a:gd name="connsiteY5369" fmla="*/ 2632457 h 6479439"/>
              <a:gd name="connsiteX5370" fmla="*/ 5996658 w 9586368"/>
              <a:gd name="connsiteY5370" fmla="*/ 2636496 h 6479439"/>
              <a:gd name="connsiteX5371" fmla="*/ 5996658 w 9586368"/>
              <a:gd name="connsiteY5371" fmla="*/ 2646366 h 6479439"/>
              <a:gd name="connsiteX5372" fmla="*/ 5992639 w 9586368"/>
              <a:gd name="connsiteY5372" fmla="*/ 2650405 h 6479439"/>
              <a:gd name="connsiteX5373" fmla="*/ 5982729 w 9586368"/>
              <a:gd name="connsiteY5373" fmla="*/ 2650405 h 6479439"/>
              <a:gd name="connsiteX5374" fmla="*/ 5978710 w 9586368"/>
              <a:gd name="connsiteY5374" fmla="*/ 2646366 h 6479439"/>
              <a:gd name="connsiteX5375" fmla="*/ 5978710 w 9586368"/>
              <a:gd name="connsiteY5375" fmla="*/ 2636496 h 6479439"/>
              <a:gd name="connsiteX5376" fmla="*/ 5743412 w 9586368"/>
              <a:gd name="connsiteY5376" fmla="*/ 2632457 h 6479439"/>
              <a:gd name="connsiteX5377" fmla="*/ 5753323 w 9586368"/>
              <a:gd name="connsiteY5377" fmla="*/ 2632457 h 6479439"/>
              <a:gd name="connsiteX5378" fmla="*/ 5757342 w 9586368"/>
              <a:gd name="connsiteY5378" fmla="*/ 2636496 h 6479439"/>
              <a:gd name="connsiteX5379" fmla="*/ 5757342 w 9586368"/>
              <a:gd name="connsiteY5379" fmla="*/ 2646366 h 6479439"/>
              <a:gd name="connsiteX5380" fmla="*/ 5753323 w 9586368"/>
              <a:gd name="connsiteY5380" fmla="*/ 2650405 h 6479439"/>
              <a:gd name="connsiteX5381" fmla="*/ 5743412 w 9586368"/>
              <a:gd name="connsiteY5381" fmla="*/ 2650405 h 6479439"/>
              <a:gd name="connsiteX5382" fmla="*/ 5739393 w 9586368"/>
              <a:gd name="connsiteY5382" fmla="*/ 2646366 h 6479439"/>
              <a:gd name="connsiteX5383" fmla="*/ 5739393 w 9586368"/>
              <a:gd name="connsiteY5383" fmla="*/ 2636496 h 6479439"/>
              <a:gd name="connsiteX5384" fmla="*/ 5504099 w 9586368"/>
              <a:gd name="connsiteY5384" fmla="*/ 2632457 h 6479439"/>
              <a:gd name="connsiteX5385" fmla="*/ 5514010 w 9586368"/>
              <a:gd name="connsiteY5385" fmla="*/ 2632457 h 6479439"/>
              <a:gd name="connsiteX5386" fmla="*/ 5518029 w 9586368"/>
              <a:gd name="connsiteY5386" fmla="*/ 2636496 h 6479439"/>
              <a:gd name="connsiteX5387" fmla="*/ 5518029 w 9586368"/>
              <a:gd name="connsiteY5387" fmla="*/ 2646366 h 6479439"/>
              <a:gd name="connsiteX5388" fmla="*/ 5514010 w 9586368"/>
              <a:gd name="connsiteY5388" fmla="*/ 2650405 h 6479439"/>
              <a:gd name="connsiteX5389" fmla="*/ 5504099 w 9586368"/>
              <a:gd name="connsiteY5389" fmla="*/ 2650405 h 6479439"/>
              <a:gd name="connsiteX5390" fmla="*/ 5500080 w 9586368"/>
              <a:gd name="connsiteY5390" fmla="*/ 2646366 h 6479439"/>
              <a:gd name="connsiteX5391" fmla="*/ 5500080 w 9586368"/>
              <a:gd name="connsiteY5391" fmla="*/ 2636496 h 6479439"/>
              <a:gd name="connsiteX5392" fmla="*/ 5264784 w 9586368"/>
              <a:gd name="connsiteY5392" fmla="*/ 2632457 h 6479439"/>
              <a:gd name="connsiteX5393" fmla="*/ 5274694 w 9586368"/>
              <a:gd name="connsiteY5393" fmla="*/ 2632457 h 6479439"/>
              <a:gd name="connsiteX5394" fmla="*/ 5278713 w 9586368"/>
              <a:gd name="connsiteY5394" fmla="*/ 2636496 h 6479439"/>
              <a:gd name="connsiteX5395" fmla="*/ 5278713 w 9586368"/>
              <a:gd name="connsiteY5395" fmla="*/ 2646366 h 6479439"/>
              <a:gd name="connsiteX5396" fmla="*/ 5274694 w 9586368"/>
              <a:gd name="connsiteY5396" fmla="*/ 2650405 h 6479439"/>
              <a:gd name="connsiteX5397" fmla="*/ 5264784 w 9586368"/>
              <a:gd name="connsiteY5397" fmla="*/ 2650405 h 6479439"/>
              <a:gd name="connsiteX5398" fmla="*/ 5260765 w 9586368"/>
              <a:gd name="connsiteY5398" fmla="*/ 2646366 h 6479439"/>
              <a:gd name="connsiteX5399" fmla="*/ 5260765 w 9586368"/>
              <a:gd name="connsiteY5399" fmla="*/ 2636496 h 6479439"/>
              <a:gd name="connsiteX5400" fmla="*/ 5025470 w 9586368"/>
              <a:gd name="connsiteY5400" fmla="*/ 2632457 h 6479439"/>
              <a:gd name="connsiteX5401" fmla="*/ 5035381 w 9586368"/>
              <a:gd name="connsiteY5401" fmla="*/ 2632457 h 6479439"/>
              <a:gd name="connsiteX5402" fmla="*/ 5039400 w 9586368"/>
              <a:gd name="connsiteY5402" fmla="*/ 2636496 h 6479439"/>
              <a:gd name="connsiteX5403" fmla="*/ 5039400 w 9586368"/>
              <a:gd name="connsiteY5403" fmla="*/ 2646366 h 6479439"/>
              <a:gd name="connsiteX5404" fmla="*/ 5035381 w 9586368"/>
              <a:gd name="connsiteY5404" fmla="*/ 2650405 h 6479439"/>
              <a:gd name="connsiteX5405" fmla="*/ 5025470 w 9586368"/>
              <a:gd name="connsiteY5405" fmla="*/ 2650405 h 6479439"/>
              <a:gd name="connsiteX5406" fmla="*/ 5021451 w 9586368"/>
              <a:gd name="connsiteY5406" fmla="*/ 2646366 h 6479439"/>
              <a:gd name="connsiteX5407" fmla="*/ 5021451 w 9586368"/>
              <a:gd name="connsiteY5407" fmla="*/ 2636496 h 6479439"/>
              <a:gd name="connsiteX5408" fmla="*/ 4786241 w 9586368"/>
              <a:gd name="connsiteY5408" fmla="*/ 2632457 h 6479439"/>
              <a:gd name="connsiteX5409" fmla="*/ 4796152 w 9586368"/>
              <a:gd name="connsiteY5409" fmla="*/ 2632457 h 6479439"/>
              <a:gd name="connsiteX5410" fmla="*/ 4800171 w 9586368"/>
              <a:gd name="connsiteY5410" fmla="*/ 2636496 h 6479439"/>
              <a:gd name="connsiteX5411" fmla="*/ 4800171 w 9586368"/>
              <a:gd name="connsiteY5411" fmla="*/ 2646366 h 6479439"/>
              <a:gd name="connsiteX5412" fmla="*/ 4796152 w 9586368"/>
              <a:gd name="connsiteY5412" fmla="*/ 2650405 h 6479439"/>
              <a:gd name="connsiteX5413" fmla="*/ 4786241 w 9586368"/>
              <a:gd name="connsiteY5413" fmla="*/ 2650405 h 6479439"/>
              <a:gd name="connsiteX5414" fmla="*/ 4782224 w 9586368"/>
              <a:gd name="connsiteY5414" fmla="*/ 2646366 h 6479439"/>
              <a:gd name="connsiteX5415" fmla="*/ 4782224 w 9586368"/>
              <a:gd name="connsiteY5415" fmla="*/ 2636496 h 6479439"/>
              <a:gd name="connsiteX5416" fmla="*/ 4546929 w 9586368"/>
              <a:gd name="connsiteY5416" fmla="*/ 2632457 h 6479439"/>
              <a:gd name="connsiteX5417" fmla="*/ 4556840 w 9586368"/>
              <a:gd name="connsiteY5417" fmla="*/ 2632457 h 6479439"/>
              <a:gd name="connsiteX5418" fmla="*/ 4560859 w 9586368"/>
              <a:gd name="connsiteY5418" fmla="*/ 2636496 h 6479439"/>
              <a:gd name="connsiteX5419" fmla="*/ 4560859 w 9586368"/>
              <a:gd name="connsiteY5419" fmla="*/ 2646366 h 6479439"/>
              <a:gd name="connsiteX5420" fmla="*/ 4556840 w 9586368"/>
              <a:gd name="connsiteY5420" fmla="*/ 2650405 h 6479439"/>
              <a:gd name="connsiteX5421" fmla="*/ 4546929 w 9586368"/>
              <a:gd name="connsiteY5421" fmla="*/ 2650405 h 6479439"/>
              <a:gd name="connsiteX5422" fmla="*/ 4542910 w 9586368"/>
              <a:gd name="connsiteY5422" fmla="*/ 2646366 h 6479439"/>
              <a:gd name="connsiteX5423" fmla="*/ 4542910 w 9586368"/>
              <a:gd name="connsiteY5423" fmla="*/ 2636496 h 6479439"/>
              <a:gd name="connsiteX5424" fmla="*/ 4307612 w 9586368"/>
              <a:gd name="connsiteY5424" fmla="*/ 2632457 h 6479439"/>
              <a:gd name="connsiteX5425" fmla="*/ 4317523 w 9586368"/>
              <a:gd name="connsiteY5425" fmla="*/ 2632457 h 6479439"/>
              <a:gd name="connsiteX5426" fmla="*/ 4321543 w 9586368"/>
              <a:gd name="connsiteY5426" fmla="*/ 2636496 h 6479439"/>
              <a:gd name="connsiteX5427" fmla="*/ 4321543 w 9586368"/>
              <a:gd name="connsiteY5427" fmla="*/ 2646366 h 6479439"/>
              <a:gd name="connsiteX5428" fmla="*/ 4317523 w 9586368"/>
              <a:gd name="connsiteY5428" fmla="*/ 2650405 h 6479439"/>
              <a:gd name="connsiteX5429" fmla="*/ 4307612 w 9586368"/>
              <a:gd name="connsiteY5429" fmla="*/ 2650405 h 6479439"/>
              <a:gd name="connsiteX5430" fmla="*/ 4303595 w 9586368"/>
              <a:gd name="connsiteY5430" fmla="*/ 2646366 h 6479439"/>
              <a:gd name="connsiteX5431" fmla="*/ 4303595 w 9586368"/>
              <a:gd name="connsiteY5431" fmla="*/ 2636496 h 6479439"/>
              <a:gd name="connsiteX5432" fmla="*/ 4068297 w 9586368"/>
              <a:gd name="connsiteY5432" fmla="*/ 2632457 h 6479439"/>
              <a:gd name="connsiteX5433" fmla="*/ 4078210 w 9586368"/>
              <a:gd name="connsiteY5433" fmla="*/ 2632457 h 6479439"/>
              <a:gd name="connsiteX5434" fmla="*/ 4082229 w 9586368"/>
              <a:gd name="connsiteY5434" fmla="*/ 2636496 h 6479439"/>
              <a:gd name="connsiteX5435" fmla="*/ 4082229 w 9586368"/>
              <a:gd name="connsiteY5435" fmla="*/ 2646366 h 6479439"/>
              <a:gd name="connsiteX5436" fmla="*/ 4078210 w 9586368"/>
              <a:gd name="connsiteY5436" fmla="*/ 2650405 h 6479439"/>
              <a:gd name="connsiteX5437" fmla="*/ 4068297 w 9586368"/>
              <a:gd name="connsiteY5437" fmla="*/ 2650405 h 6479439"/>
              <a:gd name="connsiteX5438" fmla="*/ 4064278 w 9586368"/>
              <a:gd name="connsiteY5438" fmla="*/ 2646366 h 6479439"/>
              <a:gd name="connsiteX5439" fmla="*/ 4064278 w 9586368"/>
              <a:gd name="connsiteY5439" fmla="*/ 2636496 h 6479439"/>
              <a:gd name="connsiteX5440" fmla="*/ 3828990 w 9586368"/>
              <a:gd name="connsiteY5440" fmla="*/ 2632457 h 6479439"/>
              <a:gd name="connsiteX5441" fmla="*/ 3838899 w 9586368"/>
              <a:gd name="connsiteY5441" fmla="*/ 2632457 h 6479439"/>
              <a:gd name="connsiteX5442" fmla="*/ 3842917 w 9586368"/>
              <a:gd name="connsiteY5442" fmla="*/ 2636496 h 6479439"/>
              <a:gd name="connsiteX5443" fmla="*/ 3842917 w 9586368"/>
              <a:gd name="connsiteY5443" fmla="*/ 2646366 h 6479439"/>
              <a:gd name="connsiteX5444" fmla="*/ 3838899 w 9586368"/>
              <a:gd name="connsiteY5444" fmla="*/ 2650405 h 6479439"/>
              <a:gd name="connsiteX5445" fmla="*/ 3828990 w 9586368"/>
              <a:gd name="connsiteY5445" fmla="*/ 2650405 h 6479439"/>
              <a:gd name="connsiteX5446" fmla="*/ 3824971 w 9586368"/>
              <a:gd name="connsiteY5446" fmla="*/ 2646366 h 6479439"/>
              <a:gd name="connsiteX5447" fmla="*/ 3824971 w 9586368"/>
              <a:gd name="connsiteY5447" fmla="*/ 2636496 h 6479439"/>
              <a:gd name="connsiteX5448" fmla="*/ 3589676 w 9586368"/>
              <a:gd name="connsiteY5448" fmla="*/ 2632457 h 6479439"/>
              <a:gd name="connsiteX5449" fmla="*/ 3599585 w 9586368"/>
              <a:gd name="connsiteY5449" fmla="*/ 2632457 h 6479439"/>
              <a:gd name="connsiteX5450" fmla="*/ 3603604 w 9586368"/>
              <a:gd name="connsiteY5450" fmla="*/ 2636496 h 6479439"/>
              <a:gd name="connsiteX5451" fmla="*/ 3603604 w 9586368"/>
              <a:gd name="connsiteY5451" fmla="*/ 2646366 h 6479439"/>
              <a:gd name="connsiteX5452" fmla="*/ 3599585 w 9586368"/>
              <a:gd name="connsiteY5452" fmla="*/ 2650405 h 6479439"/>
              <a:gd name="connsiteX5453" fmla="*/ 3589676 w 9586368"/>
              <a:gd name="connsiteY5453" fmla="*/ 2650405 h 6479439"/>
              <a:gd name="connsiteX5454" fmla="*/ 3585657 w 9586368"/>
              <a:gd name="connsiteY5454" fmla="*/ 2646366 h 6479439"/>
              <a:gd name="connsiteX5455" fmla="*/ 3585657 w 9586368"/>
              <a:gd name="connsiteY5455" fmla="*/ 2636496 h 6479439"/>
              <a:gd name="connsiteX5456" fmla="*/ 3350359 w 9586368"/>
              <a:gd name="connsiteY5456" fmla="*/ 2632457 h 6479439"/>
              <a:gd name="connsiteX5457" fmla="*/ 3360268 w 9586368"/>
              <a:gd name="connsiteY5457" fmla="*/ 2632457 h 6479439"/>
              <a:gd name="connsiteX5458" fmla="*/ 3364287 w 9586368"/>
              <a:gd name="connsiteY5458" fmla="*/ 2636496 h 6479439"/>
              <a:gd name="connsiteX5459" fmla="*/ 3364287 w 9586368"/>
              <a:gd name="connsiteY5459" fmla="*/ 2646366 h 6479439"/>
              <a:gd name="connsiteX5460" fmla="*/ 3360268 w 9586368"/>
              <a:gd name="connsiteY5460" fmla="*/ 2650405 h 6479439"/>
              <a:gd name="connsiteX5461" fmla="*/ 3350359 w 9586368"/>
              <a:gd name="connsiteY5461" fmla="*/ 2650405 h 6479439"/>
              <a:gd name="connsiteX5462" fmla="*/ 3346340 w 9586368"/>
              <a:gd name="connsiteY5462" fmla="*/ 2646366 h 6479439"/>
              <a:gd name="connsiteX5463" fmla="*/ 3346340 w 9586368"/>
              <a:gd name="connsiteY5463" fmla="*/ 2636496 h 6479439"/>
              <a:gd name="connsiteX5464" fmla="*/ 3111048 w 9586368"/>
              <a:gd name="connsiteY5464" fmla="*/ 2632457 h 6479439"/>
              <a:gd name="connsiteX5465" fmla="*/ 3120959 w 9586368"/>
              <a:gd name="connsiteY5465" fmla="*/ 2632457 h 6479439"/>
              <a:gd name="connsiteX5466" fmla="*/ 3124977 w 9586368"/>
              <a:gd name="connsiteY5466" fmla="*/ 2636496 h 6479439"/>
              <a:gd name="connsiteX5467" fmla="*/ 3124977 w 9586368"/>
              <a:gd name="connsiteY5467" fmla="*/ 2646366 h 6479439"/>
              <a:gd name="connsiteX5468" fmla="*/ 3120959 w 9586368"/>
              <a:gd name="connsiteY5468" fmla="*/ 2650405 h 6479439"/>
              <a:gd name="connsiteX5469" fmla="*/ 3111048 w 9586368"/>
              <a:gd name="connsiteY5469" fmla="*/ 2650405 h 6479439"/>
              <a:gd name="connsiteX5470" fmla="*/ 3107029 w 9586368"/>
              <a:gd name="connsiteY5470" fmla="*/ 2646366 h 6479439"/>
              <a:gd name="connsiteX5471" fmla="*/ 3107029 w 9586368"/>
              <a:gd name="connsiteY5471" fmla="*/ 2636496 h 6479439"/>
              <a:gd name="connsiteX5472" fmla="*/ 2871737 w 9586368"/>
              <a:gd name="connsiteY5472" fmla="*/ 2632457 h 6479439"/>
              <a:gd name="connsiteX5473" fmla="*/ 2881646 w 9586368"/>
              <a:gd name="connsiteY5473" fmla="*/ 2632457 h 6479439"/>
              <a:gd name="connsiteX5474" fmla="*/ 2885666 w 9586368"/>
              <a:gd name="connsiteY5474" fmla="*/ 2636496 h 6479439"/>
              <a:gd name="connsiteX5475" fmla="*/ 2885666 w 9586368"/>
              <a:gd name="connsiteY5475" fmla="*/ 2646366 h 6479439"/>
              <a:gd name="connsiteX5476" fmla="*/ 2881646 w 9586368"/>
              <a:gd name="connsiteY5476" fmla="*/ 2650405 h 6479439"/>
              <a:gd name="connsiteX5477" fmla="*/ 2871737 w 9586368"/>
              <a:gd name="connsiteY5477" fmla="*/ 2650405 h 6479439"/>
              <a:gd name="connsiteX5478" fmla="*/ 2867717 w 9586368"/>
              <a:gd name="connsiteY5478" fmla="*/ 2646366 h 6479439"/>
              <a:gd name="connsiteX5479" fmla="*/ 2867717 w 9586368"/>
              <a:gd name="connsiteY5479" fmla="*/ 2636496 h 6479439"/>
              <a:gd name="connsiteX5480" fmla="*/ 2632423 w 9586368"/>
              <a:gd name="connsiteY5480" fmla="*/ 2632457 h 6479439"/>
              <a:gd name="connsiteX5481" fmla="*/ 2642334 w 9586368"/>
              <a:gd name="connsiteY5481" fmla="*/ 2632457 h 6479439"/>
              <a:gd name="connsiteX5482" fmla="*/ 2646352 w 9586368"/>
              <a:gd name="connsiteY5482" fmla="*/ 2636496 h 6479439"/>
              <a:gd name="connsiteX5483" fmla="*/ 2646352 w 9586368"/>
              <a:gd name="connsiteY5483" fmla="*/ 2646366 h 6479439"/>
              <a:gd name="connsiteX5484" fmla="*/ 2642334 w 9586368"/>
              <a:gd name="connsiteY5484" fmla="*/ 2650405 h 6479439"/>
              <a:gd name="connsiteX5485" fmla="*/ 2632423 w 9586368"/>
              <a:gd name="connsiteY5485" fmla="*/ 2650405 h 6479439"/>
              <a:gd name="connsiteX5486" fmla="*/ 2628404 w 9586368"/>
              <a:gd name="connsiteY5486" fmla="*/ 2646366 h 6479439"/>
              <a:gd name="connsiteX5487" fmla="*/ 2628404 w 9586368"/>
              <a:gd name="connsiteY5487" fmla="*/ 2636496 h 6479439"/>
              <a:gd name="connsiteX5488" fmla="*/ 2393104 w 9586368"/>
              <a:gd name="connsiteY5488" fmla="*/ 2632457 h 6479439"/>
              <a:gd name="connsiteX5489" fmla="*/ 2403015 w 9586368"/>
              <a:gd name="connsiteY5489" fmla="*/ 2632457 h 6479439"/>
              <a:gd name="connsiteX5490" fmla="*/ 2407034 w 9586368"/>
              <a:gd name="connsiteY5490" fmla="*/ 2636496 h 6479439"/>
              <a:gd name="connsiteX5491" fmla="*/ 2407034 w 9586368"/>
              <a:gd name="connsiteY5491" fmla="*/ 2646366 h 6479439"/>
              <a:gd name="connsiteX5492" fmla="*/ 2403015 w 9586368"/>
              <a:gd name="connsiteY5492" fmla="*/ 2650405 h 6479439"/>
              <a:gd name="connsiteX5493" fmla="*/ 2393104 w 9586368"/>
              <a:gd name="connsiteY5493" fmla="*/ 2650405 h 6479439"/>
              <a:gd name="connsiteX5494" fmla="*/ 2389087 w 9586368"/>
              <a:gd name="connsiteY5494" fmla="*/ 2646366 h 6479439"/>
              <a:gd name="connsiteX5495" fmla="*/ 2389087 w 9586368"/>
              <a:gd name="connsiteY5495" fmla="*/ 2636496 h 6479439"/>
              <a:gd name="connsiteX5496" fmla="*/ 2157821 w 9586368"/>
              <a:gd name="connsiteY5496" fmla="*/ 2632457 h 6479439"/>
              <a:gd name="connsiteX5497" fmla="*/ 2167732 w 9586368"/>
              <a:gd name="connsiteY5497" fmla="*/ 2632457 h 6479439"/>
              <a:gd name="connsiteX5498" fmla="*/ 2171750 w 9586368"/>
              <a:gd name="connsiteY5498" fmla="*/ 2636496 h 6479439"/>
              <a:gd name="connsiteX5499" fmla="*/ 2171750 w 9586368"/>
              <a:gd name="connsiteY5499" fmla="*/ 2646366 h 6479439"/>
              <a:gd name="connsiteX5500" fmla="*/ 2167732 w 9586368"/>
              <a:gd name="connsiteY5500" fmla="*/ 2650405 h 6479439"/>
              <a:gd name="connsiteX5501" fmla="*/ 2157821 w 9586368"/>
              <a:gd name="connsiteY5501" fmla="*/ 2650405 h 6479439"/>
              <a:gd name="connsiteX5502" fmla="*/ 2153802 w 9586368"/>
              <a:gd name="connsiteY5502" fmla="*/ 2646366 h 6479439"/>
              <a:gd name="connsiteX5503" fmla="*/ 2153802 w 9586368"/>
              <a:gd name="connsiteY5503" fmla="*/ 2636496 h 6479439"/>
              <a:gd name="connsiteX5504" fmla="*/ 1918513 w 9586368"/>
              <a:gd name="connsiteY5504" fmla="*/ 2632457 h 6479439"/>
              <a:gd name="connsiteX5505" fmla="*/ 1928422 w 9586368"/>
              <a:gd name="connsiteY5505" fmla="*/ 2632457 h 6479439"/>
              <a:gd name="connsiteX5506" fmla="*/ 1932441 w 9586368"/>
              <a:gd name="connsiteY5506" fmla="*/ 2636496 h 6479439"/>
              <a:gd name="connsiteX5507" fmla="*/ 1932441 w 9586368"/>
              <a:gd name="connsiteY5507" fmla="*/ 2646366 h 6479439"/>
              <a:gd name="connsiteX5508" fmla="*/ 1928422 w 9586368"/>
              <a:gd name="connsiteY5508" fmla="*/ 2650405 h 6479439"/>
              <a:gd name="connsiteX5509" fmla="*/ 1918513 w 9586368"/>
              <a:gd name="connsiteY5509" fmla="*/ 2650405 h 6479439"/>
              <a:gd name="connsiteX5510" fmla="*/ 1914494 w 9586368"/>
              <a:gd name="connsiteY5510" fmla="*/ 2646366 h 6479439"/>
              <a:gd name="connsiteX5511" fmla="*/ 1914494 w 9586368"/>
              <a:gd name="connsiteY5511" fmla="*/ 2636496 h 6479439"/>
              <a:gd name="connsiteX5512" fmla="*/ 1679212 w 9586368"/>
              <a:gd name="connsiteY5512" fmla="*/ 2632457 h 6479439"/>
              <a:gd name="connsiteX5513" fmla="*/ 1689122 w 9586368"/>
              <a:gd name="connsiteY5513" fmla="*/ 2632457 h 6479439"/>
              <a:gd name="connsiteX5514" fmla="*/ 1693141 w 9586368"/>
              <a:gd name="connsiteY5514" fmla="*/ 2636496 h 6479439"/>
              <a:gd name="connsiteX5515" fmla="*/ 1693141 w 9586368"/>
              <a:gd name="connsiteY5515" fmla="*/ 2646366 h 6479439"/>
              <a:gd name="connsiteX5516" fmla="*/ 1689122 w 9586368"/>
              <a:gd name="connsiteY5516" fmla="*/ 2650405 h 6479439"/>
              <a:gd name="connsiteX5517" fmla="*/ 1679212 w 9586368"/>
              <a:gd name="connsiteY5517" fmla="*/ 2650405 h 6479439"/>
              <a:gd name="connsiteX5518" fmla="*/ 1675193 w 9586368"/>
              <a:gd name="connsiteY5518" fmla="*/ 2646366 h 6479439"/>
              <a:gd name="connsiteX5519" fmla="*/ 1675193 w 9586368"/>
              <a:gd name="connsiteY5519" fmla="*/ 2636496 h 6479439"/>
              <a:gd name="connsiteX5520" fmla="*/ 1439896 w 9586368"/>
              <a:gd name="connsiteY5520" fmla="*/ 2632457 h 6479439"/>
              <a:gd name="connsiteX5521" fmla="*/ 1449806 w 9586368"/>
              <a:gd name="connsiteY5521" fmla="*/ 2632457 h 6479439"/>
              <a:gd name="connsiteX5522" fmla="*/ 1453824 w 9586368"/>
              <a:gd name="connsiteY5522" fmla="*/ 2636496 h 6479439"/>
              <a:gd name="connsiteX5523" fmla="*/ 1453824 w 9586368"/>
              <a:gd name="connsiteY5523" fmla="*/ 2646366 h 6479439"/>
              <a:gd name="connsiteX5524" fmla="*/ 1449806 w 9586368"/>
              <a:gd name="connsiteY5524" fmla="*/ 2650405 h 6479439"/>
              <a:gd name="connsiteX5525" fmla="*/ 1439896 w 9586368"/>
              <a:gd name="connsiteY5525" fmla="*/ 2650405 h 6479439"/>
              <a:gd name="connsiteX5526" fmla="*/ 1435876 w 9586368"/>
              <a:gd name="connsiteY5526" fmla="*/ 2646366 h 6479439"/>
              <a:gd name="connsiteX5527" fmla="*/ 1435876 w 9586368"/>
              <a:gd name="connsiteY5527" fmla="*/ 2636496 h 6479439"/>
              <a:gd name="connsiteX5528" fmla="*/ 1200580 w 9586368"/>
              <a:gd name="connsiteY5528" fmla="*/ 2632457 h 6479439"/>
              <a:gd name="connsiteX5529" fmla="*/ 1210490 w 9586368"/>
              <a:gd name="connsiteY5529" fmla="*/ 2632457 h 6479439"/>
              <a:gd name="connsiteX5530" fmla="*/ 1214509 w 9586368"/>
              <a:gd name="connsiteY5530" fmla="*/ 2636496 h 6479439"/>
              <a:gd name="connsiteX5531" fmla="*/ 1214509 w 9586368"/>
              <a:gd name="connsiteY5531" fmla="*/ 2646366 h 6479439"/>
              <a:gd name="connsiteX5532" fmla="*/ 1210490 w 9586368"/>
              <a:gd name="connsiteY5532" fmla="*/ 2650405 h 6479439"/>
              <a:gd name="connsiteX5533" fmla="*/ 1200580 w 9586368"/>
              <a:gd name="connsiteY5533" fmla="*/ 2650405 h 6479439"/>
              <a:gd name="connsiteX5534" fmla="*/ 1196561 w 9586368"/>
              <a:gd name="connsiteY5534" fmla="*/ 2646366 h 6479439"/>
              <a:gd name="connsiteX5535" fmla="*/ 1196561 w 9586368"/>
              <a:gd name="connsiteY5535" fmla="*/ 2636496 h 6479439"/>
              <a:gd name="connsiteX5536" fmla="*/ 961267 w 9586368"/>
              <a:gd name="connsiteY5536" fmla="*/ 2632457 h 6479439"/>
              <a:gd name="connsiteX5537" fmla="*/ 971178 w 9586368"/>
              <a:gd name="connsiteY5537" fmla="*/ 2632457 h 6479439"/>
              <a:gd name="connsiteX5538" fmla="*/ 975196 w 9586368"/>
              <a:gd name="connsiteY5538" fmla="*/ 2636496 h 6479439"/>
              <a:gd name="connsiteX5539" fmla="*/ 975196 w 9586368"/>
              <a:gd name="connsiteY5539" fmla="*/ 2646366 h 6479439"/>
              <a:gd name="connsiteX5540" fmla="*/ 971178 w 9586368"/>
              <a:gd name="connsiteY5540" fmla="*/ 2650405 h 6479439"/>
              <a:gd name="connsiteX5541" fmla="*/ 961267 w 9586368"/>
              <a:gd name="connsiteY5541" fmla="*/ 2650405 h 6479439"/>
              <a:gd name="connsiteX5542" fmla="*/ 957249 w 9586368"/>
              <a:gd name="connsiteY5542" fmla="*/ 2646366 h 6479439"/>
              <a:gd name="connsiteX5543" fmla="*/ 957249 w 9586368"/>
              <a:gd name="connsiteY5543" fmla="*/ 2636496 h 6479439"/>
              <a:gd name="connsiteX5544" fmla="*/ 721970 w 9586368"/>
              <a:gd name="connsiteY5544" fmla="*/ 2632457 h 6479439"/>
              <a:gd name="connsiteX5545" fmla="*/ 731879 w 9586368"/>
              <a:gd name="connsiteY5545" fmla="*/ 2632457 h 6479439"/>
              <a:gd name="connsiteX5546" fmla="*/ 735898 w 9586368"/>
              <a:gd name="connsiteY5546" fmla="*/ 2636496 h 6479439"/>
              <a:gd name="connsiteX5547" fmla="*/ 735898 w 9586368"/>
              <a:gd name="connsiteY5547" fmla="*/ 2646366 h 6479439"/>
              <a:gd name="connsiteX5548" fmla="*/ 731879 w 9586368"/>
              <a:gd name="connsiteY5548" fmla="*/ 2650405 h 6479439"/>
              <a:gd name="connsiteX5549" fmla="*/ 721970 w 9586368"/>
              <a:gd name="connsiteY5549" fmla="*/ 2650405 h 6479439"/>
              <a:gd name="connsiteX5550" fmla="*/ 717951 w 9586368"/>
              <a:gd name="connsiteY5550" fmla="*/ 2646366 h 6479439"/>
              <a:gd name="connsiteX5551" fmla="*/ 717951 w 9586368"/>
              <a:gd name="connsiteY5551" fmla="*/ 2636496 h 6479439"/>
              <a:gd name="connsiteX5552" fmla="*/ 482657 w 9586368"/>
              <a:gd name="connsiteY5552" fmla="*/ 2632457 h 6479439"/>
              <a:gd name="connsiteX5553" fmla="*/ 492567 w 9586368"/>
              <a:gd name="connsiteY5553" fmla="*/ 2632457 h 6479439"/>
              <a:gd name="connsiteX5554" fmla="*/ 496586 w 9586368"/>
              <a:gd name="connsiteY5554" fmla="*/ 2636496 h 6479439"/>
              <a:gd name="connsiteX5555" fmla="*/ 496586 w 9586368"/>
              <a:gd name="connsiteY5555" fmla="*/ 2646366 h 6479439"/>
              <a:gd name="connsiteX5556" fmla="*/ 492567 w 9586368"/>
              <a:gd name="connsiteY5556" fmla="*/ 2650405 h 6479439"/>
              <a:gd name="connsiteX5557" fmla="*/ 482657 w 9586368"/>
              <a:gd name="connsiteY5557" fmla="*/ 2650405 h 6479439"/>
              <a:gd name="connsiteX5558" fmla="*/ 478638 w 9586368"/>
              <a:gd name="connsiteY5558" fmla="*/ 2646366 h 6479439"/>
              <a:gd name="connsiteX5559" fmla="*/ 478638 w 9586368"/>
              <a:gd name="connsiteY5559" fmla="*/ 2636496 h 6479439"/>
              <a:gd name="connsiteX5560" fmla="*/ 243344 w 9586368"/>
              <a:gd name="connsiteY5560" fmla="*/ 2632457 h 6479439"/>
              <a:gd name="connsiteX5561" fmla="*/ 253254 w 9586368"/>
              <a:gd name="connsiteY5561" fmla="*/ 2632457 h 6479439"/>
              <a:gd name="connsiteX5562" fmla="*/ 257273 w 9586368"/>
              <a:gd name="connsiteY5562" fmla="*/ 2636496 h 6479439"/>
              <a:gd name="connsiteX5563" fmla="*/ 257273 w 9586368"/>
              <a:gd name="connsiteY5563" fmla="*/ 2646366 h 6479439"/>
              <a:gd name="connsiteX5564" fmla="*/ 253254 w 9586368"/>
              <a:gd name="connsiteY5564" fmla="*/ 2650405 h 6479439"/>
              <a:gd name="connsiteX5565" fmla="*/ 243344 w 9586368"/>
              <a:gd name="connsiteY5565" fmla="*/ 2650405 h 6479439"/>
              <a:gd name="connsiteX5566" fmla="*/ 239325 w 9586368"/>
              <a:gd name="connsiteY5566" fmla="*/ 2646366 h 6479439"/>
              <a:gd name="connsiteX5567" fmla="*/ 239325 w 9586368"/>
              <a:gd name="connsiteY5567" fmla="*/ 2636496 h 6479439"/>
              <a:gd name="connsiteX5568" fmla="*/ 4030 w 9586368"/>
              <a:gd name="connsiteY5568" fmla="*/ 2632457 h 6479439"/>
              <a:gd name="connsiteX5569" fmla="*/ 13941 w 9586368"/>
              <a:gd name="connsiteY5569" fmla="*/ 2632457 h 6479439"/>
              <a:gd name="connsiteX5570" fmla="*/ 17960 w 9586368"/>
              <a:gd name="connsiteY5570" fmla="*/ 2636496 h 6479439"/>
              <a:gd name="connsiteX5571" fmla="*/ 17960 w 9586368"/>
              <a:gd name="connsiteY5571" fmla="*/ 2646366 h 6479439"/>
              <a:gd name="connsiteX5572" fmla="*/ 13941 w 9586368"/>
              <a:gd name="connsiteY5572" fmla="*/ 2650405 h 6479439"/>
              <a:gd name="connsiteX5573" fmla="*/ 4030 w 9586368"/>
              <a:gd name="connsiteY5573" fmla="*/ 2650405 h 6479439"/>
              <a:gd name="connsiteX5574" fmla="*/ 11 w 9586368"/>
              <a:gd name="connsiteY5574" fmla="*/ 2646366 h 6479439"/>
              <a:gd name="connsiteX5575" fmla="*/ 11 w 9586368"/>
              <a:gd name="connsiteY5575" fmla="*/ 2636496 h 6479439"/>
              <a:gd name="connsiteX5576" fmla="*/ 2157821 w 9586368"/>
              <a:gd name="connsiteY5576" fmla="*/ 2393178 h 6479439"/>
              <a:gd name="connsiteX5577" fmla="*/ 2167732 w 9586368"/>
              <a:gd name="connsiteY5577" fmla="*/ 2393178 h 6479439"/>
              <a:gd name="connsiteX5578" fmla="*/ 2171750 w 9586368"/>
              <a:gd name="connsiteY5578" fmla="*/ 2397216 h 6479439"/>
              <a:gd name="connsiteX5579" fmla="*/ 2171750 w 9586368"/>
              <a:gd name="connsiteY5579" fmla="*/ 2407087 h 6479439"/>
              <a:gd name="connsiteX5580" fmla="*/ 2167732 w 9586368"/>
              <a:gd name="connsiteY5580" fmla="*/ 2411126 h 6479439"/>
              <a:gd name="connsiteX5581" fmla="*/ 2157821 w 9586368"/>
              <a:gd name="connsiteY5581" fmla="*/ 2411126 h 6479439"/>
              <a:gd name="connsiteX5582" fmla="*/ 2153802 w 9586368"/>
              <a:gd name="connsiteY5582" fmla="*/ 2407087 h 6479439"/>
              <a:gd name="connsiteX5583" fmla="*/ 2153802 w 9586368"/>
              <a:gd name="connsiteY5583" fmla="*/ 2397216 h 6479439"/>
              <a:gd name="connsiteX5584" fmla="*/ 1918513 w 9586368"/>
              <a:gd name="connsiteY5584" fmla="*/ 2393178 h 6479439"/>
              <a:gd name="connsiteX5585" fmla="*/ 1928422 w 9586368"/>
              <a:gd name="connsiteY5585" fmla="*/ 2393178 h 6479439"/>
              <a:gd name="connsiteX5586" fmla="*/ 1932443 w 9586368"/>
              <a:gd name="connsiteY5586" fmla="*/ 2397216 h 6479439"/>
              <a:gd name="connsiteX5587" fmla="*/ 1932443 w 9586368"/>
              <a:gd name="connsiteY5587" fmla="*/ 2407087 h 6479439"/>
              <a:gd name="connsiteX5588" fmla="*/ 1928422 w 9586368"/>
              <a:gd name="connsiteY5588" fmla="*/ 2411126 h 6479439"/>
              <a:gd name="connsiteX5589" fmla="*/ 1918513 w 9586368"/>
              <a:gd name="connsiteY5589" fmla="*/ 2411126 h 6479439"/>
              <a:gd name="connsiteX5590" fmla="*/ 1914494 w 9586368"/>
              <a:gd name="connsiteY5590" fmla="*/ 2407087 h 6479439"/>
              <a:gd name="connsiteX5591" fmla="*/ 1914494 w 9586368"/>
              <a:gd name="connsiteY5591" fmla="*/ 2397216 h 6479439"/>
              <a:gd name="connsiteX5592" fmla="*/ 1679212 w 9586368"/>
              <a:gd name="connsiteY5592" fmla="*/ 2393178 h 6479439"/>
              <a:gd name="connsiteX5593" fmla="*/ 1689123 w 9586368"/>
              <a:gd name="connsiteY5593" fmla="*/ 2393178 h 6479439"/>
              <a:gd name="connsiteX5594" fmla="*/ 1693142 w 9586368"/>
              <a:gd name="connsiteY5594" fmla="*/ 2397216 h 6479439"/>
              <a:gd name="connsiteX5595" fmla="*/ 1693142 w 9586368"/>
              <a:gd name="connsiteY5595" fmla="*/ 2407087 h 6479439"/>
              <a:gd name="connsiteX5596" fmla="*/ 1689123 w 9586368"/>
              <a:gd name="connsiteY5596" fmla="*/ 2411126 h 6479439"/>
              <a:gd name="connsiteX5597" fmla="*/ 1679212 w 9586368"/>
              <a:gd name="connsiteY5597" fmla="*/ 2411126 h 6479439"/>
              <a:gd name="connsiteX5598" fmla="*/ 1675194 w 9586368"/>
              <a:gd name="connsiteY5598" fmla="*/ 2407087 h 6479439"/>
              <a:gd name="connsiteX5599" fmla="*/ 1675194 w 9586368"/>
              <a:gd name="connsiteY5599" fmla="*/ 2397216 h 6479439"/>
              <a:gd name="connsiteX5600" fmla="*/ 1439896 w 9586368"/>
              <a:gd name="connsiteY5600" fmla="*/ 2393178 h 6479439"/>
              <a:gd name="connsiteX5601" fmla="*/ 1449806 w 9586368"/>
              <a:gd name="connsiteY5601" fmla="*/ 2393178 h 6479439"/>
              <a:gd name="connsiteX5602" fmla="*/ 1453826 w 9586368"/>
              <a:gd name="connsiteY5602" fmla="*/ 2397216 h 6479439"/>
              <a:gd name="connsiteX5603" fmla="*/ 1453826 w 9586368"/>
              <a:gd name="connsiteY5603" fmla="*/ 2407087 h 6479439"/>
              <a:gd name="connsiteX5604" fmla="*/ 1449806 w 9586368"/>
              <a:gd name="connsiteY5604" fmla="*/ 2411126 h 6479439"/>
              <a:gd name="connsiteX5605" fmla="*/ 1439896 w 9586368"/>
              <a:gd name="connsiteY5605" fmla="*/ 2411126 h 6479439"/>
              <a:gd name="connsiteX5606" fmla="*/ 1435878 w 9586368"/>
              <a:gd name="connsiteY5606" fmla="*/ 2407087 h 6479439"/>
              <a:gd name="connsiteX5607" fmla="*/ 1435878 w 9586368"/>
              <a:gd name="connsiteY5607" fmla="*/ 2397216 h 6479439"/>
              <a:gd name="connsiteX5608" fmla="*/ 1200580 w 9586368"/>
              <a:gd name="connsiteY5608" fmla="*/ 2393178 h 6479439"/>
              <a:gd name="connsiteX5609" fmla="*/ 1210491 w 9586368"/>
              <a:gd name="connsiteY5609" fmla="*/ 2393178 h 6479439"/>
              <a:gd name="connsiteX5610" fmla="*/ 1214510 w 9586368"/>
              <a:gd name="connsiteY5610" fmla="*/ 2397216 h 6479439"/>
              <a:gd name="connsiteX5611" fmla="*/ 1214510 w 9586368"/>
              <a:gd name="connsiteY5611" fmla="*/ 2407087 h 6479439"/>
              <a:gd name="connsiteX5612" fmla="*/ 1210491 w 9586368"/>
              <a:gd name="connsiteY5612" fmla="*/ 2411126 h 6479439"/>
              <a:gd name="connsiteX5613" fmla="*/ 1200580 w 9586368"/>
              <a:gd name="connsiteY5613" fmla="*/ 2411126 h 6479439"/>
              <a:gd name="connsiteX5614" fmla="*/ 1196562 w 9586368"/>
              <a:gd name="connsiteY5614" fmla="*/ 2407087 h 6479439"/>
              <a:gd name="connsiteX5615" fmla="*/ 1196562 w 9586368"/>
              <a:gd name="connsiteY5615" fmla="*/ 2397216 h 6479439"/>
              <a:gd name="connsiteX5616" fmla="*/ 961268 w 9586368"/>
              <a:gd name="connsiteY5616" fmla="*/ 2393178 h 6479439"/>
              <a:gd name="connsiteX5617" fmla="*/ 971178 w 9586368"/>
              <a:gd name="connsiteY5617" fmla="*/ 2393178 h 6479439"/>
              <a:gd name="connsiteX5618" fmla="*/ 975196 w 9586368"/>
              <a:gd name="connsiteY5618" fmla="*/ 2397216 h 6479439"/>
              <a:gd name="connsiteX5619" fmla="*/ 975196 w 9586368"/>
              <a:gd name="connsiteY5619" fmla="*/ 2407087 h 6479439"/>
              <a:gd name="connsiteX5620" fmla="*/ 971178 w 9586368"/>
              <a:gd name="connsiteY5620" fmla="*/ 2411126 h 6479439"/>
              <a:gd name="connsiteX5621" fmla="*/ 961268 w 9586368"/>
              <a:gd name="connsiteY5621" fmla="*/ 2411126 h 6479439"/>
              <a:gd name="connsiteX5622" fmla="*/ 957249 w 9586368"/>
              <a:gd name="connsiteY5622" fmla="*/ 2407087 h 6479439"/>
              <a:gd name="connsiteX5623" fmla="*/ 957249 w 9586368"/>
              <a:gd name="connsiteY5623" fmla="*/ 2397216 h 6479439"/>
              <a:gd name="connsiteX5624" fmla="*/ 9572438 w 9586368"/>
              <a:gd name="connsiteY5624" fmla="*/ 2393127 h 6479439"/>
              <a:gd name="connsiteX5625" fmla="*/ 9582349 w 9586368"/>
              <a:gd name="connsiteY5625" fmla="*/ 2393127 h 6479439"/>
              <a:gd name="connsiteX5626" fmla="*/ 9586368 w 9586368"/>
              <a:gd name="connsiteY5626" fmla="*/ 2397165 h 6479439"/>
              <a:gd name="connsiteX5627" fmla="*/ 9586368 w 9586368"/>
              <a:gd name="connsiteY5627" fmla="*/ 2407036 h 6479439"/>
              <a:gd name="connsiteX5628" fmla="*/ 9582349 w 9586368"/>
              <a:gd name="connsiteY5628" fmla="*/ 2411074 h 6479439"/>
              <a:gd name="connsiteX5629" fmla="*/ 9572438 w 9586368"/>
              <a:gd name="connsiteY5629" fmla="*/ 2411074 h 6479439"/>
              <a:gd name="connsiteX5630" fmla="*/ 9568419 w 9586368"/>
              <a:gd name="connsiteY5630" fmla="*/ 2407036 h 6479439"/>
              <a:gd name="connsiteX5631" fmla="*/ 9568419 w 9586368"/>
              <a:gd name="connsiteY5631" fmla="*/ 2397165 h 6479439"/>
              <a:gd name="connsiteX5632" fmla="*/ 9333125 w 9586368"/>
              <a:gd name="connsiteY5632" fmla="*/ 2393127 h 6479439"/>
              <a:gd name="connsiteX5633" fmla="*/ 9343036 w 9586368"/>
              <a:gd name="connsiteY5633" fmla="*/ 2393127 h 6479439"/>
              <a:gd name="connsiteX5634" fmla="*/ 9347055 w 9586368"/>
              <a:gd name="connsiteY5634" fmla="*/ 2397165 h 6479439"/>
              <a:gd name="connsiteX5635" fmla="*/ 9347055 w 9586368"/>
              <a:gd name="connsiteY5635" fmla="*/ 2407036 h 6479439"/>
              <a:gd name="connsiteX5636" fmla="*/ 9343036 w 9586368"/>
              <a:gd name="connsiteY5636" fmla="*/ 2411074 h 6479439"/>
              <a:gd name="connsiteX5637" fmla="*/ 9333125 w 9586368"/>
              <a:gd name="connsiteY5637" fmla="*/ 2411074 h 6479439"/>
              <a:gd name="connsiteX5638" fmla="*/ 9329106 w 9586368"/>
              <a:gd name="connsiteY5638" fmla="*/ 2407036 h 6479439"/>
              <a:gd name="connsiteX5639" fmla="*/ 9329106 w 9586368"/>
              <a:gd name="connsiteY5639" fmla="*/ 2397165 h 6479439"/>
              <a:gd name="connsiteX5640" fmla="*/ 9093811 w 9586368"/>
              <a:gd name="connsiteY5640" fmla="*/ 2393127 h 6479439"/>
              <a:gd name="connsiteX5641" fmla="*/ 9103722 w 9586368"/>
              <a:gd name="connsiteY5641" fmla="*/ 2393127 h 6479439"/>
              <a:gd name="connsiteX5642" fmla="*/ 9107741 w 9586368"/>
              <a:gd name="connsiteY5642" fmla="*/ 2397165 h 6479439"/>
              <a:gd name="connsiteX5643" fmla="*/ 9107741 w 9586368"/>
              <a:gd name="connsiteY5643" fmla="*/ 2407036 h 6479439"/>
              <a:gd name="connsiteX5644" fmla="*/ 9103722 w 9586368"/>
              <a:gd name="connsiteY5644" fmla="*/ 2411074 h 6479439"/>
              <a:gd name="connsiteX5645" fmla="*/ 9093811 w 9586368"/>
              <a:gd name="connsiteY5645" fmla="*/ 2411074 h 6479439"/>
              <a:gd name="connsiteX5646" fmla="*/ 9089792 w 9586368"/>
              <a:gd name="connsiteY5646" fmla="*/ 2407036 h 6479439"/>
              <a:gd name="connsiteX5647" fmla="*/ 9089792 w 9586368"/>
              <a:gd name="connsiteY5647" fmla="*/ 2397165 h 6479439"/>
              <a:gd name="connsiteX5648" fmla="*/ 8854496 w 9586368"/>
              <a:gd name="connsiteY5648" fmla="*/ 2393127 h 6479439"/>
              <a:gd name="connsiteX5649" fmla="*/ 8864407 w 9586368"/>
              <a:gd name="connsiteY5649" fmla="*/ 2393127 h 6479439"/>
              <a:gd name="connsiteX5650" fmla="*/ 8868426 w 9586368"/>
              <a:gd name="connsiteY5650" fmla="*/ 2397165 h 6479439"/>
              <a:gd name="connsiteX5651" fmla="*/ 8868426 w 9586368"/>
              <a:gd name="connsiteY5651" fmla="*/ 2407036 h 6479439"/>
              <a:gd name="connsiteX5652" fmla="*/ 8864407 w 9586368"/>
              <a:gd name="connsiteY5652" fmla="*/ 2411074 h 6479439"/>
              <a:gd name="connsiteX5653" fmla="*/ 8854496 w 9586368"/>
              <a:gd name="connsiteY5653" fmla="*/ 2411074 h 6479439"/>
              <a:gd name="connsiteX5654" fmla="*/ 8850477 w 9586368"/>
              <a:gd name="connsiteY5654" fmla="*/ 2407036 h 6479439"/>
              <a:gd name="connsiteX5655" fmla="*/ 8850477 w 9586368"/>
              <a:gd name="connsiteY5655" fmla="*/ 2397165 h 6479439"/>
              <a:gd name="connsiteX5656" fmla="*/ 8615184 w 9586368"/>
              <a:gd name="connsiteY5656" fmla="*/ 2393127 h 6479439"/>
              <a:gd name="connsiteX5657" fmla="*/ 8625095 w 9586368"/>
              <a:gd name="connsiteY5657" fmla="*/ 2393127 h 6479439"/>
              <a:gd name="connsiteX5658" fmla="*/ 8629114 w 9586368"/>
              <a:gd name="connsiteY5658" fmla="*/ 2397165 h 6479439"/>
              <a:gd name="connsiteX5659" fmla="*/ 8629114 w 9586368"/>
              <a:gd name="connsiteY5659" fmla="*/ 2407036 h 6479439"/>
              <a:gd name="connsiteX5660" fmla="*/ 8625095 w 9586368"/>
              <a:gd name="connsiteY5660" fmla="*/ 2411074 h 6479439"/>
              <a:gd name="connsiteX5661" fmla="*/ 8615184 w 9586368"/>
              <a:gd name="connsiteY5661" fmla="*/ 2411074 h 6479439"/>
              <a:gd name="connsiteX5662" fmla="*/ 8611165 w 9586368"/>
              <a:gd name="connsiteY5662" fmla="*/ 2407036 h 6479439"/>
              <a:gd name="connsiteX5663" fmla="*/ 8611165 w 9586368"/>
              <a:gd name="connsiteY5663" fmla="*/ 2397165 h 6479439"/>
              <a:gd name="connsiteX5664" fmla="*/ 8375869 w 9586368"/>
              <a:gd name="connsiteY5664" fmla="*/ 2393127 h 6479439"/>
              <a:gd name="connsiteX5665" fmla="*/ 8385779 w 9586368"/>
              <a:gd name="connsiteY5665" fmla="*/ 2393127 h 6479439"/>
              <a:gd name="connsiteX5666" fmla="*/ 8389799 w 9586368"/>
              <a:gd name="connsiteY5666" fmla="*/ 2397165 h 6479439"/>
              <a:gd name="connsiteX5667" fmla="*/ 8389799 w 9586368"/>
              <a:gd name="connsiteY5667" fmla="*/ 2407036 h 6479439"/>
              <a:gd name="connsiteX5668" fmla="*/ 8385779 w 9586368"/>
              <a:gd name="connsiteY5668" fmla="*/ 2411074 h 6479439"/>
              <a:gd name="connsiteX5669" fmla="*/ 8375869 w 9586368"/>
              <a:gd name="connsiteY5669" fmla="*/ 2411074 h 6479439"/>
              <a:gd name="connsiteX5670" fmla="*/ 8371850 w 9586368"/>
              <a:gd name="connsiteY5670" fmla="*/ 2407036 h 6479439"/>
              <a:gd name="connsiteX5671" fmla="*/ 8371850 w 9586368"/>
              <a:gd name="connsiteY5671" fmla="*/ 2397165 h 6479439"/>
              <a:gd name="connsiteX5672" fmla="*/ 8136553 w 9586368"/>
              <a:gd name="connsiteY5672" fmla="*/ 2393127 h 6479439"/>
              <a:gd name="connsiteX5673" fmla="*/ 8146464 w 9586368"/>
              <a:gd name="connsiteY5673" fmla="*/ 2393127 h 6479439"/>
              <a:gd name="connsiteX5674" fmla="*/ 8150483 w 9586368"/>
              <a:gd name="connsiteY5674" fmla="*/ 2397165 h 6479439"/>
              <a:gd name="connsiteX5675" fmla="*/ 8150483 w 9586368"/>
              <a:gd name="connsiteY5675" fmla="*/ 2407036 h 6479439"/>
              <a:gd name="connsiteX5676" fmla="*/ 8146464 w 9586368"/>
              <a:gd name="connsiteY5676" fmla="*/ 2411074 h 6479439"/>
              <a:gd name="connsiteX5677" fmla="*/ 8136553 w 9586368"/>
              <a:gd name="connsiteY5677" fmla="*/ 2411074 h 6479439"/>
              <a:gd name="connsiteX5678" fmla="*/ 8132534 w 9586368"/>
              <a:gd name="connsiteY5678" fmla="*/ 2407036 h 6479439"/>
              <a:gd name="connsiteX5679" fmla="*/ 8132534 w 9586368"/>
              <a:gd name="connsiteY5679" fmla="*/ 2397165 h 6479439"/>
              <a:gd name="connsiteX5680" fmla="*/ 7897241 w 9586368"/>
              <a:gd name="connsiteY5680" fmla="*/ 2393127 h 6479439"/>
              <a:gd name="connsiteX5681" fmla="*/ 7907151 w 9586368"/>
              <a:gd name="connsiteY5681" fmla="*/ 2393127 h 6479439"/>
              <a:gd name="connsiteX5682" fmla="*/ 7911170 w 9586368"/>
              <a:gd name="connsiteY5682" fmla="*/ 2397165 h 6479439"/>
              <a:gd name="connsiteX5683" fmla="*/ 7911170 w 9586368"/>
              <a:gd name="connsiteY5683" fmla="*/ 2407036 h 6479439"/>
              <a:gd name="connsiteX5684" fmla="*/ 7907151 w 9586368"/>
              <a:gd name="connsiteY5684" fmla="*/ 2411074 h 6479439"/>
              <a:gd name="connsiteX5685" fmla="*/ 7897241 w 9586368"/>
              <a:gd name="connsiteY5685" fmla="*/ 2411074 h 6479439"/>
              <a:gd name="connsiteX5686" fmla="*/ 7893222 w 9586368"/>
              <a:gd name="connsiteY5686" fmla="*/ 2407036 h 6479439"/>
              <a:gd name="connsiteX5687" fmla="*/ 7893222 w 9586368"/>
              <a:gd name="connsiteY5687" fmla="*/ 2397165 h 6479439"/>
              <a:gd name="connsiteX5688" fmla="*/ 7657926 w 9586368"/>
              <a:gd name="connsiteY5688" fmla="*/ 2393127 h 6479439"/>
              <a:gd name="connsiteX5689" fmla="*/ 7667836 w 9586368"/>
              <a:gd name="connsiteY5689" fmla="*/ 2393127 h 6479439"/>
              <a:gd name="connsiteX5690" fmla="*/ 7671855 w 9586368"/>
              <a:gd name="connsiteY5690" fmla="*/ 2397165 h 6479439"/>
              <a:gd name="connsiteX5691" fmla="*/ 7671855 w 9586368"/>
              <a:gd name="connsiteY5691" fmla="*/ 2407036 h 6479439"/>
              <a:gd name="connsiteX5692" fmla="*/ 7667836 w 9586368"/>
              <a:gd name="connsiteY5692" fmla="*/ 2411074 h 6479439"/>
              <a:gd name="connsiteX5693" fmla="*/ 7657926 w 9586368"/>
              <a:gd name="connsiteY5693" fmla="*/ 2411074 h 6479439"/>
              <a:gd name="connsiteX5694" fmla="*/ 7653906 w 9586368"/>
              <a:gd name="connsiteY5694" fmla="*/ 2407036 h 6479439"/>
              <a:gd name="connsiteX5695" fmla="*/ 7653906 w 9586368"/>
              <a:gd name="connsiteY5695" fmla="*/ 2397165 h 6479439"/>
              <a:gd name="connsiteX5696" fmla="*/ 7418611 w 9586368"/>
              <a:gd name="connsiteY5696" fmla="*/ 2393127 h 6479439"/>
              <a:gd name="connsiteX5697" fmla="*/ 7428521 w 9586368"/>
              <a:gd name="connsiteY5697" fmla="*/ 2393127 h 6479439"/>
              <a:gd name="connsiteX5698" fmla="*/ 7432540 w 9586368"/>
              <a:gd name="connsiteY5698" fmla="*/ 2397165 h 6479439"/>
              <a:gd name="connsiteX5699" fmla="*/ 7432540 w 9586368"/>
              <a:gd name="connsiteY5699" fmla="*/ 2407036 h 6479439"/>
              <a:gd name="connsiteX5700" fmla="*/ 7428521 w 9586368"/>
              <a:gd name="connsiteY5700" fmla="*/ 2411074 h 6479439"/>
              <a:gd name="connsiteX5701" fmla="*/ 7418611 w 9586368"/>
              <a:gd name="connsiteY5701" fmla="*/ 2411074 h 6479439"/>
              <a:gd name="connsiteX5702" fmla="*/ 7414592 w 9586368"/>
              <a:gd name="connsiteY5702" fmla="*/ 2407036 h 6479439"/>
              <a:gd name="connsiteX5703" fmla="*/ 7414592 w 9586368"/>
              <a:gd name="connsiteY5703" fmla="*/ 2397165 h 6479439"/>
              <a:gd name="connsiteX5704" fmla="*/ 7179298 w 9586368"/>
              <a:gd name="connsiteY5704" fmla="*/ 2393127 h 6479439"/>
              <a:gd name="connsiteX5705" fmla="*/ 7189209 w 9586368"/>
              <a:gd name="connsiteY5705" fmla="*/ 2393127 h 6479439"/>
              <a:gd name="connsiteX5706" fmla="*/ 7193228 w 9586368"/>
              <a:gd name="connsiteY5706" fmla="*/ 2397165 h 6479439"/>
              <a:gd name="connsiteX5707" fmla="*/ 7193228 w 9586368"/>
              <a:gd name="connsiteY5707" fmla="*/ 2407036 h 6479439"/>
              <a:gd name="connsiteX5708" fmla="*/ 7189209 w 9586368"/>
              <a:gd name="connsiteY5708" fmla="*/ 2411074 h 6479439"/>
              <a:gd name="connsiteX5709" fmla="*/ 7179298 w 9586368"/>
              <a:gd name="connsiteY5709" fmla="*/ 2411074 h 6479439"/>
              <a:gd name="connsiteX5710" fmla="*/ 7175279 w 9586368"/>
              <a:gd name="connsiteY5710" fmla="*/ 2407036 h 6479439"/>
              <a:gd name="connsiteX5711" fmla="*/ 7175279 w 9586368"/>
              <a:gd name="connsiteY5711" fmla="*/ 2397165 h 6479439"/>
              <a:gd name="connsiteX5712" fmla="*/ 6939983 w 9586368"/>
              <a:gd name="connsiteY5712" fmla="*/ 2393127 h 6479439"/>
              <a:gd name="connsiteX5713" fmla="*/ 6949894 w 9586368"/>
              <a:gd name="connsiteY5713" fmla="*/ 2393127 h 6479439"/>
              <a:gd name="connsiteX5714" fmla="*/ 6953913 w 9586368"/>
              <a:gd name="connsiteY5714" fmla="*/ 2397165 h 6479439"/>
              <a:gd name="connsiteX5715" fmla="*/ 6953913 w 9586368"/>
              <a:gd name="connsiteY5715" fmla="*/ 2407036 h 6479439"/>
              <a:gd name="connsiteX5716" fmla="*/ 6949894 w 9586368"/>
              <a:gd name="connsiteY5716" fmla="*/ 2411074 h 6479439"/>
              <a:gd name="connsiteX5717" fmla="*/ 6939983 w 9586368"/>
              <a:gd name="connsiteY5717" fmla="*/ 2411074 h 6479439"/>
              <a:gd name="connsiteX5718" fmla="*/ 6935964 w 9586368"/>
              <a:gd name="connsiteY5718" fmla="*/ 2407036 h 6479439"/>
              <a:gd name="connsiteX5719" fmla="*/ 6935964 w 9586368"/>
              <a:gd name="connsiteY5719" fmla="*/ 2397165 h 6479439"/>
              <a:gd name="connsiteX5720" fmla="*/ 6700670 w 9586368"/>
              <a:gd name="connsiteY5720" fmla="*/ 2393127 h 6479439"/>
              <a:gd name="connsiteX5721" fmla="*/ 6710581 w 9586368"/>
              <a:gd name="connsiteY5721" fmla="*/ 2393127 h 6479439"/>
              <a:gd name="connsiteX5722" fmla="*/ 6714600 w 9586368"/>
              <a:gd name="connsiteY5722" fmla="*/ 2397165 h 6479439"/>
              <a:gd name="connsiteX5723" fmla="*/ 6714600 w 9586368"/>
              <a:gd name="connsiteY5723" fmla="*/ 2407036 h 6479439"/>
              <a:gd name="connsiteX5724" fmla="*/ 6710581 w 9586368"/>
              <a:gd name="connsiteY5724" fmla="*/ 2411074 h 6479439"/>
              <a:gd name="connsiteX5725" fmla="*/ 6700670 w 9586368"/>
              <a:gd name="connsiteY5725" fmla="*/ 2411074 h 6479439"/>
              <a:gd name="connsiteX5726" fmla="*/ 6696651 w 9586368"/>
              <a:gd name="connsiteY5726" fmla="*/ 2407036 h 6479439"/>
              <a:gd name="connsiteX5727" fmla="*/ 6696651 w 9586368"/>
              <a:gd name="connsiteY5727" fmla="*/ 2397165 h 6479439"/>
              <a:gd name="connsiteX5728" fmla="*/ 6461356 w 9586368"/>
              <a:gd name="connsiteY5728" fmla="*/ 2393127 h 6479439"/>
              <a:gd name="connsiteX5729" fmla="*/ 6471266 w 9586368"/>
              <a:gd name="connsiteY5729" fmla="*/ 2393127 h 6479439"/>
              <a:gd name="connsiteX5730" fmla="*/ 6475285 w 9586368"/>
              <a:gd name="connsiteY5730" fmla="*/ 2397165 h 6479439"/>
              <a:gd name="connsiteX5731" fmla="*/ 6475285 w 9586368"/>
              <a:gd name="connsiteY5731" fmla="*/ 2407036 h 6479439"/>
              <a:gd name="connsiteX5732" fmla="*/ 6471266 w 9586368"/>
              <a:gd name="connsiteY5732" fmla="*/ 2411074 h 6479439"/>
              <a:gd name="connsiteX5733" fmla="*/ 6461356 w 9586368"/>
              <a:gd name="connsiteY5733" fmla="*/ 2411074 h 6479439"/>
              <a:gd name="connsiteX5734" fmla="*/ 6457337 w 9586368"/>
              <a:gd name="connsiteY5734" fmla="*/ 2407036 h 6479439"/>
              <a:gd name="connsiteX5735" fmla="*/ 6457337 w 9586368"/>
              <a:gd name="connsiteY5735" fmla="*/ 2397165 h 6479439"/>
              <a:gd name="connsiteX5736" fmla="*/ 6222042 w 9586368"/>
              <a:gd name="connsiteY5736" fmla="*/ 2393127 h 6479439"/>
              <a:gd name="connsiteX5737" fmla="*/ 6231952 w 9586368"/>
              <a:gd name="connsiteY5737" fmla="*/ 2393127 h 6479439"/>
              <a:gd name="connsiteX5738" fmla="*/ 6235971 w 9586368"/>
              <a:gd name="connsiteY5738" fmla="*/ 2397165 h 6479439"/>
              <a:gd name="connsiteX5739" fmla="*/ 6235971 w 9586368"/>
              <a:gd name="connsiteY5739" fmla="*/ 2407036 h 6479439"/>
              <a:gd name="connsiteX5740" fmla="*/ 6231952 w 9586368"/>
              <a:gd name="connsiteY5740" fmla="*/ 2411074 h 6479439"/>
              <a:gd name="connsiteX5741" fmla="*/ 6222042 w 9586368"/>
              <a:gd name="connsiteY5741" fmla="*/ 2411074 h 6479439"/>
              <a:gd name="connsiteX5742" fmla="*/ 6218023 w 9586368"/>
              <a:gd name="connsiteY5742" fmla="*/ 2407036 h 6479439"/>
              <a:gd name="connsiteX5743" fmla="*/ 6218023 w 9586368"/>
              <a:gd name="connsiteY5743" fmla="*/ 2397165 h 6479439"/>
              <a:gd name="connsiteX5744" fmla="*/ 5982729 w 9586368"/>
              <a:gd name="connsiteY5744" fmla="*/ 2393127 h 6479439"/>
              <a:gd name="connsiteX5745" fmla="*/ 5992639 w 9586368"/>
              <a:gd name="connsiteY5745" fmla="*/ 2393127 h 6479439"/>
              <a:gd name="connsiteX5746" fmla="*/ 5996658 w 9586368"/>
              <a:gd name="connsiteY5746" fmla="*/ 2397165 h 6479439"/>
              <a:gd name="connsiteX5747" fmla="*/ 5996658 w 9586368"/>
              <a:gd name="connsiteY5747" fmla="*/ 2407036 h 6479439"/>
              <a:gd name="connsiteX5748" fmla="*/ 5992639 w 9586368"/>
              <a:gd name="connsiteY5748" fmla="*/ 2411074 h 6479439"/>
              <a:gd name="connsiteX5749" fmla="*/ 5982729 w 9586368"/>
              <a:gd name="connsiteY5749" fmla="*/ 2411074 h 6479439"/>
              <a:gd name="connsiteX5750" fmla="*/ 5978710 w 9586368"/>
              <a:gd name="connsiteY5750" fmla="*/ 2407036 h 6479439"/>
              <a:gd name="connsiteX5751" fmla="*/ 5978710 w 9586368"/>
              <a:gd name="connsiteY5751" fmla="*/ 2397165 h 6479439"/>
              <a:gd name="connsiteX5752" fmla="*/ 5743412 w 9586368"/>
              <a:gd name="connsiteY5752" fmla="*/ 2393127 h 6479439"/>
              <a:gd name="connsiteX5753" fmla="*/ 5753323 w 9586368"/>
              <a:gd name="connsiteY5753" fmla="*/ 2393127 h 6479439"/>
              <a:gd name="connsiteX5754" fmla="*/ 5757342 w 9586368"/>
              <a:gd name="connsiteY5754" fmla="*/ 2397165 h 6479439"/>
              <a:gd name="connsiteX5755" fmla="*/ 5757342 w 9586368"/>
              <a:gd name="connsiteY5755" fmla="*/ 2407036 h 6479439"/>
              <a:gd name="connsiteX5756" fmla="*/ 5753323 w 9586368"/>
              <a:gd name="connsiteY5756" fmla="*/ 2411074 h 6479439"/>
              <a:gd name="connsiteX5757" fmla="*/ 5743412 w 9586368"/>
              <a:gd name="connsiteY5757" fmla="*/ 2411074 h 6479439"/>
              <a:gd name="connsiteX5758" fmla="*/ 5739393 w 9586368"/>
              <a:gd name="connsiteY5758" fmla="*/ 2407036 h 6479439"/>
              <a:gd name="connsiteX5759" fmla="*/ 5739393 w 9586368"/>
              <a:gd name="connsiteY5759" fmla="*/ 2397165 h 6479439"/>
              <a:gd name="connsiteX5760" fmla="*/ 5504099 w 9586368"/>
              <a:gd name="connsiteY5760" fmla="*/ 2393127 h 6479439"/>
              <a:gd name="connsiteX5761" fmla="*/ 5514010 w 9586368"/>
              <a:gd name="connsiteY5761" fmla="*/ 2393127 h 6479439"/>
              <a:gd name="connsiteX5762" fmla="*/ 5518029 w 9586368"/>
              <a:gd name="connsiteY5762" fmla="*/ 2397165 h 6479439"/>
              <a:gd name="connsiteX5763" fmla="*/ 5518029 w 9586368"/>
              <a:gd name="connsiteY5763" fmla="*/ 2407036 h 6479439"/>
              <a:gd name="connsiteX5764" fmla="*/ 5514010 w 9586368"/>
              <a:gd name="connsiteY5764" fmla="*/ 2411074 h 6479439"/>
              <a:gd name="connsiteX5765" fmla="*/ 5504099 w 9586368"/>
              <a:gd name="connsiteY5765" fmla="*/ 2411074 h 6479439"/>
              <a:gd name="connsiteX5766" fmla="*/ 5500080 w 9586368"/>
              <a:gd name="connsiteY5766" fmla="*/ 2407036 h 6479439"/>
              <a:gd name="connsiteX5767" fmla="*/ 5500080 w 9586368"/>
              <a:gd name="connsiteY5767" fmla="*/ 2397165 h 6479439"/>
              <a:gd name="connsiteX5768" fmla="*/ 5264784 w 9586368"/>
              <a:gd name="connsiteY5768" fmla="*/ 2393127 h 6479439"/>
              <a:gd name="connsiteX5769" fmla="*/ 5274694 w 9586368"/>
              <a:gd name="connsiteY5769" fmla="*/ 2393127 h 6479439"/>
              <a:gd name="connsiteX5770" fmla="*/ 5278713 w 9586368"/>
              <a:gd name="connsiteY5770" fmla="*/ 2397165 h 6479439"/>
              <a:gd name="connsiteX5771" fmla="*/ 5278713 w 9586368"/>
              <a:gd name="connsiteY5771" fmla="*/ 2407036 h 6479439"/>
              <a:gd name="connsiteX5772" fmla="*/ 5274694 w 9586368"/>
              <a:gd name="connsiteY5772" fmla="*/ 2411074 h 6479439"/>
              <a:gd name="connsiteX5773" fmla="*/ 5264784 w 9586368"/>
              <a:gd name="connsiteY5773" fmla="*/ 2411074 h 6479439"/>
              <a:gd name="connsiteX5774" fmla="*/ 5260765 w 9586368"/>
              <a:gd name="connsiteY5774" fmla="*/ 2407036 h 6479439"/>
              <a:gd name="connsiteX5775" fmla="*/ 5260765 w 9586368"/>
              <a:gd name="connsiteY5775" fmla="*/ 2397165 h 6479439"/>
              <a:gd name="connsiteX5776" fmla="*/ 5025470 w 9586368"/>
              <a:gd name="connsiteY5776" fmla="*/ 2393127 h 6479439"/>
              <a:gd name="connsiteX5777" fmla="*/ 5035381 w 9586368"/>
              <a:gd name="connsiteY5777" fmla="*/ 2393127 h 6479439"/>
              <a:gd name="connsiteX5778" fmla="*/ 5039400 w 9586368"/>
              <a:gd name="connsiteY5778" fmla="*/ 2397165 h 6479439"/>
              <a:gd name="connsiteX5779" fmla="*/ 5039400 w 9586368"/>
              <a:gd name="connsiteY5779" fmla="*/ 2407036 h 6479439"/>
              <a:gd name="connsiteX5780" fmla="*/ 5035381 w 9586368"/>
              <a:gd name="connsiteY5780" fmla="*/ 2411074 h 6479439"/>
              <a:gd name="connsiteX5781" fmla="*/ 5025470 w 9586368"/>
              <a:gd name="connsiteY5781" fmla="*/ 2411074 h 6479439"/>
              <a:gd name="connsiteX5782" fmla="*/ 5021451 w 9586368"/>
              <a:gd name="connsiteY5782" fmla="*/ 2407036 h 6479439"/>
              <a:gd name="connsiteX5783" fmla="*/ 5021451 w 9586368"/>
              <a:gd name="connsiteY5783" fmla="*/ 2397165 h 6479439"/>
              <a:gd name="connsiteX5784" fmla="*/ 4786241 w 9586368"/>
              <a:gd name="connsiteY5784" fmla="*/ 2393127 h 6479439"/>
              <a:gd name="connsiteX5785" fmla="*/ 4796152 w 9586368"/>
              <a:gd name="connsiteY5785" fmla="*/ 2393127 h 6479439"/>
              <a:gd name="connsiteX5786" fmla="*/ 4800171 w 9586368"/>
              <a:gd name="connsiteY5786" fmla="*/ 2397165 h 6479439"/>
              <a:gd name="connsiteX5787" fmla="*/ 4800171 w 9586368"/>
              <a:gd name="connsiteY5787" fmla="*/ 2407036 h 6479439"/>
              <a:gd name="connsiteX5788" fmla="*/ 4796152 w 9586368"/>
              <a:gd name="connsiteY5788" fmla="*/ 2411074 h 6479439"/>
              <a:gd name="connsiteX5789" fmla="*/ 4786241 w 9586368"/>
              <a:gd name="connsiteY5789" fmla="*/ 2411074 h 6479439"/>
              <a:gd name="connsiteX5790" fmla="*/ 4782224 w 9586368"/>
              <a:gd name="connsiteY5790" fmla="*/ 2407036 h 6479439"/>
              <a:gd name="connsiteX5791" fmla="*/ 4782224 w 9586368"/>
              <a:gd name="connsiteY5791" fmla="*/ 2397165 h 6479439"/>
              <a:gd name="connsiteX5792" fmla="*/ 4546929 w 9586368"/>
              <a:gd name="connsiteY5792" fmla="*/ 2393127 h 6479439"/>
              <a:gd name="connsiteX5793" fmla="*/ 4556840 w 9586368"/>
              <a:gd name="connsiteY5793" fmla="*/ 2393127 h 6479439"/>
              <a:gd name="connsiteX5794" fmla="*/ 4560859 w 9586368"/>
              <a:gd name="connsiteY5794" fmla="*/ 2397165 h 6479439"/>
              <a:gd name="connsiteX5795" fmla="*/ 4560859 w 9586368"/>
              <a:gd name="connsiteY5795" fmla="*/ 2407036 h 6479439"/>
              <a:gd name="connsiteX5796" fmla="*/ 4556840 w 9586368"/>
              <a:gd name="connsiteY5796" fmla="*/ 2411074 h 6479439"/>
              <a:gd name="connsiteX5797" fmla="*/ 4546929 w 9586368"/>
              <a:gd name="connsiteY5797" fmla="*/ 2411074 h 6479439"/>
              <a:gd name="connsiteX5798" fmla="*/ 4542910 w 9586368"/>
              <a:gd name="connsiteY5798" fmla="*/ 2407036 h 6479439"/>
              <a:gd name="connsiteX5799" fmla="*/ 4542910 w 9586368"/>
              <a:gd name="connsiteY5799" fmla="*/ 2397165 h 6479439"/>
              <a:gd name="connsiteX5800" fmla="*/ 4307612 w 9586368"/>
              <a:gd name="connsiteY5800" fmla="*/ 2393127 h 6479439"/>
              <a:gd name="connsiteX5801" fmla="*/ 4317523 w 9586368"/>
              <a:gd name="connsiteY5801" fmla="*/ 2393127 h 6479439"/>
              <a:gd name="connsiteX5802" fmla="*/ 4321543 w 9586368"/>
              <a:gd name="connsiteY5802" fmla="*/ 2397165 h 6479439"/>
              <a:gd name="connsiteX5803" fmla="*/ 4321543 w 9586368"/>
              <a:gd name="connsiteY5803" fmla="*/ 2407036 h 6479439"/>
              <a:gd name="connsiteX5804" fmla="*/ 4317523 w 9586368"/>
              <a:gd name="connsiteY5804" fmla="*/ 2411074 h 6479439"/>
              <a:gd name="connsiteX5805" fmla="*/ 4307612 w 9586368"/>
              <a:gd name="connsiteY5805" fmla="*/ 2411074 h 6479439"/>
              <a:gd name="connsiteX5806" fmla="*/ 4303595 w 9586368"/>
              <a:gd name="connsiteY5806" fmla="*/ 2407036 h 6479439"/>
              <a:gd name="connsiteX5807" fmla="*/ 4303595 w 9586368"/>
              <a:gd name="connsiteY5807" fmla="*/ 2397165 h 6479439"/>
              <a:gd name="connsiteX5808" fmla="*/ 4068297 w 9586368"/>
              <a:gd name="connsiteY5808" fmla="*/ 2393127 h 6479439"/>
              <a:gd name="connsiteX5809" fmla="*/ 4078210 w 9586368"/>
              <a:gd name="connsiteY5809" fmla="*/ 2393127 h 6479439"/>
              <a:gd name="connsiteX5810" fmla="*/ 4082229 w 9586368"/>
              <a:gd name="connsiteY5810" fmla="*/ 2397165 h 6479439"/>
              <a:gd name="connsiteX5811" fmla="*/ 4082229 w 9586368"/>
              <a:gd name="connsiteY5811" fmla="*/ 2407036 h 6479439"/>
              <a:gd name="connsiteX5812" fmla="*/ 4078210 w 9586368"/>
              <a:gd name="connsiteY5812" fmla="*/ 2411074 h 6479439"/>
              <a:gd name="connsiteX5813" fmla="*/ 4068297 w 9586368"/>
              <a:gd name="connsiteY5813" fmla="*/ 2411074 h 6479439"/>
              <a:gd name="connsiteX5814" fmla="*/ 4064278 w 9586368"/>
              <a:gd name="connsiteY5814" fmla="*/ 2407036 h 6479439"/>
              <a:gd name="connsiteX5815" fmla="*/ 4064278 w 9586368"/>
              <a:gd name="connsiteY5815" fmla="*/ 2397165 h 6479439"/>
              <a:gd name="connsiteX5816" fmla="*/ 3828990 w 9586368"/>
              <a:gd name="connsiteY5816" fmla="*/ 2393127 h 6479439"/>
              <a:gd name="connsiteX5817" fmla="*/ 3838899 w 9586368"/>
              <a:gd name="connsiteY5817" fmla="*/ 2393127 h 6479439"/>
              <a:gd name="connsiteX5818" fmla="*/ 3842917 w 9586368"/>
              <a:gd name="connsiteY5818" fmla="*/ 2397165 h 6479439"/>
              <a:gd name="connsiteX5819" fmla="*/ 3842917 w 9586368"/>
              <a:gd name="connsiteY5819" fmla="*/ 2407036 h 6479439"/>
              <a:gd name="connsiteX5820" fmla="*/ 3838899 w 9586368"/>
              <a:gd name="connsiteY5820" fmla="*/ 2411074 h 6479439"/>
              <a:gd name="connsiteX5821" fmla="*/ 3828990 w 9586368"/>
              <a:gd name="connsiteY5821" fmla="*/ 2411074 h 6479439"/>
              <a:gd name="connsiteX5822" fmla="*/ 3824971 w 9586368"/>
              <a:gd name="connsiteY5822" fmla="*/ 2407036 h 6479439"/>
              <a:gd name="connsiteX5823" fmla="*/ 3824971 w 9586368"/>
              <a:gd name="connsiteY5823" fmla="*/ 2397165 h 6479439"/>
              <a:gd name="connsiteX5824" fmla="*/ 3589676 w 9586368"/>
              <a:gd name="connsiteY5824" fmla="*/ 2393127 h 6479439"/>
              <a:gd name="connsiteX5825" fmla="*/ 3599585 w 9586368"/>
              <a:gd name="connsiteY5825" fmla="*/ 2393127 h 6479439"/>
              <a:gd name="connsiteX5826" fmla="*/ 3603604 w 9586368"/>
              <a:gd name="connsiteY5826" fmla="*/ 2397165 h 6479439"/>
              <a:gd name="connsiteX5827" fmla="*/ 3603604 w 9586368"/>
              <a:gd name="connsiteY5827" fmla="*/ 2407036 h 6479439"/>
              <a:gd name="connsiteX5828" fmla="*/ 3599585 w 9586368"/>
              <a:gd name="connsiteY5828" fmla="*/ 2411074 h 6479439"/>
              <a:gd name="connsiteX5829" fmla="*/ 3589676 w 9586368"/>
              <a:gd name="connsiteY5829" fmla="*/ 2411074 h 6479439"/>
              <a:gd name="connsiteX5830" fmla="*/ 3585657 w 9586368"/>
              <a:gd name="connsiteY5830" fmla="*/ 2407036 h 6479439"/>
              <a:gd name="connsiteX5831" fmla="*/ 3585657 w 9586368"/>
              <a:gd name="connsiteY5831" fmla="*/ 2397165 h 6479439"/>
              <a:gd name="connsiteX5832" fmla="*/ 3350359 w 9586368"/>
              <a:gd name="connsiteY5832" fmla="*/ 2393127 h 6479439"/>
              <a:gd name="connsiteX5833" fmla="*/ 3360268 w 9586368"/>
              <a:gd name="connsiteY5833" fmla="*/ 2393127 h 6479439"/>
              <a:gd name="connsiteX5834" fmla="*/ 3364287 w 9586368"/>
              <a:gd name="connsiteY5834" fmla="*/ 2397165 h 6479439"/>
              <a:gd name="connsiteX5835" fmla="*/ 3364287 w 9586368"/>
              <a:gd name="connsiteY5835" fmla="*/ 2407036 h 6479439"/>
              <a:gd name="connsiteX5836" fmla="*/ 3360268 w 9586368"/>
              <a:gd name="connsiteY5836" fmla="*/ 2411074 h 6479439"/>
              <a:gd name="connsiteX5837" fmla="*/ 3350359 w 9586368"/>
              <a:gd name="connsiteY5837" fmla="*/ 2411074 h 6479439"/>
              <a:gd name="connsiteX5838" fmla="*/ 3346340 w 9586368"/>
              <a:gd name="connsiteY5838" fmla="*/ 2407036 h 6479439"/>
              <a:gd name="connsiteX5839" fmla="*/ 3346340 w 9586368"/>
              <a:gd name="connsiteY5839" fmla="*/ 2397165 h 6479439"/>
              <a:gd name="connsiteX5840" fmla="*/ 3111048 w 9586368"/>
              <a:gd name="connsiteY5840" fmla="*/ 2393127 h 6479439"/>
              <a:gd name="connsiteX5841" fmla="*/ 3120959 w 9586368"/>
              <a:gd name="connsiteY5841" fmla="*/ 2393127 h 6479439"/>
              <a:gd name="connsiteX5842" fmla="*/ 3124977 w 9586368"/>
              <a:gd name="connsiteY5842" fmla="*/ 2397165 h 6479439"/>
              <a:gd name="connsiteX5843" fmla="*/ 3124977 w 9586368"/>
              <a:gd name="connsiteY5843" fmla="*/ 2407036 h 6479439"/>
              <a:gd name="connsiteX5844" fmla="*/ 3120959 w 9586368"/>
              <a:gd name="connsiteY5844" fmla="*/ 2411074 h 6479439"/>
              <a:gd name="connsiteX5845" fmla="*/ 3111048 w 9586368"/>
              <a:gd name="connsiteY5845" fmla="*/ 2411074 h 6479439"/>
              <a:gd name="connsiteX5846" fmla="*/ 3107029 w 9586368"/>
              <a:gd name="connsiteY5846" fmla="*/ 2407036 h 6479439"/>
              <a:gd name="connsiteX5847" fmla="*/ 3107029 w 9586368"/>
              <a:gd name="connsiteY5847" fmla="*/ 2397165 h 6479439"/>
              <a:gd name="connsiteX5848" fmla="*/ 2871737 w 9586368"/>
              <a:gd name="connsiteY5848" fmla="*/ 2393127 h 6479439"/>
              <a:gd name="connsiteX5849" fmla="*/ 2881646 w 9586368"/>
              <a:gd name="connsiteY5849" fmla="*/ 2393127 h 6479439"/>
              <a:gd name="connsiteX5850" fmla="*/ 2885666 w 9586368"/>
              <a:gd name="connsiteY5850" fmla="*/ 2397165 h 6479439"/>
              <a:gd name="connsiteX5851" fmla="*/ 2885666 w 9586368"/>
              <a:gd name="connsiteY5851" fmla="*/ 2407036 h 6479439"/>
              <a:gd name="connsiteX5852" fmla="*/ 2881646 w 9586368"/>
              <a:gd name="connsiteY5852" fmla="*/ 2411074 h 6479439"/>
              <a:gd name="connsiteX5853" fmla="*/ 2871737 w 9586368"/>
              <a:gd name="connsiteY5853" fmla="*/ 2411074 h 6479439"/>
              <a:gd name="connsiteX5854" fmla="*/ 2867717 w 9586368"/>
              <a:gd name="connsiteY5854" fmla="*/ 2407036 h 6479439"/>
              <a:gd name="connsiteX5855" fmla="*/ 2867717 w 9586368"/>
              <a:gd name="connsiteY5855" fmla="*/ 2397165 h 6479439"/>
              <a:gd name="connsiteX5856" fmla="*/ 2632423 w 9586368"/>
              <a:gd name="connsiteY5856" fmla="*/ 2393127 h 6479439"/>
              <a:gd name="connsiteX5857" fmla="*/ 2642334 w 9586368"/>
              <a:gd name="connsiteY5857" fmla="*/ 2393127 h 6479439"/>
              <a:gd name="connsiteX5858" fmla="*/ 2646352 w 9586368"/>
              <a:gd name="connsiteY5858" fmla="*/ 2397165 h 6479439"/>
              <a:gd name="connsiteX5859" fmla="*/ 2646352 w 9586368"/>
              <a:gd name="connsiteY5859" fmla="*/ 2407036 h 6479439"/>
              <a:gd name="connsiteX5860" fmla="*/ 2642334 w 9586368"/>
              <a:gd name="connsiteY5860" fmla="*/ 2411074 h 6479439"/>
              <a:gd name="connsiteX5861" fmla="*/ 2632423 w 9586368"/>
              <a:gd name="connsiteY5861" fmla="*/ 2411074 h 6479439"/>
              <a:gd name="connsiteX5862" fmla="*/ 2628404 w 9586368"/>
              <a:gd name="connsiteY5862" fmla="*/ 2407036 h 6479439"/>
              <a:gd name="connsiteX5863" fmla="*/ 2628404 w 9586368"/>
              <a:gd name="connsiteY5863" fmla="*/ 2397165 h 6479439"/>
              <a:gd name="connsiteX5864" fmla="*/ 2393104 w 9586368"/>
              <a:gd name="connsiteY5864" fmla="*/ 2393127 h 6479439"/>
              <a:gd name="connsiteX5865" fmla="*/ 2403015 w 9586368"/>
              <a:gd name="connsiteY5865" fmla="*/ 2393127 h 6479439"/>
              <a:gd name="connsiteX5866" fmla="*/ 2407034 w 9586368"/>
              <a:gd name="connsiteY5866" fmla="*/ 2397165 h 6479439"/>
              <a:gd name="connsiteX5867" fmla="*/ 2407034 w 9586368"/>
              <a:gd name="connsiteY5867" fmla="*/ 2407036 h 6479439"/>
              <a:gd name="connsiteX5868" fmla="*/ 2403015 w 9586368"/>
              <a:gd name="connsiteY5868" fmla="*/ 2411074 h 6479439"/>
              <a:gd name="connsiteX5869" fmla="*/ 2393104 w 9586368"/>
              <a:gd name="connsiteY5869" fmla="*/ 2411074 h 6479439"/>
              <a:gd name="connsiteX5870" fmla="*/ 2389087 w 9586368"/>
              <a:gd name="connsiteY5870" fmla="*/ 2407036 h 6479439"/>
              <a:gd name="connsiteX5871" fmla="*/ 2389087 w 9586368"/>
              <a:gd name="connsiteY5871" fmla="*/ 2397165 h 6479439"/>
              <a:gd name="connsiteX5872" fmla="*/ 721970 w 9586368"/>
              <a:gd name="connsiteY5872" fmla="*/ 2393127 h 6479439"/>
              <a:gd name="connsiteX5873" fmla="*/ 731881 w 9586368"/>
              <a:gd name="connsiteY5873" fmla="*/ 2393127 h 6479439"/>
              <a:gd name="connsiteX5874" fmla="*/ 735899 w 9586368"/>
              <a:gd name="connsiteY5874" fmla="*/ 2397165 h 6479439"/>
              <a:gd name="connsiteX5875" fmla="*/ 735899 w 9586368"/>
              <a:gd name="connsiteY5875" fmla="*/ 2407036 h 6479439"/>
              <a:gd name="connsiteX5876" fmla="*/ 731881 w 9586368"/>
              <a:gd name="connsiteY5876" fmla="*/ 2411074 h 6479439"/>
              <a:gd name="connsiteX5877" fmla="*/ 721970 w 9586368"/>
              <a:gd name="connsiteY5877" fmla="*/ 2411074 h 6479439"/>
              <a:gd name="connsiteX5878" fmla="*/ 717951 w 9586368"/>
              <a:gd name="connsiteY5878" fmla="*/ 2407036 h 6479439"/>
              <a:gd name="connsiteX5879" fmla="*/ 717951 w 9586368"/>
              <a:gd name="connsiteY5879" fmla="*/ 2397165 h 6479439"/>
              <a:gd name="connsiteX5880" fmla="*/ 482658 w 9586368"/>
              <a:gd name="connsiteY5880" fmla="*/ 2393127 h 6479439"/>
              <a:gd name="connsiteX5881" fmla="*/ 492568 w 9586368"/>
              <a:gd name="connsiteY5881" fmla="*/ 2393127 h 6479439"/>
              <a:gd name="connsiteX5882" fmla="*/ 496588 w 9586368"/>
              <a:gd name="connsiteY5882" fmla="*/ 2397165 h 6479439"/>
              <a:gd name="connsiteX5883" fmla="*/ 496588 w 9586368"/>
              <a:gd name="connsiteY5883" fmla="*/ 2407036 h 6479439"/>
              <a:gd name="connsiteX5884" fmla="*/ 492568 w 9586368"/>
              <a:gd name="connsiteY5884" fmla="*/ 2411074 h 6479439"/>
              <a:gd name="connsiteX5885" fmla="*/ 482658 w 9586368"/>
              <a:gd name="connsiteY5885" fmla="*/ 2411074 h 6479439"/>
              <a:gd name="connsiteX5886" fmla="*/ 478639 w 9586368"/>
              <a:gd name="connsiteY5886" fmla="*/ 2407036 h 6479439"/>
              <a:gd name="connsiteX5887" fmla="*/ 478639 w 9586368"/>
              <a:gd name="connsiteY5887" fmla="*/ 2397165 h 6479439"/>
              <a:gd name="connsiteX5888" fmla="*/ 243344 w 9586368"/>
              <a:gd name="connsiteY5888" fmla="*/ 2393127 h 6479439"/>
              <a:gd name="connsiteX5889" fmla="*/ 253255 w 9586368"/>
              <a:gd name="connsiteY5889" fmla="*/ 2393127 h 6479439"/>
              <a:gd name="connsiteX5890" fmla="*/ 257274 w 9586368"/>
              <a:gd name="connsiteY5890" fmla="*/ 2397165 h 6479439"/>
              <a:gd name="connsiteX5891" fmla="*/ 257274 w 9586368"/>
              <a:gd name="connsiteY5891" fmla="*/ 2407036 h 6479439"/>
              <a:gd name="connsiteX5892" fmla="*/ 253255 w 9586368"/>
              <a:gd name="connsiteY5892" fmla="*/ 2411074 h 6479439"/>
              <a:gd name="connsiteX5893" fmla="*/ 243344 w 9586368"/>
              <a:gd name="connsiteY5893" fmla="*/ 2411074 h 6479439"/>
              <a:gd name="connsiteX5894" fmla="*/ 239325 w 9586368"/>
              <a:gd name="connsiteY5894" fmla="*/ 2407036 h 6479439"/>
              <a:gd name="connsiteX5895" fmla="*/ 239325 w 9586368"/>
              <a:gd name="connsiteY5895" fmla="*/ 2397165 h 6479439"/>
              <a:gd name="connsiteX5896" fmla="*/ 4031 w 9586368"/>
              <a:gd name="connsiteY5896" fmla="*/ 2393127 h 6479439"/>
              <a:gd name="connsiteX5897" fmla="*/ 13941 w 9586368"/>
              <a:gd name="connsiteY5897" fmla="*/ 2393127 h 6479439"/>
              <a:gd name="connsiteX5898" fmla="*/ 17961 w 9586368"/>
              <a:gd name="connsiteY5898" fmla="*/ 2397165 h 6479439"/>
              <a:gd name="connsiteX5899" fmla="*/ 17961 w 9586368"/>
              <a:gd name="connsiteY5899" fmla="*/ 2407036 h 6479439"/>
              <a:gd name="connsiteX5900" fmla="*/ 13941 w 9586368"/>
              <a:gd name="connsiteY5900" fmla="*/ 2411074 h 6479439"/>
              <a:gd name="connsiteX5901" fmla="*/ 4031 w 9586368"/>
              <a:gd name="connsiteY5901" fmla="*/ 2411074 h 6479439"/>
              <a:gd name="connsiteX5902" fmla="*/ 12 w 9586368"/>
              <a:gd name="connsiteY5902" fmla="*/ 2407036 h 6479439"/>
              <a:gd name="connsiteX5903" fmla="*/ 12 w 9586368"/>
              <a:gd name="connsiteY5903" fmla="*/ 2397165 h 6479439"/>
              <a:gd name="connsiteX5904" fmla="*/ 3111048 w 9586368"/>
              <a:gd name="connsiteY5904" fmla="*/ 2153996 h 6479439"/>
              <a:gd name="connsiteX5905" fmla="*/ 3120959 w 9586368"/>
              <a:gd name="connsiteY5905" fmla="*/ 2153996 h 6479439"/>
              <a:gd name="connsiteX5906" fmla="*/ 3124977 w 9586368"/>
              <a:gd name="connsiteY5906" fmla="*/ 2158034 h 6479439"/>
              <a:gd name="connsiteX5907" fmla="*/ 3124977 w 9586368"/>
              <a:gd name="connsiteY5907" fmla="*/ 2167907 h 6479439"/>
              <a:gd name="connsiteX5908" fmla="*/ 3120959 w 9586368"/>
              <a:gd name="connsiteY5908" fmla="*/ 2171946 h 6479439"/>
              <a:gd name="connsiteX5909" fmla="*/ 3111048 w 9586368"/>
              <a:gd name="connsiteY5909" fmla="*/ 2171946 h 6479439"/>
              <a:gd name="connsiteX5910" fmla="*/ 3107029 w 9586368"/>
              <a:gd name="connsiteY5910" fmla="*/ 2167907 h 6479439"/>
              <a:gd name="connsiteX5911" fmla="*/ 3107029 w 9586368"/>
              <a:gd name="connsiteY5911" fmla="*/ 2158034 h 6479439"/>
              <a:gd name="connsiteX5912" fmla="*/ 2871737 w 9586368"/>
              <a:gd name="connsiteY5912" fmla="*/ 2153996 h 6479439"/>
              <a:gd name="connsiteX5913" fmla="*/ 2881646 w 9586368"/>
              <a:gd name="connsiteY5913" fmla="*/ 2153996 h 6479439"/>
              <a:gd name="connsiteX5914" fmla="*/ 2885666 w 9586368"/>
              <a:gd name="connsiteY5914" fmla="*/ 2158034 h 6479439"/>
              <a:gd name="connsiteX5915" fmla="*/ 2885666 w 9586368"/>
              <a:gd name="connsiteY5915" fmla="*/ 2167907 h 6479439"/>
              <a:gd name="connsiteX5916" fmla="*/ 2881646 w 9586368"/>
              <a:gd name="connsiteY5916" fmla="*/ 2171946 h 6479439"/>
              <a:gd name="connsiteX5917" fmla="*/ 2871737 w 9586368"/>
              <a:gd name="connsiteY5917" fmla="*/ 2171946 h 6479439"/>
              <a:gd name="connsiteX5918" fmla="*/ 2867717 w 9586368"/>
              <a:gd name="connsiteY5918" fmla="*/ 2167907 h 6479439"/>
              <a:gd name="connsiteX5919" fmla="*/ 2867717 w 9586368"/>
              <a:gd name="connsiteY5919" fmla="*/ 2158034 h 6479439"/>
              <a:gd name="connsiteX5920" fmla="*/ 2632423 w 9586368"/>
              <a:gd name="connsiteY5920" fmla="*/ 2153996 h 6479439"/>
              <a:gd name="connsiteX5921" fmla="*/ 2642334 w 9586368"/>
              <a:gd name="connsiteY5921" fmla="*/ 2153996 h 6479439"/>
              <a:gd name="connsiteX5922" fmla="*/ 2646352 w 9586368"/>
              <a:gd name="connsiteY5922" fmla="*/ 2158034 h 6479439"/>
              <a:gd name="connsiteX5923" fmla="*/ 2646352 w 9586368"/>
              <a:gd name="connsiteY5923" fmla="*/ 2167907 h 6479439"/>
              <a:gd name="connsiteX5924" fmla="*/ 2642334 w 9586368"/>
              <a:gd name="connsiteY5924" fmla="*/ 2171947 h 6479439"/>
              <a:gd name="connsiteX5925" fmla="*/ 2632423 w 9586368"/>
              <a:gd name="connsiteY5925" fmla="*/ 2171947 h 6479439"/>
              <a:gd name="connsiteX5926" fmla="*/ 2628404 w 9586368"/>
              <a:gd name="connsiteY5926" fmla="*/ 2167907 h 6479439"/>
              <a:gd name="connsiteX5927" fmla="*/ 2628404 w 9586368"/>
              <a:gd name="connsiteY5927" fmla="*/ 2158034 h 6479439"/>
              <a:gd name="connsiteX5928" fmla="*/ 2393104 w 9586368"/>
              <a:gd name="connsiteY5928" fmla="*/ 2153996 h 6479439"/>
              <a:gd name="connsiteX5929" fmla="*/ 2403015 w 9586368"/>
              <a:gd name="connsiteY5929" fmla="*/ 2153996 h 6479439"/>
              <a:gd name="connsiteX5930" fmla="*/ 2407034 w 9586368"/>
              <a:gd name="connsiteY5930" fmla="*/ 2158034 h 6479439"/>
              <a:gd name="connsiteX5931" fmla="*/ 2407034 w 9586368"/>
              <a:gd name="connsiteY5931" fmla="*/ 2167907 h 6479439"/>
              <a:gd name="connsiteX5932" fmla="*/ 2403015 w 9586368"/>
              <a:gd name="connsiteY5932" fmla="*/ 2171947 h 6479439"/>
              <a:gd name="connsiteX5933" fmla="*/ 2393104 w 9586368"/>
              <a:gd name="connsiteY5933" fmla="*/ 2171947 h 6479439"/>
              <a:gd name="connsiteX5934" fmla="*/ 2389087 w 9586368"/>
              <a:gd name="connsiteY5934" fmla="*/ 2167907 h 6479439"/>
              <a:gd name="connsiteX5935" fmla="*/ 2389087 w 9586368"/>
              <a:gd name="connsiteY5935" fmla="*/ 2158034 h 6479439"/>
              <a:gd name="connsiteX5936" fmla="*/ 3350359 w 9586368"/>
              <a:gd name="connsiteY5936" fmla="*/ 2153995 h 6479439"/>
              <a:gd name="connsiteX5937" fmla="*/ 3360268 w 9586368"/>
              <a:gd name="connsiteY5937" fmla="*/ 2153995 h 6479439"/>
              <a:gd name="connsiteX5938" fmla="*/ 3364287 w 9586368"/>
              <a:gd name="connsiteY5938" fmla="*/ 2158034 h 6479439"/>
              <a:gd name="connsiteX5939" fmla="*/ 3364287 w 9586368"/>
              <a:gd name="connsiteY5939" fmla="*/ 2167907 h 6479439"/>
              <a:gd name="connsiteX5940" fmla="*/ 3360268 w 9586368"/>
              <a:gd name="connsiteY5940" fmla="*/ 2171946 h 6479439"/>
              <a:gd name="connsiteX5941" fmla="*/ 3350359 w 9586368"/>
              <a:gd name="connsiteY5941" fmla="*/ 2171946 h 6479439"/>
              <a:gd name="connsiteX5942" fmla="*/ 3346340 w 9586368"/>
              <a:gd name="connsiteY5942" fmla="*/ 2167907 h 6479439"/>
              <a:gd name="connsiteX5943" fmla="*/ 3346340 w 9586368"/>
              <a:gd name="connsiteY5943" fmla="*/ 2158034 h 6479439"/>
              <a:gd name="connsiteX5944" fmla="*/ 4546929 w 9586368"/>
              <a:gd name="connsiteY5944" fmla="*/ 2153976 h 6479439"/>
              <a:gd name="connsiteX5945" fmla="*/ 4556840 w 9586368"/>
              <a:gd name="connsiteY5945" fmla="*/ 2153976 h 6479439"/>
              <a:gd name="connsiteX5946" fmla="*/ 4560859 w 9586368"/>
              <a:gd name="connsiteY5946" fmla="*/ 2158014 h 6479439"/>
              <a:gd name="connsiteX5947" fmla="*/ 4560859 w 9586368"/>
              <a:gd name="connsiteY5947" fmla="*/ 2167886 h 6479439"/>
              <a:gd name="connsiteX5948" fmla="*/ 4556840 w 9586368"/>
              <a:gd name="connsiteY5948" fmla="*/ 2171926 h 6479439"/>
              <a:gd name="connsiteX5949" fmla="*/ 4546929 w 9586368"/>
              <a:gd name="connsiteY5949" fmla="*/ 2171926 h 6479439"/>
              <a:gd name="connsiteX5950" fmla="*/ 4542910 w 9586368"/>
              <a:gd name="connsiteY5950" fmla="*/ 2167886 h 6479439"/>
              <a:gd name="connsiteX5951" fmla="*/ 4542910 w 9586368"/>
              <a:gd name="connsiteY5951" fmla="*/ 2158014 h 6479439"/>
              <a:gd name="connsiteX5952" fmla="*/ 4307612 w 9586368"/>
              <a:gd name="connsiteY5952" fmla="*/ 2153976 h 6479439"/>
              <a:gd name="connsiteX5953" fmla="*/ 4317523 w 9586368"/>
              <a:gd name="connsiteY5953" fmla="*/ 2153976 h 6479439"/>
              <a:gd name="connsiteX5954" fmla="*/ 4321543 w 9586368"/>
              <a:gd name="connsiteY5954" fmla="*/ 2158014 h 6479439"/>
              <a:gd name="connsiteX5955" fmla="*/ 4321543 w 9586368"/>
              <a:gd name="connsiteY5955" fmla="*/ 2167887 h 6479439"/>
              <a:gd name="connsiteX5956" fmla="*/ 4317523 w 9586368"/>
              <a:gd name="connsiteY5956" fmla="*/ 2171926 h 6479439"/>
              <a:gd name="connsiteX5957" fmla="*/ 4307612 w 9586368"/>
              <a:gd name="connsiteY5957" fmla="*/ 2171926 h 6479439"/>
              <a:gd name="connsiteX5958" fmla="*/ 4303595 w 9586368"/>
              <a:gd name="connsiteY5958" fmla="*/ 2167887 h 6479439"/>
              <a:gd name="connsiteX5959" fmla="*/ 4303595 w 9586368"/>
              <a:gd name="connsiteY5959" fmla="*/ 2158014 h 6479439"/>
              <a:gd name="connsiteX5960" fmla="*/ 4068297 w 9586368"/>
              <a:gd name="connsiteY5960" fmla="*/ 2153976 h 6479439"/>
              <a:gd name="connsiteX5961" fmla="*/ 4078210 w 9586368"/>
              <a:gd name="connsiteY5961" fmla="*/ 2153976 h 6479439"/>
              <a:gd name="connsiteX5962" fmla="*/ 4082229 w 9586368"/>
              <a:gd name="connsiteY5962" fmla="*/ 2158014 h 6479439"/>
              <a:gd name="connsiteX5963" fmla="*/ 4082229 w 9586368"/>
              <a:gd name="connsiteY5963" fmla="*/ 2167887 h 6479439"/>
              <a:gd name="connsiteX5964" fmla="*/ 4078210 w 9586368"/>
              <a:gd name="connsiteY5964" fmla="*/ 2171926 h 6479439"/>
              <a:gd name="connsiteX5965" fmla="*/ 4068297 w 9586368"/>
              <a:gd name="connsiteY5965" fmla="*/ 2171926 h 6479439"/>
              <a:gd name="connsiteX5966" fmla="*/ 4064278 w 9586368"/>
              <a:gd name="connsiteY5966" fmla="*/ 2167887 h 6479439"/>
              <a:gd name="connsiteX5967" fmla="*/ 4064278 w 9586368"/>
              <a:gd name="connsiteY5967" fmla="*/ 2158014 h 6479439"/>
              <a:gd name="connsiteX5968" fmla="*/ 3828990 w 9586368"/>
              <a:gd name="connsiteY5968" fmla="*/ 2153976 h 6479439"/>
              <a:gd name="connsiteX5969" fmla="*/ 3838899 w 9586368"/>
              <a:gd name="connsiteY5969" fmla="*/ 2153976 h 6479439"/>
              <a:gd name="connsiteX5970" fmla="*/ 3842917 w 9586368"/>
              <a:gd name="connsiteY5970" fmla="*/ 2158014 h 6479439"/>
              <a:gd name="connsiteX5971" fmla="*/ 3842917 w 9586368"/>
              <a:gd name="connsiteY5971" fmla="*/ 2167887 h 6479439"/>
              <a:gd name="connsiteX5972" fmla="*/ 3838899 w 9586368"/>
              <a:gd name="connsiteY5972" fmla="*/ 2171926 h 6479439"/>
              <a:gd name="connsiteX5973" fmla="*/ 3828990 w 9586368"/>
              <a:gd name="connsiteY5973" fmla="*/ 2171926 h 6479439"/>
              <a:gd name="connsiteX5974" fmla="*/ 3824971 w 9586368"/>
              <a:gd name="connsiteY5974" fmla="*/ 2167887 h 6479439"/>
              <a:gd name="connsiteX5975" fmla="*/ 3824971 w 9586368"/>
              <a:gd name="connsiteY5975" fmla="*/ 2158014 h 6479439"/>
              <a:gd name="connsiteX5976" fmla="*/ 3589676 w 9586368"/>
              <a:gd name="connsiteY5976" fmla="*/ 2153976 h 6479439"/>
              <a:gd name="connsiteX5977" fmla="*/ 3599585 w 9586368"/>
              <a:gd name="connsiteY5977" fmla="*/ 2153976 h 6479439"/>
              <a:gd name="connsiteX5978" fmla="*/ 3603604 w 9586368"/>
              <a:gd name="connsiteY5978" fmla="*/ 2158014 h 6479439"/>
              <a:gd name="connsiteX5979" fmla="*/ 3603604 w 9586368"/>
              <a:gd name="connsiteY5979" fmla="*/ 2167887 h 6479439"/>
              <a:gd name="connsiteX5980" fmla="*/ 3599585 w 9586368"/>
              <a:gd name="connsiteY5980" fmla="*/ 2171926 h 6479439"/>
              <a:gd name="connsiteX5981" fmla="*/ 3589676 w 9586368"/>
              <a:gd name="connsiteY5981" fmla="*/ 2171926 h 6479439"/>
              <a:gd name="connsiteX5982" fmla="*/ 3585657 w 9586368"/>
              <a:gd name="connsiteY5982" fmla="*/ 2167887 h 6479439"/>
              <a:gd name="connsiteX5983" fmla="*/ 3585657 w 9586368"/>
              <a:gd name="connsiteY5983" fmla="*/ 2158014 h 6479439"/>
              <a:gd name="connsiteX5984" fmla="*/ 5504099 w 9586368"/>
              <a:gd name="connsiteY5984" fmla="*/ 2153956 h 6479439"/>
              <a:gd name="connsiteX5985" fmla="*/ 5514010 w 9586368"/>
              <a:gd name="connsiteY5985" fmla="*/ 2153956 h 6479439"/>
              <a:gd name="connsiteX5986" fmla="*/ 5518029 w 9586368"/>
              <a:gd name="connsiteY5986" fmla="*/ 2157994 h 6479439"/>
              <a:gd name="connsiteX5987" fmla="*/ 5518029 w 9586368"/>
              <a:gd name="connsiteY5987" fmla="*/ 2167867 h 6479439"/>
              <a:gd name="connsiteX5988" fmla="*/ 5514010 w 9586368"/>
              <a:gd name="connsiteY5988" fmla="*/ 2171905 h 6479439"/>
              <a:gd name="connsiteX5989" fmla="*/ 5504099 w 9586368"/>
              <a:gd name="connsiteY5989" fmla="*/ 2171905 h 6479439"/>
              <a:gd name="connsiteX5990" fmla="*/ 5500080 w 9586368"/>
              <a:gd name="connsiteY5990" fmla="*/ 2167867 h 6479439"/>
              <a:gd name="connsiteX5991" fmla="*/ 5500080 w 9586368"/>
              <a:gd name="connsiteY5991" fmla="*/ 2157994 h 6479439"/>
              <a:gd name="connsiteX5992" fmla="*/ 5264784 w 9586368"/>
              <a:gd name="connsiteY5992" fmla="*/ 2153956 h 6479439"/>
              <a:gd name="connsiteX5993" fmla="*/ 5274694 w 9586368"/>
              <a:gd name="connsiteY5993" fmla="*/ 2153956 h 6479439"/>
              <a:gd name="connsiteX5994" fmla="*/ 5278713 w 9586368"/>
              <a:gd name="connsiteY5994" fmla="*/ 2157994 h 6479439"/>
              <a:gd name="connsiteX5995" fmla="*/ 5278713 w 9586368"/>
              <a:gd name="connsiteY5995" fmla="*/ 2167867 h 6479439"/>
              <a:gd name="connsiteX5996" fmla="*/ 5274694 w 9586368"/>
              <a:gd name="connsiteY5996" fmla="*/ 2171905 h 6479439"/>
              <a:gd name="connsiteX5997" fmla="*/ 5264784 w 9586368"/>
              <a:gd name="connsiteY5997" fmla="*/ 2171905 h 6479439"/>
              <a:gd name="connsiteX5998" fmla="*/ 5260765 w 9586368"/>
              <a:gd name="connsiteY5998" fmla="*/ 2167867 h 6479439"/>
              <a:gd name="connsiteX5999" fmla="*/ 5260765 w 9586368"/>
              <a:gd name="connsiteY5999" fmla="*/ 2157994 h 6479439"/>
              <a:gd name="connsiteX6000" fmla="*/ 5025470 w 9586368"/>
              <a:gd name="connsiteY6000" fmla="*/ 2153956 h 6479439"/>
              <a:gd name="connsiteX6001" fmla="*/ 5035381 w 9586368"/>
              <a:gd name="connsiteY6001" fmla="*/ 2153956 h 6479439"/>
              <a:gd name="connsiteX6002" fmla="*/ 5039400 w 9586368"/>
              <a:gd name="connsiteY6002" fmla="*/ 2157994 h 6479439"/>
              <a:gd name="connsiteX6003" fmla="*/ 5039400 w 9586368"/>
              <a:gd name="connsiteY6003" fmla="*/ 2167867 h 6479439"/>
              <a:gd name="connsiteX6004" fmla="*/ 5035381 w 9586368"/>
              <a:gd name="connsiteY6004" fmla="*/ 2171906 h 6479439"/>
              <a:gd name="connsiteX6005" fmla="*/ 5025470 w 9586368"/>
              <a:gd name="connsiteY6005" fmla="*/ 2171906 h 6479439"/>
              <a:gd name="connsiteX6006" fmla="*/ 5021451 w 9586368"/>
              <a:gd name="connsiteY6006" fmla="*/ 2167867 h 6479439"/>
              <a:gd name="connsiteX6007" fmla="*/ 5021451 w 9586368"/>
              <a:gd name="connsiteY6007" fmla="*/ 2157994 h 6479439"/>
              <a:gd name="connsiteX6008" fmla="*/ 4786241 w 9586368"/>
              <a:gd name="connsiteY6008" fmla="*/ 2153956 h 6479439"/>
              <a:gd name="connsiteX6009" fmla="*/ 4796152 w 9586368"/>
              <a:gd name="connsiteY6009" fmla="*/ 2153956 h 6479439"/>
              <a:gd name="connsiteX6010" fmla="*/ 4800171 w 9586368"/>
              <a:gd name="connsiteY6010" fmla="*/ 2157994 h 6479439"/>
              <a:gd name="connsiteX6011" fmla="*/ 4800171 w 9586368"/>
              <a:gd name="connsiteY6011" fmla="*/ 2167867 h 6479439"/>
              <a:gd name="connsiteX6012" fmla="*/ 4796152 w 9586368"/>
              <a:gd name="connsiteY6012" fmla="*/ 2171906 h 6479439"/>
              <a:gd name="connsiteX6013" fmla="*/ 4786241 w 9586368"/>
              <a:gd name="connsiteY6013" fmla="*/ 2171906 h 6479439"/>
              <a:gd name="connsiteX6014" fmla="*/ 4782224 w 9586368"/>
              <a:gd name="connsiteY6014" fmla="*/ 2167867 h 6479439"/>
              <a:gd name="connsiteX6015" fmla="*/ 4782224 w 9586368"/>
              <a:gd name="connsiteY6015" fmla="*/ 2157994 h 6479439"/>
              <a:gd name="connsiteX6016" fmla="*/ 5743412 w 9586368"/>
              <a:gd name="connsiteY6016" fmla="*/ 2153955 h 6479439"/>
              <a:gd name="connsiteX6017" fmla="*/ 5753323 w 9586368"/>
              <a:gd name="connsiteY6017" fmla="*/ 2153955 h 6479439"/>
              <a:gd name="connsiteX6018" fmla="*/ 5757342 w 9586368"/>
              <a:gd name="connsiteY6018" fmla="*/ 2157994 h 6479439"/>
              <a:gd name="connsiteX6019" fmla="*/ 5757342 w 9586368"/>
              <a:gd name="connsiteY6019" fmla="*/ 2167866 h 6479439"/>
              <a:gd name="connsiteX6020" fmla="*/ 5753323 w 9586368"/>
              <a:gd name="connsiteY6020" fmla="*/ 2171905 h 6479439"/>
              <a:gd name="connsiteX6021" fmla="*/ 5743412 w 9586368"/>
              <a:gd name="connsiteY6021" fmla="*/ 2171905 h 6479439"/>
              <a:gd name="connsiteX6022" fmla="*/ 5739393 w 9586368"/>
              <a:gd name="connsiteY6022" fmla="*/ 2167866 h 6479439"/>
              <a:gd name="connsiteX6023" fmla="*/ 5739393 w 9586368"/>
              <a:gd name="connsiteY6023" fmla="*/ 2157994 h 6479439"/>
              <a:gd name="connsiteX6024" fmla="*/ 6222042 w 9586368"/>
              <a:gd name="connsiteY6024" fmla="*/ 2153936 h 6479439"/>
              <a:gd name="connsiteX6025" fmla="*/ 6231952 w 9586368"/>
              <a:gd name="connsiteY6025" fmla="*/ 2153936 h 6479439"/>
              <a:gd name="connsiteX6026" fmla="*/ 6235971 w 9586368"/>
              <a:gd name="connsiteY6026" fmla="*/ 2157974 h 6479439"/>
              <a:gd name="connsiteX6027" fmla="*/ 6235971 w 9586368"/>
              <a:gd name="connsiteY6027" fmla="*/ 2167846 h 6479439"/>
              <a:gd name="connsiteX6028" fmla="*/ 6231952 w 9586368"/>
              <a:gd name="connsiteY6028" fmla="*/ 2171885 h 6479439"/>
              <a:gd name="connsiteX6029" fmla="*/ 6222042 w 9586368"/>
              <a:gd name="connsiteY6029" fmla="*/ 2171885 h 6479439"/>
              <a:gd name="connsiteX6030" fmla="*/ 6218023 w 9586368"/>
              <a:gd name="connsiteY6030" fmla="*/ 2167846 h 6479439"/>
              <a:gd name="connsiteX6031" fmla="*/ 6218023 w 9586368"/>
              <a:gd name="connsiteY6031" fmla="*/ 2157974 h 6479439"/>
              <a:gd name="connsiteX6032" fmla="*/ 5982729 w 9586368"/>
              <a:gd name="connsiteY6032" fmla="*/ 2153936 h 6479439"/>
              <a:gd name="connsiteX6033" fmla="*/ 5992639 w 9586368"/>
              <a:gd name="connsiteY6033" fmla="*/ 2153936 h 6479439"/>
              <a:gd name="connsiteX6034" fmla="*/ 5996658 w 9586368"/>
              <a:gd name="connsiteY6034" fmla="*/ 2157974 h 6479439"/>
              <a:gd name="connsiteX6035" fmla="*/ 5996658 w 9586368"/>
              <a:gd name="connsiteY6035" fmla="*/ 2167846 h 6479439"/>
              <a:gd name="connsiteX6036" fmla="*/ 5992639 w 9586368"/>
              <a:gd name="connsiteY6036" fmla="*/ 2171885 h 6479439"/>
              <a:gd name="connsiteX6037" fmla="*/ 5982729 w 9586368"/>
              <a:gd name="connsiteY6037" fmla="*/ 2171885 h 6479439"/>
              <a:gd name="connsiteX6038" fmla="*/ 5978710 w 9586368"/>
              <a:gd name="connsiteY6038" fmla="*/ 2167846 h 6479439"/>
              <a:gd name="connsiteX6039" fmla="*/ 5978710 w 9586368"/>
              <a:gd name="connsiteY6039" fmla="*/ 2157974 h 6479439"/>
              <a:gd name="connsiteX6040" fmla="*/ 6939983 w 9586368"/>
              <a:gd name="connsiteY6040" fmla="*/ 2153935 h 6479439"/>
              <a:gd name="connsiteX6041" fmla="*/ 6949894 w 9586368"/>
              <a:gd name="connsiteY6041" fmla="*/ 2153935 h 6479439"/>
              <a:gd name="connsiteX6042" fmla="*/ 6953913 w 9586368"/>
              <a:gd name="connsiteY6042" fmla="*/ 2157974 h 6479439"/>
              <a:gd name="connsiteX6043" fmla="*/ 6953913 w 9586368"/>
              <a:gd name="connsiteY6043" fmla="*/ 2167845 h 6479439"/>
              <a:gd name="connsiteX6044" fmla="*/ 6949894 w 9586368"/>
              <a:gd name="connsiteY6044" fmla="*/ 2171885 h 6479439"/>
              <a:gd name="connsiteX6045" fmla="*/ 6939983 w 9586368"/>
              <a:gd name="connsiteY6045" fmla="*/ 2171885 h 6479439"/>
              <a:gd name="connsiteX6046" fmla="*/ 6935964 w 9586368"/>
              <a:gd name="connsiteY6046" fmla="*/ 2167845 h 6479439"/>
              <a:gd name="connsiteX6047" fmla="*/ 6935964 w 9586368"/>
              <a:gd name="connsiteY6047" fmla="*/ 2157974 h 6479439"/>
              <a:gd name="connsiteX6048" fmla="*/ 6700670 w 9586368"/>
              <a:gd name="connsiteY6048" fmla="*/ 2153935 h 6479439"/>
              <a:gd name="connsiteX6049" fmla="*/ 6710581 w 9586368"/>
              <a:gd name="connsiteY6049" fmla="*/ 2153935 h 6479439"/>
              <a:gd name="connsiteX6050" fmla="*/ 6714600 w 9586368"/>
              <a:gd name="connsiteY6050" fmla="*/ 2157974 h 6479439"/>
              <a:gd name="connsiteX6051" fmla="*/ 6714600 w 9586368"/>
              <a:gd name="connsiteY6051" fmla="*/ 2167846 h 6479439"/>
              <a:gd name="connsiteX6052" fmla="*/ 6710581 w 9586368"/>
              <a:gd name="connsiteY6052" fmla="*/ 2171885 h 6479439"/>
              <a:gd name="connsiteX6053" fmla="*/ 6700670 w 9586368"/>
              <a:gd name="connsiteY6053" fmla="*/ 2171885 h 6479439"/>
              <a:gd name="connsiteX6054" fmla="*/ 6696651 w 9586368"/>
              <a:gd name="connsiteY6054" fmla="*/ 2167846 h 6479439"/>
              <a:gd name="connsiteX6055" fmla="*/ 6696651 w 9586368"/>
              <a:gd name="connsiteY6055" fmla="*/ 2157974 h 6479439"/>
              <a:gd name="connsiteX6056" fmla="*/ 6461356 w 9586368"/>
              <a:gd name="connsiteY6056" fmla="*/ 2153935 h 6479439"/>
              <a:gd name="connsiteX6057" fmla="*/ 6471266 w 9586368"/>
              <a:gd name="connsiteY6057" fmla="*/ 2153935 h 6479439"/>
              <a:gd name="connsiteX6058" fmla="*/ 6475285 w 9586368"/>
              <a:gd name="connsiteY6058" fmla="*/ 2157974 h 6479439"/>
              <a:gd name="connsiteX6059" fmla="*/ 6475285 w 9586368"/>
              <a:gd name="connsiteY6059" fmla="*/ 2167846 h 6479439"/>
              <a:gd name="connsiteX6060" fmla="*/ 6471266 w 9586368"/>
              <a:gd name="connsiteY6060" fmla="*/ 2171885 h 6479439"/>
              <a:gd name="connsiteX6061" fmla="*/ 6461356 w 9586368"/>
              <a:gd name="connsiteY6061" fmla="*/ 2171885 h 6479439"/>
              <a:gd name="connsiteX6062" fmla="*/ 6457337 w 9586368"/>
              <a:gd name="connsiteY6062" fmla="*/ 2167846 h 6479439"/>
              <a:gd name="connsiteX6063" fmla="*/ 6457337 w 9586368"/>
              <a:gd name="connsiteY6063" fmla="*/ 2157974 h 6479439"/>
              <a:gd name="connsiteX6064" fmla="*/ 7418611 w 9586368"/>
              <a:gd name="connsiteY6064" fmla="*/ 2153916 h 6479439"/>
              <a:gd name="connsiteX6065" fmla="*/ 7428521 w 9586368"/>
              <a:gd name="connsiteY6065" fmla="*/ 2153916 h 6479439"/>
              <a:gd name="connsiteX6066" fmla="*/ 7432540 w 9586368"/>
              <a:gd name="connsiteY6066" fmla="*/ 2157955 h 6479439"/>
              <a:gd name="connsiteX6067" fmla="*/ 7432540 w 9586368"/>
              <a:gd name="connsiteY6067" fmla="*/ 2167826 h 6479439"/>
              <a:gd name="connsiteX6068" fmla="*/ 7428521 w 9586368"/>
              <a:gd name="connsiteY6068" fmla="*/ 2171865 h 6479439"/>
              <a:gd name="connsiteX6069" fmla="*/ 7418611 w 9586368"/>
              <a:gd name="connsiteY6069" fmla="*/ 2171865 h 6479439"/>
              <a:gd name="connsiteX6070" fmla="*/ 7414592 w 9586368"/>
              <a:gd name="connsiteY6070" fmla="*/ 2167826 h 6479439"/>
              <a:gd name="connsiteX6071" fmla="*/ 7414592 w 9586368"/>
              <a:gd name="connsiteY6071" fmla="*/ 2157955 h 6479439"/>
              <a:gd name="connsiteX6072" fmla="*/ 7179298 w 9586368"/>
              <a:gd name="connsiteY6072" fmla="*/ 2153916 h 6479439"/>
              <a:gd name="connsiteX6073" fmla="*/ 7189209 w 9586368"/>
              <a:gd name="connsiteY6073" fmla="*/ 2153916 h 6479439"/>
              <a:gd name="connsiteX6074" fmla="*/ 7193228 w 9586368"/>
              <a:gd name="connsiteY6074" fmla="*/ 2157955 h 6479439"/>
              <a:gd name="connsiteX6075" fmla="*/ 7193228 w 9586368"/>
              <a:gd name="connsiteY6075" fmla="*/ 2167826 h 6479439"/>
              <a:gd name="connsiteX6076" fmla="*/ 7189209 w 9586368"/>
              <a:gd name="connsiteY6076" fmla="*/ 2171865 h 6479439"/>
              <a:gd name="connsiteX6077" fmla="*/ 7179298 w 9586368"/>
              <a:gd name="connsiteY6077" fmla="*/ 2171865 h 6479439"/>
              <a:gd name="connsiteX6078" fmla="*/ 7175279 w 9586368"/>
              <a:gd name="connsiteY6078" fmla="*/ 2167826 h 6479439"/>
              <a:gd name="connsiteX6079" fmla="*/ 7175279 w 9586368"/>
              <a:gd name="connsiteY6079" fmla="*/ 2157955 h 6479439"/>
              <a:gd name="connsiteX6080" fmla="*/ 8136553 w 9586368"/>
              <a:gd name="connsiteY6080" fmla="*/ 2153915 h 6479439"/>
              <a:gd name="connsiteX6081" fmla="*/ 8146464 w 9586368"/>
              <a:gd name="connsiteY6081" fmla="*/ 2153915 h 6479439"/>
              <a:gd name="connsiteX6082" fmla="*/ 8150483 w 9586368"/>
              <a:gd name="connsiteY6082" fmla="*/ 2157955 h 6479439"/>
              <a:gd name="connsiteX6083" fmla="*/ 8150483 w 9586368"/>
              <a:gd name="connsiteY6083" fmla="*/ 2167825 h 6479439"/>
              <a:gd name="connsiteX6084" fmla="*/ 8146464 w 9586368"/>
              <a:gd name="connsiteY6084" fmla="*/ 2171864 h 6479439"/>
              <a:gd name="connsiteX6085" fmla="*/ 8136553 w 9586368"/>
              <a:gd name="connsiteY6085" fmla="*/ 2171864 h 6479439"/>
              <a:gd name="connsiteX6086" fmla="*/ 8132534 w 9586368"/>
              <a:gd name="connsiteY6086" fmla="*/ 2167825 h 6479439"/>
              <a:gd name="connsiteX6087" fmla="*/ 8132534 w 9586368"/>
              <a:gd name="connsiteY6087" fmla="*/ 2157955 h 6479439"/>
              <a:gd name="connsiteX6088" fmla="*/ 7897241 w 9586368"/>
              <a:gd name="connsiteY6088" fmla="*/ 2153915 h 6479439"/>
              <a:gd name="connsiteX6089" fmla="*/ 7907151 w 9586368"/>
              <a:gd name="connsiteY6089" fmla="*/ 2153915 h 6479439"/>
              <a:gd name="connsiteX6090" fmla="*/ 7911170 w 9586368"/>
              <a:gd name="connsiteY6090" fmla="*/ 2157955 h 6479439"/>
              <a:gd name="connsiteX6091" fmla="*/ 7911170 w 9586368"/>
              <a:gd name="connsiteY6091" fmla="*/ 2167826 h 6479439"/>
              <a:gd name="connsiteX6092" fmla="*/ 7907151 w 9586368"/>
              <a:gd name="connsiteY6092" fmla="*/ 2171864 h 6479439"/>
              <a:gd name="connsiteX6093" fmla="*/ 7897241 w 9586368"/>
              <a:gd name="connsiteY6093" fmla="*/ 2171864 h 6479439"/>
              <a:gd name="connsiteX6094" fmla="*/ 7893222 w 9586368"/>
              <a:gd name="connsiteY6094" fmla="*/ 2167826 h 6479439"/>
              <a:gd name="connsiteX6095" fmla="*/ 7893222 w 9586368"/>
              <a:gd name="connsiteY6095" fmla="*/ 2157955 h 6479439"/>
              <a:gd name="connsiteX6096" fmla="*/ 7657926 w 9586368"/>
              <a:gd name="connsiteY6096" fmla="*/ 2153915 h 6479439"/>
              <a:gd name="connsiteX6097" fmla="*/ 7667836 w 9586368"/>
              <a:gd name="connsiteY6097" fmla="*/ 2153915 h 6479439"/>
              <a:gd name="connsiteX6098" fmla="*/ 7671855 w 9586368"/>
              <a:gd name="connsiteY6098" fmla="*/ 2157955 h 6479439"/>
              <a:gd name="connsiteX6099" fmla="*/ 7671855 w 9586368"/>
              <a:gd name="connsiteY6099" fmla="*/ 2167826 h 6479439"/>
              <a:gd name="connsiteX6100" fmla="*/ 7667836 w 9586368"/>
              <a:gd name="connsiteY6100" fmla="*/ 2171864 h 6479439"/>
              <a:gd name="connsiteX6101" fmla="*/ 7657926 w 9586368"/>
              <a:gd name="connsiteY6101" fmla="*/ 2171864 h 6479439"/>
              <a:gd name="connsiteX6102" fmla="*/ 7653906 w 9586368"/>
              <a:gd name="connsiteY6102" fmla="*/ 2167826 h 6479439"/>
              <a:gd name="connsiteX6103" fmla="*/ 7653906 w 9586368"/>
              <a:gd name="connsiteY6103" fmla="*/ 2157955 h 6479439"/>
              <a:gd name="connsiteX6104" fmla="*/ 8615184 w 9586368"/>
              <a:gd name="connsiteY6104" fmla="*/ 2153896 h 6479439"/>
              <a:gd name="connsiteX6105" fmla="*/ 8625095 w 9586368"/>
              <a:gd name="connsiteY6105" fmla="*/ 2153896 h 6479439"/>
              <a:gd name="connsiteX6106" fmla="*/ 8629114 w 9586368"/>
              <a:gd name="connsiteY6106" fmla="*/ 2157935 h 6479439"/>
              <a:gd name="connsiteX6107" fmla="*/ 8629114 w 9586368"/>
              <a:gd name="connsiteY6107" fmla="*/ 2167805 h 6479439"/>
              <a:gd name="connsiteX6108" fmla="*/ 8625095 w 9586368"/>
              <a:gd name="connsiteY6108" fmla="*/ 2171844 h 6479439"/>
              <a:gd name="connsiteX6109" fmla="*/ 8615184 w 9586368"/>
              <a:gd name="connsiteY6109" fmla="*/ 2171844 h 6479439"/>
              <a:gd name="connsiteX6110" fmla="*/ 8611165 w 9586368"/>
              <a:gd name="connsiteY6110" fmla="*/ 2167805 h 6479439"/>
              <a:gd name="connsiteX6111" fmla="*/ 8611165 w 9586368"/>
              <a:gd name="connsiteY6111" fmla="*/ 2157935 h 6479439"/>
              <a:gd name="connsiteX6112" fmla="*/ 8375869 w 9586368"/>
              <a:gd name="connsiteY6112" fmla="*/ 2153896 h 6479439"/>
              <a:gd name="connsiteX6113" fmla="*/ 8385779 w 9586368"/>
              <a:gd name="connsiteY6113" fmla="*/ 2153896 h 6479439"/>
              <a:gd name="connsiteX6114" fmla="*/ 8389799 w 9586368"/>
              <a:gd name="connsiteY6114" fmla="*/ 2157935 h 6479439"/>
              <a:gd name="connsiteX6115" fmla="*/ 8389799 w 9586368"/>
              <a:gd name="connsiteY6115" fmla="*/ 2167805 h 6479439"/>
              <a:gd name="connsiteX6116" fmla="*/ 8385779 w 9586368"/>
              <a:gd name="connsiteY6116" fmla="*/ 2171844 h 6479439"/>
              <a:gd name="connsiteX6117" fmla="*/ 8375869 w 9586368"/>
              <a:gd name="connsiteY6117" fmla="*/ 2171844 h 6479439"/>
              <a:gd name="connsiteX6118" fmla="*/ 8371850 w 9586368"/>
              <a:gd name="connsiteY6118" fmla="*/ 2167805 h 6479439"/>
              <a:gd name="connsiteX6119" fmla="*/ 8371850 w 9586368"/>
              <a:gd name="connsiteY6119" fmla="*/ 2157935 h 6479439"/>
              <a:gd name="connsiteX6120" fmla="*/ 9333125 w 9586368"/>
              <a:gd name="connsiteY6120" fmla="*/ 2153895 h 6479439"/>
              <a:gd name="connsiteX6121" fmla="*/ 9343036 w 9586368"/>
              <a:gd name="connsiteY6121" fmla="*/ 2153895 h 6479439"/>
              <a:gd name="connsiteX6122" fmla="*/ 9347055 w 9586368"/>
              <a:gd name="connsiteY6122" fmla="*/ 2157934 h 6479439"/>
              <a:gd name="connsiteX6123" fmla="*/ 9347055 w 9586368"/>
              <a:gd name="connsiteY6123" fmla="*/ 2167805 h 6479439"/>
              <a:gd name="connsiteX6124" fmla="*/ 9343036 w 9586368"/>
              <a:gd name="connsiteY6124" fmla="*/ 2171844 h 6479439"/>
              <a:gd name="connsiteX6125" fmla="*/ 9333125 w 9586368"/>
              <a:gd name="connsiteY6125" fmla="*/ 2171844 h 6479439"/>
              <a:gd name="connsiteX6126" fmla="*/ 9329106 w 9586368"/>
              <a:gd name="connsiteY6126" fmla="*/ 2167805 h 6479439"/>
              <a:gd name="connsiteX6127" fmla="*/ 9329106 w 9586368"/>
              <a:gd name="connsiteY6127" fmla="*/ 2157934 h 6479439"/>
              <a:gd name="connsiteX6128" fmla="*/ 9093811 w 9586368"/>
              <a:gd name="connsiteY6128" fmla="*/ 2153895 h 6479439"/>
              <a:gd name="connsiteX6129" fmla="*/ 9103722 w 9586368"/>
              <a:gd name="connsiteY6129" fmla="*/ 2153895 h 6479439"/>
              <a:gd name="connsiteX6130" fmla="*/ 9107741 w 9586368"/>
              <a:gd name="connsiteY6130" fmla="*/ 2157935 h 6479439"/>
              <a:gd name="connsiteX6131" fmla="*/ 9107741 w 9586368"/>
              <a:gd name="connsiteY6131" fmla="*/ 2167805 h 6479439"/>
              <a:gd name="connsiteX6132" fmla="*/ 9103722 w 9586368"/>
              <a:gd name="connsiteY6132" fmla="*/ 2171844 h 6479439"/>
              <a:gd name="connsiteX6133" fmla="*/ 9093811 w 9586368"/>
              <a:gd name="connsiteY6133" fmla="*/ 2171844 h 6479439"/>
              <a:gd name="connsiteX6134" fmla="*/ 9089792 w 9586368"/>
              <a:gd name="connsiteY6134" fmla="*/ 2167805 h 6479439"/>
              <a:gd name="connsiteX6135" fmla="*/ 9089792 w 9586368"/>
              <a:gd name="connsiteY6135" fmla="*/ 2157935 h 6479439"/>
              <a:gd name="connsiteX6136" fmla="*/ 8854496 w 9586368"/>
              <a:gd name="connsiteY6136" fmla="*/ 2153895 h 6479439"/>
              <a:gd name="connsiteX6137" fmla="*/ 8864407 w 9586368"/>
              <a:gd name="connsiteY6137" fmla="*/ 2153895 h 6479439"/>
              <a:gd name="connsiteX6138" fmla="*/ 8868426 w 9586368"/>
              <a:gd name="connsiteY6138" fmla="*/ 2157935 h 6479439"/>
              <a:gd name="connsiteX6139" fmla="*/ 8868426 w 9586368"/>
              <a:gd name="connsiteY6139" fmla="*/ 2167805 h 6479439"/>
              <a:gd name="connsiteX6140" fmla="*/ 8864407 w 9586368"/>
              <a:gd name="connsiteY6140" fmla="*/ 2171844 h 6479439"/>
              <a:gd name="connsiteX6141" fmla="*/ 8854496 w 9586368"/>
              <a:gd name="connsiteY6141" fmla="*/ 2171844 h 6479439"/>
              <a:gd name="connsiteX6142" fmla="*/ 8850477 w 9586368"/>
              <a:gd name="connsiteY6142" fmla="*/ 2167805 h 6479439"/>
              <a:gd name="connsiteX6143" fmla="*/ 8850477 w 9586368"/>
              <a:gd name="connsiteY6143" fmla="*/ 2157935 h 6479439"/>
              <a:gd name="connsiteX6144" fmla="*/ 9572438 w 9586368"/>
              <a:gd name="connsiteY6144" fmla="*/ 2153876 h 6479439"/>
              <a:gd name="connsiteX6145" fmla="*/ 9582349 w 9586368"/>
              <a:gd name="connsiteY6145" fmla="*/ 2153876 h 6479439"/>
              <a:gd name="connsiteX6146" fmla="*/ 9586368 w 9586368"/>
              <a:gd name="connsiteY6146" fmla="*/ 2157914 h 6479439"/>
              <a:gd name="connsiteX6147" fmla="*/ 9586368 w 9586368"/>
              <a:gd name="connsiteY6147" fmla="*/ 2167786 h 6479439"/>
              <a:gd name="connsiteX6148" fmla="*/ 9582349 w 9586368"/>
              <a:gd name="connsiteY6148" fmla="*/ 2171824 h 6479439"/>
              <a:gd name="connsiteX6149" fmla="*/ 9572438 w 9586368"/>
              <a:gd name="connsiteY6149" fmla="*/ 2171824 h 6479439"/>
              <a:gd name="connsiteX6150" fmla="*/ 9568419 w 9586368"/>
              <a:gd name="connsiteY6150" fmla="*/ 2167786 h 6479439"/>
              <a:gd name="connsiteX6151" fmla="*/ 9568419 w 9586368"/>
              <a:gd name="connsiteY6151" fmla="*/ 2157914 h 6479439"/>
              <a:gd name="connsiteX6152" fmla="*/ 1200582 w 9586368"/>
              <a:gd name="connsiteY6152" fmla="*/ 2153867 h 6479439"/>
              <a:gd name="connsiteX6153" fmla="*/ 1210491 w 9586368"/>
              <a:gd name="connsiteY6153" fmla="*/ 2153867 h 6479439"/>
              <a:gd name="connsiteX6154" fmla="*/ 1214510 w 9586368"/>
              <a:gd name="connsiteY6154" fmla="*/ 2157906 h 6479439"/>
              <a:gd name="connsiteX6155" fmla="*/ 1214510 w 9586368"/>
              <a:gd name="connsiteY6155" fmla="*/ 2167776 h 6479439"/>
              <a:gd name="connsiteX6156" fmla="*/ 1210491 w 9586368"/>
              <a:gd name="connsiteY6156" fmla="*/ 2171815 h 6479439"/>
              <a:gd name="connsiteX6157" fmla="*/ 1200582 w 9586368"/>
              <a:gd name="connsiteY6157" fmla="*/ 2171815 h 6479439"/>
              <a:gd name="connsiteX6158" fmla="*/ 1196562 w 9586368"/>
              <a:gd name="connsiteY6158" fmla="*/ 2167776 h 6479439"/>
              <a:gd name="connsiteX6159" fmla="*/ 1196562 w 9586368"/>
              <a:gd name="connsiteY6159" fmla="*/ 2157906 h 6479439"/>
              <a:gd name="connsiteX6160" fmla="*/ 961268 w 9586368"/>
              <a:gd name="connsiteY6160" fmla="*/ 2153867 h 6479439"/>
              <a:gd name="connsiteX6161" fmla="*/ 971179 w 9586368"/>
              <a:gd name="connsiteY6161" fmla="*/ 2153867 h 6479439"/>
              <a:gd name="connsiteX6162" fmla="*/ 975198 w 9586368"/>
              <a:gd name="connsiteY6162" fmla="*/ 2157906 h 6479439"/>
              <a:gd name="connsiteX6163" fmla="*/ 975198 w 9586368"/>
              <a:gd name="connsiteY6163" fmla="*/ 2167776 h 6479439"/>
              <a:gd name="connsiteX6164" fmla="*/ 971179 w 9586368"/>
              <a:gd name="connsiteY6164" fmla="*/ 2171815 h 6479439"/>
              <a:gd name="connsiteX6165" fmla="*/ 961268 w 9586368"/>
              <a:gd name="connsiteY6165" fmla="*/ 2171815 h 6479439"/>
              <a:gd name="connsiteX6166" fmla="*/ 957250 w 9586368"/>
              <a:gd name="connsiteY6166" fmla="*/ 2167776 h 6479439"/>
              <a:gd name="connsiteX6167" fmla="*/ 957250 w 9586368"/>
              <a:gd name="connsiteY6167" fmla="*/ 2157906 h 6479439"/>
              <a:gd name="connsiteX6168" fmla="*/ 1679214 w 9586368"/>
              <a:gd name="connsiteY6168" fmla="*/ 2153867 h 6479439"/>
              <a:gd name="connsiteX6169" fmla="*/ 1689123 w 9586368"/>
              <a:gd name="connsiteY6169" fmla="*/ 2153867 h 6479439"/>
              <a:gd name="connsiteX6170" fmla="*/ 1693144 w 9586368"/>
              <a:gd name="connsiteY6170" fmla="*/ 2157905 h 6479439"/>
              <a:gd name="connsiteX6171" fmla="*/ 1693144 w 9586368"/>
              <a:gd name="connsiteY6171" fmla="*/ 2167775 h 6479439"/>
              <a:gd name="connsiteX6172" fmla="*/ 1689123 w 9586368"/>
              <a:gd name="connsiteY6172" fmla="*/ 2171814 h 6479439"/>
              <a:gd name="connsiteX6173" fmla="*/ 1679214 w 9586368"/>
              <a:gd name="connsiteY6173" fmla="*/ 2171814 h 6479439"/>
              <a:gd name="connsiteX6174" fmla="*/ 1675195 w 9586368"/>
              <a:gd name="connsiteY6174" fmla="*/ 2167775 h 6479439"/>
              <a:gd name="connsiteX6175" fmla="*/ 1675195 w 9586368"/>
              <a:gd name="connsiteY6175" fmla="*/ 2157905 h 6479439"/>
              <a:gd name="connsiteX6176" fmla="*/ 1439897 w 9586368"/>
              <a:gd name="connsiteY6176" fmla="*/ 2153867 h 6479439"/>
              <a:gd name="connsiteX6177" fmla="*/ 1449807 w 9586368"/>
              <a:gd name="connsiteY6177" fmla="*/ 2153867 h 6479439"/>
              <a:gd name="connsiteX6178" fmla="*/ 1453826 w 9586368"/>
              <a:gd name="connsiteY6178" fmla="*/ 2157905 h 6479439"/>
              <a:gd name="connsiteX6179" fmla="*/ 1453826 w 9586368"/>
              <a:gd name="connsiteY6179" fmla="*/ 2167776 h 6479439"/>
              <a:gd name="connsiteX6180" fmla="*/ 1449807 w 9586368"/>
              <a:gd name="connsiteY6180" fmla="*/ 2171814 h 6479439"/>
              <a:gd name="connsiteX6181" fmla="*/ 1439897 w 9586368"/>
              <a:gd name="connsiteY6181" fmla="*/ 2171814 h 6479439"/>
              <a:gd name="connsiteX6182" fmla="*/ 1435878 w 9586368"/>
              <a:gd name="connsiteY6182" fmla="*/ 2167776 h 6479439"/>
              <a:gd name="connsiteX6183" fmla="*/ 1435878 w 9586368"/>
              <a:gd name="connsiteY6183" fmla="*/ 2157905 h 6479439"/>
              <a:gd name="connsiteX6184" fmla="*/ 1918513 w 9586368"/>
              <a:gd name="connsiteY6184" fmla="*/ 2153855 h 6479439"/>
              <a:gd name="connsiteX6185" fmla="*/ 1928422 w 9586368"/>
              <a:gd name="connsiteY6185" fmla="*/ 2153855 h 6479439"/>
              <a:gd name="connsiteX6186" fmla="*/ 1932443 w 9586368"/>
              <a:gd name="connsiteY6186" fmla="*/ 2157892 h 6479439"/>
              <a:gd name="connsiteX6187" fmla="*/ 1932443 w 9586368"/>
              <a:gd name="connsiteY6187" fmla="*/ 2167763 h 6479439"/>
              <a:gd name="connsiteX6188" fmla="*/ 1928422 w 9586368"/>
              <a:gd name="connsiteY6188" fmla="*/ 2171803 h 6479439"/>
              <a:gd name="connsiteX6189" fmla="*/ 1918513 w 9586368"/>
              <a:gd name="connsiteY6189" fmla="*/ 2171803 h 6479439"/>
              <a:gd name="connsiteX6190" fmla="*/ 1914494 w 9586368"/>
              <a:gd name="connsiteY6190" fmla="*/ 2167763 h 6479439"/>
              <a:gd name="connsiteX6191" fmla="*/ 1914494 w 9586368"/>
              <a:gd name="connsiteY6191" fmla="*/ 2157892 h 6479439"/>
              <a:gd name="connsiteX6192" fmla="*/ 2157821 w 9586368"/>
              <a:gd name="connsiteY6192" fmla="*/ 2153850 h 6479439"/>
              <a:gd name="connsiteX6193" fmla="*/ 2167732 w 9586368"/>
              <a:gd name="connsiteY6193" fmla="*/ 2153850 h 6479439"/>
              <a:gd name="connsiteX6194" fmla="*/ 2171750 w 9586368"/>
              <a:gd name="connsiteY6194" fmla="*/ 2157889 h 6479439"/>
              <a:gd name="connsiteX6195" fmla="*/ 2171750 w 9586368"/>
              <a:gd name="connsiteY6195" fmla="*/ 2167759 h 6479439"/>
              <a:gd name="connsiteX6196" fmla="*/ 2167732 w 9586368"/>
              <a:gd name="connsiteY6196" fmla="*/ 2171798 h 6479439"/>
              <a:gd name="connsiteX6197" fmla="*/ 2157821 w 9586368"/>
              <a:gd name="connsiteY6197" fmla="*/ 2171798 h 6479439"/>
              <a:gd name="connsiteX6198" fmla="*/ 2153803 w 9586368"/>
              <a:gd name="connsiteY6198" fmla="*/ 2167759 h 6479439"/>
              <a:gd name="connsiteX6199" fmla="*/ 2153803 w 9586368"/>
              <a:gd name="connsiteY6199" fmla="*/ 2157889 h 6479439"/>
              <a:gd name="connsiteX6200" fmla="*/ 4032 w 9586368"/>
              <a:gd name="connsiteY6200" fmla="*/ 2153832 h 6479439"/>
              <a:gd name="connsiteX6201" fmla="*/ 13942 w 9586368"/>
              <a:gd name="connsiteY6201" fmla="*/ 2153832 h 6479439"/>
              <a:gd name="connsiteX6202" fmla="*/ 17961 w 9586368"/>
              <a:gd name="connsiteY6202" fmla="*/ 2157870 h 6479439"/>
              <a:gd name="connsiteX6203" fmla="*/ 17961 w 9586368"/>
              <a:gd name="connsiteY6203" fmla="*/ 2167741 h 6479439"/>
              <a:gd name="connsiteX6204" fmla="*/ 13942 w 9586368"/>
              <a:gd name="connsiteY6204" fmla="*/ 2171780 h 6479439"/>
              <a:gd name="connsiteX6205" fmla="*/ 4032 w 9586368"/>
              <a:gd name="connsiteY6205" fmla="*/ 2171780 h 6479439"/>
              <a:gd name="connsiteX6206" fmla="*/ 13 w 9586368"/>
              <a:gd name="connsiteY6206" fmla="*/ 2167741 h 6479439"/>
              <a:gd name="connsiteX6207" fmla="*/ 13 w 9586368"/>
              <a:gd name="connsiteY6207" fmla="*/ 2157870 h 6479439"/>
              <a:gd name="connsiteX6208" fmla="*/ 721971 w 9586368"/>
              <a:gd name="connsiteY6208" fmla="*/ 2153832 h 6479439"/>
              <a:gd name="connsiteX6209" fmla="*/ 731881 w 9586368"/>
              <a:gd name="connsiteY6209" fmla="*/ 2153832 h 6479439"/>
              <a:gd name="connsiteX6210" fmla="*/ 735900 w 9586368"/>
              <a:gd name="connsiteY6210" fmla="*/ 2157870 h 6479439"/>
              <a:gd name="connsiteX6211" fmla="*/ 735900 w 9586368"/>
              <a:gd name="connsiteY6211" fmla="*/ 2167740 h 6479439"/>
              <a:gd name="connsiteX6212" fmla="*/ 731881 w 9586368"/>
              <a:gd name="connsiteY6212" fmla="*/ 2171780 h 6479439"/>
              <a:gd name="connsiteX6213" fmla="*/ 721971 w 9586368"/>
              <a:gd name="connsiteY6213" fmla="*/ 2171780 h 6479439"/>
              <a:gd name="connsiteX6214" fmla="*/ 717952 w 9586368"/>
              <a:gd name="connsiteY6214" fmla="*/ 2167740 h 6479439"/>
              <a:gd name="connsiteX6215" fmla="*/ 717952 w 9586368"/>
              <a:gd name="connsiteY6215" fmla="*/ 2157870 h 6479439"/>
              <a:gd name="connsiteX6216" fmla="*/ 482659 w 9586368"/>
              <a:gd name="connsiteY6216" fmla="*/ 2153832 h 6479439"/>
              <a:gd name="connsiteX6217" fmla="*/ 492569 w 9586368"/>
              <a:gd name="connsiteY6217" fmla="*/ 2153832 h 6479439"/>
              <a:gd name="connsiteX6218" fmla="*/ 496588 w 9586368"/>
              <a:gd name="connsiteY6218" fmla="*/ 2157870 h 6479439"/>
              <a:gd name="connsiteX6219" fmla="*/ 496588 w 9586368"/>
              <a:gd name="connsiteY6219" fmla="*/ 2167741 h 6479439"/>
              <a:gd name="connsiteX6220" fmla="*/ 492569 w 9586368"/>
              <a:gd name="connsiteY6220" fmla="*/ 2171780 h 6479439"/>
              <a:gd name="connsiteX6221" fmla="*/ 482659 w 9586368"/>
              <a:gd name="connsiteY6221" fmla="*/ 2171780 h 6479439"/>
              <a:gd name="connsiteX6222" fmla="*/ 478640 w 9586368"/>
              <a:gd name="connsiteY6222" fmla="*/ 2167741 h 6479439"/>
              <a:gd name="connsiteX6223" fmla="*/ 478640 w 9586368"/>
              <a:gd name="connsiteY6223" fmla="*/ 2157870 h 6479439"/>
              <a:gd name="connsiteX6224" fmla="*/ 243345 w 9586368"/>
              <a:gd name="connsiteY6224" fmla="*/ 2153832 h 6479439"/>
              <a:gd name="connsiteX6225" fmla="*/ 253255 w 9586368"/>
              <a:gd name="connsiteY6225" fmla="*/ 2153832 h 6479439"/>
              <a:gd name="connsiteX6226" fmla="*/ 257274 w 9586368"/>
              <a:gd name="connsiteY6226" fmla="*/ 2157870 h 6479439"/>
              <a:gd name="connsiteX6227" fmla="*/ 257274 w 9586368"/>
              <a:gd name="connsiteY6227" fmla="*/ 2167741 h 6479439"/>
              <a:gd name="connsiteX6228" fmla="*/ 253255 w 9586368"/>
              <a:gd name="connsiteY6228" fmla="*/ 2171780 h 6479439"/>
              <a:gd name="connsiteX6229" fmla="*/ 243345 w 9586368"/>
              <a:gd name="connsiteY6229" fmla="*/ 2171780 h 6479439"/>
              <a:gd name="connsiteX6230" fmla="*/ 239326 w 9586368"/>
              <a:gd name="connsiteY6230" fmla="*/ 2167741 h 6479439"/>
              <a:gd name="connsiteX6231" fmla="*/ 239326 w 9586368"/>
              <a:gd name="connsiteY6231" fmla="*/ 2157870 h 6479439"/>
              <a:gd name="connsiteX6232" fmla="*/ 2393104 w 9586368"/>
              <a:gd name="connsiteY6232" fmla="*/ 1914701 h 6479439"/>
              <a:gd name="connsiteX6233" fmla="*/ 2403015 w 9586368"/>
              <a:gd name="connsiteY6233" fmla="*/ 1914701 h 6479439"/>
              <a:gd name="connsiteX6234" fmla="*/ 2407034 w 9586368"/>
              <a:gd name="connsiteY6234" fmla="*/ 1918739 h 6479439"/>
              <a:gd name="connsiteX6235" fmla="*/ 2407034 w 9586368"/>
              <a:gd name="connsiteY6235" fmla="*/ 1928610 h 6479439"/>
              <a:gd name="connsiteX6236" fmla="*/ 2403015 w 9586368"/>
              <a:gd name="connsiteY6236" fmla="*/ 1932649 h 6479439"/>
              <a:gd name="connsiteX6237" fmla="*/ 2393104 w 9586368"/>
              <a:gd name="connsiteY6237" fmla="*/ 1932649 h 6479439"/>
              <a:gd name="connsiteX6238" fmla="*/ 2389087 w 9586368"/>
              <a:gd name="connsiteY6238" fmla="*/ 1928610 h 6479439"/>
              <a:gd name="connsiteX6239" fmla="*/ 2389087 w 9586368"/>
              <a:gd name="connsiteY6239" fmla="*/ 1918739 h 6479439"/>
              <a:gd name="connsiteX6240" fmla="*/ 3350359 w 9586368"/>
              <a:gd name="connsiteY6240" fmla="*/ 1914699 h 6479439"/>
              <a:gd name="connsiteX6241" fmla="*/ 3360268 w 9586368"/>
              <a:gd name="connsiteY6241" fmla="*/ 1914699 h 6479439"/>
              <a:gd name="connsiteX6242" fmla="*/ 3364287 w 9586368"/>
              <a:gd name="connsiteY6242" fmla="*/ 1918738 h 6479439"/>
              <a:gd name="connsiteX6243" fmla="*/ 3364287 w 9586368"/>
              <a:gd name="connsiteY6243" fmla="*/ 1928610 h 6479439"/>
              <a:gd name="connsiteX6244" fmla="*/ 3360268 w 9586368"/>
              <a:gd name="connsiteY6244" fmla="*/ 1932649 h 6479439"/>
              <a:gd name="connsiteX6245" fmla="*/ 3350359 w 9586368"/>
              <a:gd name="connsiteY6245" fmla="*/ 1932649 h 6479439"/>
              <a:gd name="connsiteX6246" fmla="*/ 3346340 w 9586368"/>
              <a:gd name="connsiteY6246" fmla="*/ 1928610 h 6479439"/>
              <a:gd name="connsiteX6247" fmla="*/ 3346340 w 9586368"/>
              <a:gd name="connsiteY6247" fmla="*/ 1918738 h 6479439"/>
              <a:gd name="connsiteX6248" fmla="*/ 3111048 w 9586368"/>
              <a:gd name="connsiteY6248" fmla="*/ 1914699 h 6479439"/>
              <a:gd name="connsiteX6249" fmla="*/ 3120959 w 9586368"/>
              <a:gd name="connsiteY6249" fmla="*/ 1914699 h 6479439"/>
              <a:gd name="connsiteX6250" fmla="*/ 3124977 w 9586368"/>
              <a:gd name="connsiteY6250" fmla="*/ 1918739 h 6479439"/>
              <a:gd name="connsiteX6251" fmla="*/ 3124977 w 9586368"/>
              <a:gd name="connsiteY6251" fmla="*/ 1928610 h 6479439"/>
              <a:gd name="connsiteX6252" fmla="*/ 3120959 w 9586368"/>
              <a:gd name="connsiteY6252" fmla="*/ 1932649 h 6479439"/>
              <a:gd name="connsiteX6253" fmla="*/ 3111048 w 9586368"/>
              <a:gd name="connsiteY6253" fmla="*/ 1932649 h 6479439"/>
              <a:gd name="connsiteX6254" fmla="*/ 3107029 w 9586368"/>
              <a:gd name="connsiteY6254" fmla="*/ 1928610 h 6479439"/>
              <a:gd name="connsiteX6255" fmla="*/ 3107029 w 9586368"/>
              <a:gd name="connsiteY6255" fmla="*/ 1918739 h 6479439"/>
              <a:gd name="connsiteX6256" fmla="*/ 2871737 w 9586368"/>
              <a:gd name="connsiteY6256" fmla="*/ 1914699 h 6479439"/>
              <a:gd name="connsiteX6257" fmla="*/ 2881646 w 9586368"/>
              <a:gd name="connsiteY6257" fmla="*/ 1914699 h 6479439"/>
              <a:gd name="connsiteX6258" fmla="*/ 2885666 w 9586368"/>
              <a:gd name="connsiteY6258" fmla="*/ 1918739 h 6479439"/>
              <a:gd name="connsiteX6259" fmla="*/ 2885666 w 9586368"/>
              <a:gd name="connsiteY6259" fmla="*/ 1928610 h 6479439"/>
              <a:gd name="connsiteX6260" fmla="*/ 2881646 w 9586368"/>
              <a:gd name="connsiteY6260" fmla="*/ 1932649 h 6479439"/>
              <a:gd name="connsiteX6261" fmla="*/ 2871737 w 9586368"/>
              <a:gd name="connsiteY6261" fmla="*/ 1932649 h 6479439"/>
              <a:gd name="connsiteX6262" fmla="*/ 2867717 w 9586368"/>
              <a:gd name="connsiteY6262" fmla="*/ 1928610 h 6479439"/>
              <a:gd name="connsiteX6263" fmla="*/ 2867717 w 9586368"/>
              <a:gd name="connsiteY6263" fmla="*/ 1918739 h 6479439"/>
              <a:gd name="connsiteX6264" fmla="*/ 2632423 w 9586368"/>
              <a:gd name="connsiteY6264" fmla="*/ 1914699 h 6479439"/>
              <a:gd name="connsiteX6265" fmla="*/ 2642334 w 9586368"/>
              <a:gd name="connsiteY6265" fmla="*/ 1914699 h 6479439"/>
              <a:gd name="connsiteX6266" fmla="*/ 2646352 w 9586368"/>
              <a:gd name="connsiteY6266" fmla="*/ 1918739 h 6479439"/>
              <a:gd name="connsiteX6267" fmla="*/ 2646352 w 9586368"/>
              <a:gd name="connsiteY6267" fmla="*/ 1928610 h 6479439"/>
              <a:gd name="connsiteX6268" fmla="*/ 2642334 w 9586368"/>
              <a:gd name="connsiteY6268" fmla="*/ 1932649 h 6479439"/>
              <a:gd name="connsiteX6269" fmla="*/ 2632423 w 9586368"/>
              <a:gd name="connsiteY6269" fmla="*/ 1932649 h 6479439"/>
              <a:gd name="connsiteX6270" fmla="*/ 2628404 w 9586368"/>
              <a:gd name="connsiteY6270" fmla="*/ 1928610 h 6479439"/>
              <a:gd name="connsiteX6271" fmla="*/ 2628404 w 9586368"/>
              <a:gd name="connsiteY6271" fmla="*/ 1918739 h 6479439"/>
              <a:gd name="connsiteX6272" fmla="*/ 3589676 w 9586368"/>
              <a:gd name="connsiteY6272" fmla="*/ 1914682 h 6479439"/>
              <a:gd name="connsiteX6273" fmla="*/ 3599585 w 9586368"/>
              <a:gd name="connsiteY6273" fmla="*/ 1914682 h 6479439"/>
              <a:gd name="connsiteX6274" fmla="*/ 3603604 w 9586368"/>
              <a:gd name="connsiteY6274" fmla="*/ 1918721 h 6479439"/>
              <a:gd name="connsiteX6275" fmla="*/ 3603604 w 9586368"/>
              <a:gd name="connsiteY6275" fmla="*/ 1928592 h 6479439"/>
              <a:gd name="connsiteX6276" fmla="*/ 3599585 w 9586368"/>
              <a:gd name="connsiteY6276" fmla="*/ 1932631 h 6479439"/>
              <a:gd name="connsiteX6277" fmla="*/ 3589676 w 9586368"/>
              <a:gd name="connsiteY6277" fmla="*/ 1932631 h 6479439"/>
              <a:gd name="connsiteX6278" fmla="*/ 3585657 w 9586368"/>
              <a:gd name="connsiteY6278" fmla="*/ 1928592 h 6479439"/>
              <a:gd name="connsiteX6279" fmla="*/ 3585657 w 9586368"/>
              <a:gd name="connsiteY6279" fmla="*/ 1918721 h 6479439"/>
              <a:gd name="connsiteX6280" fmla="*/ 4546929 w 9586368"/>
              <a:gd name="connsiteY6280" fmla="*/ 1914681 h 6479439"/>
              <a:gd name="connsiteX6281" fmla="*/ 4556840 w 9586368"/>
              <a:gd name="connsiteY6281" fmla="*/ 1914681 h 6479439"/>
              <a:gd name="connsiteX6282" fmla="*/ 4560859 w 9586368"/>
              <a:gd name="connsiteY6282" fmla="*/ 1918719 h 6479439"/>
              <a:gd name="connsiteX6283" fmla="*/ 4560859 w 9586368"/>
              <a:gd name="connsiteY6283" fmla="*/ 1928592 h 6479439"/>
              <a:gd name="connsiteX6284" fmla="*/ 4556840 w 9586368"/>
              <a:gd name="connsiteY6284" fmla="*/ 1932631 h 6479439"/>
              <a:gd name="connsiteX6285" fmla="*/ 4546929 w 9586368"/>
              <a:gd name="connsiteY6285" fmla="*/ 1932631 h 6479439"/>
              <a:gd name="connsiteX6286" fmla="*/ 4542910 w 9586368"/>
              <a:gd name="connsiteY6286" fmla="*/ 1928592 h 6479439"/>
              <a:gd name="connsiteX6287" fmla="*/ 4542910 w 9586368"/>
              <a:gd name="connsiteY6287" fmla="*/ 1918719 h 6479439"/>
              <a:gd name="connsiteX6288" fmla="*/ 4307612 w 9586368"/>
              <a:gd name="connsiteY6288" fmla="*/ 1914681 h 6479439"/>
              <a:gd name="connsiteX6289" fmla="*/ 4317523 w 9586368"/>
              <a:gd name="connsiteY6289" fmla="*/ 1914681 h 6479439"/>
              <a:gd name="connsiteX6290" fmla="*/ 4321543 w 9586368"/>
              <a:gd name="connsiteY6290" fmla="*/ 1918720 h 6479439"/>
              <a:gd name="connsiteX6291" fmla="*/ 4321543 w 9586368"/>
              <a:gd name="connsiteY6291" fmla="*/ 1928592 h 6479439"/>
              <a:gd name="connsiteX6292" fmla="*/ 4317523 w 9586368"/>
              <a:gd name="connsiteY6292" fmla="*/ 1932631 h 6479439"/>
              <a:gd name="connsiteX6293" fmla="*/ 4307612 w 9586368"/>
              <a:gd name="connsiteY6293" fmla="*/ 1932631 h 6479439"/>
              <a:gd name="connsiteX6294" fmla="*/ 4303595 w 9586368"/>
              <a:gd name="connsiteY6294" fmla="*/ 1928592 h 6479439"/>
              <a:gd name="connsiteX6295" fmla="*/ 4303595 w 9586368"/>
              <a:gd name="connsiteY6295" fmla="*/ 1918720 h 6479439"/>
              <a:gd name="connsiteX6296" fmla="*/ 4068297 w 9586368"/>
              <a:gd name="connsiteY6296" fmla="*/ 1914681 h 6479439"/>
              <a:gd name="connsiteX6297" fmla="*/ 4078210 w 9586368"/>
              <a:gd name="connsiteY6297" fmla="*/ 1914681 h 6479439"/>
              <a:gd name="connsiteX6298" fmla="*/ 4082229 w 9586368"/>
              <a:gd name="connsiteY6298" fmla="*/ 1918720 h 6479439"/>
              <a:gd name="connsiteX6299" fmla="*/ 4082229 w 9586368"/>
              <a:gd name="connsiteY6299" fmla="*/ 1928592 h 6479439"/>
              <a:gd name="connsiteX6300" fmla="*/ 4078210 w 9586368"/>
              <a:gd name="connsiteY6300" fmla="*/ 1932631 h 6479439"/>
              <a:gd name="connsiteX6301" fmla="*/ 4068297 w 9586368"/>
              <a:gd name="connsiteY6301" fmla="*/ 1932631 h 6479439"/>
              <a:gd name="connsiteX6302" fmla="*/ 4064278 w 9586368"/>
              <a:gd name="connsiteY6302" fmla="*/ 1928592 h 6479439"/>
              <a:gd name="connsiteX6303" fmla="*/ 4064278 w 9586368"/>
              <a:gd name="connsiteY6303" fmla="*/ 1918720 h 6479439"/>
              <a:gd name="connsiteX6304" fmla="*/ 3828990 w 9586368"/>
              <a:gd name="connsiteY6304" fmla="*/ 1914681 h 6479439"/>
              <a:gd name="connsiteX6305" fmla="*/ 3838899 w 9586368"/>
              <a:gd name="connsiteY6305" fmla="*/ 1914681 h 6479439"/>
              <a:gd name="connsiteX6306" fmla="*/ 3842917 w 9586368"/>
              <a:gd name="connsiteY6306" fmla="*/ 1918720 h 6479439"/>
              <a:gd name="connsiteX6307" fmla="*/ 3842917 w 9586368"/>
              <a:gd name="connsiteY6307" fmla="*/ 1928592 h 6479439"/>
              <a:gd name="connsiteX6308" fmla="*/ 3838899 w 9586368"/>
              <a:gd name="connsiteY6308" fmla="*/ 1932631 h 6479439"/>
              <a:gd name="connsiteX6309" fmla="*/ 3828990 w 9586368"/>
              <a:gd name="connsiteY6309" fmla="*/ 1932631 h 6479439"/>
              <a:gd name="connsiteX6310" fmla="*/ 3824971 w 9586368"/>
              <a:gd name="connsiteY6310" fmla="*/ 1928592 h 6479439"/>
              <a:gd name="connsiteX6311" fmla="*/ 3824971 w 9586368"/>
              <a:gd name="connsiteY6311" fmla="*/ 1918720 h 6479439"/>
              <a:gd name="connsiteX6312" fmla="*/ 4786241 w 9586368"/>
              <a:gd name="connsiteY6312" fmla="*/ 1914664 h 6479439"/>
              <a:gd name="connsiteX6313" fmla="*/ 4796152 w 9586368"/>
              <a:gd name="connsiteY6313" fmla="*/ 1914664 h 6479439"/>
              <a:gd name="connsiteX6314" fmla="*/ 4800171 w 9586368"/>
              <a:gd name="connsiteY6314" fmla="*/ 1918702 h 6479439"/>
              <a:gd name="connsiteX6315" fmla="*/ 4800171 w 9586368"/>
              <a:gd name="connsiteY6315" fmla="*/ 1928573 h 6479439"/>
              <a:gd name="connsiteX6316" fmla="*/ 4796152 w 9586368"/>
              <a:gd name="connsiteY6316" fmla="*/ 1932612 h 6479439"/>
              <a:gd name="connsiteX6317" fmla="*/ 4786241 w 9586368"/>
              <a:gd name="connsiteY6317" fmla="*/ 1932612 h 6479439"/>
              <a:gd name="connsiteX6318" fmla="*/ 4782224 w 9586368"/>
              <a:gd name="connsiteY6318" fmla="*/ 1928573 h 6479439"/>
              <a:gd name="connsiteX6319" fmla="*/ 4782224 w 9586368"/>
              <a:gd name="connsiteY6319" fmla="*/ 1918702 h 6479439"/>
              <a:gd name="connsiteX6320" fmla="*/ 5504099 w 9586368"/>
              <a:gd name="connsiteY6320" fmla="*/ 1914663 h 6479439"/>
              <a:gd name="connsiteX6321" fmla="*/ 5514010 w 9586368"/>
              <a:gd name="connsiteY6321" fmla="*/ 1914663 h 6479439"/>
              <a:gd name="connsiteX6322" fmla="*/ 5518029 w 9586368"/>
              <a:gd name="connsiteY6322" fmla="*/ 1918702 h 6479439"/>
              <a:gd name="connsiteX6323" fmla="*/ 5518029 w 9586368"/>
              <a:gd name="connsiteY6323" fmla="*/ 1928572 h 6479439"/>
              <a:gd name="connsiteX6324" fmla="*/ 5514010 w 9586368"/>
              <a:gd name="connsiteY6324" fmla="*/ 1932612 h 6479439"/>
              <a:gd name="connsiteX6325" fmla="*/ 5504099 w 9586368"/>
              <a:gd name="connsiteY6325" fmla="*/ 1932612 h 6479439"/>
              <a:gd name="connsiteX6326" fmla="*/ 5500080 w 9586368"/>
              <a:gd name="connsiteY6326" fmla="*/ 1928572 h 6479439"/>
              <a:gd name="connsiteX6327" fmla="*/ 5500080 w 9586368"/>
              <a:gd name="connsiteY6327" fmla="*/ 1918702 h 6479439"/>
              <a:gd name="connsiteX6328" fmla="*/ 5264784 w 9586368"/>
              <a:gd name="connsiteY6328" fmla="*/ 1914663 h 6479439"/>
              <a:gd name="connsiteX6329" fmla="*/ 5274694 w 9586368"/>
              <a:gd name="connsiteY6329" fmla="*/ 1914663 h 6479439"/>
              <a:gd name="connsiteX6330" fmla="*/ 5278713 w 9586368"/>
              <a:gd name="connsiteY6330" fmla="*/ 1918702 h 6479439"/>
              <a:gd name="connsiteX6331" fmla="*/ 5278713 w 9586368"/>
              <a:gd name="connsiteY6331" fmla="*/ 1928573 h 6479439"/>
              <a:gd name="connsiteX6332" fmla="*/ 5274694 w 9586368"/>
              <a:gd name="connsiteY6332" fmla="*/ 1932612 h 6479439"/>
              <a:gd name="connsiteX6333" fmla="*/ 5264784 w 9586368"/>
              <a:gd name="connsiteY6333" fmla="*/ 1932612 h 6479439"/>
              <a:gd name="connsiteX6334" fmla="*/ 5260765 w 9586368"/>
              <a:gd name="connsiteY6334" fmla="*/ 1928573 h 6479439"/>
              <a:gd name="connsiteX6335" fmla="*/ 5260765 w 9586368"/>
              <a:gd name="connsiteY6335" fmla="*/ 1918702 h 6479439"/>
              <a:gd name="connsiteX6336" fmla="*/ 5025470 w 9586368"/>
              <a:gd name="connsiteY6336" fmla="*/ 1914663 h 6479439"/>
              <a:gd name="connsiteX6337" fmla="*/ 5035381 w 9586368"/>
              <a:gd name="connsiteY6337" fmla="*/ 1914663 h 6479439"/>
              <a:gd name="connsiteX6338" fmla="*/ 5039400 w 9586368"/>
              <a:gd name="connsiteY6338" fmla="*/ 1918702 h 6479439"/>
              <a:gd name="connsiteX6339" fmla="*/ 5039400 w 9586368"/>
              <a:gd name="connsiteY6339" fmla="*/ 1928573 h 6479439"/>
              <a:gd name="connsiteX6340" fmla="*/ 5035381 w 9586368"/>
              <a:gd name="connsiteY6340" fmla="*/ 1932612 h 6479439"/>
              <a:gd name="connsiteX6341" fmla="*/ 5025470 w 9586368"/>
              <a:gd name="connsiteY6341" fmla="*/ 1932612 h 6479439"/>
              <a:gd name="connsiteX6342" fmla="*/ 5021451 w 9586368"/>
              <a:gd name="connsiteY6342" fmla="*/ 1928573 h 6479439"/>
              <a:gd name="connsiteX6343" fmla="*/ 5021451 w 9586368"/>
              <a:gd name="connsiteY6343" fmla="*/ 1918702 h 6479439"/>
              <a:gd name="connsiteX6344" fmla="*/ 5743412 w 9586368"/>
              <a:gd name="connsiteY6344" fmla="*/ 1914662 h 6479439"/>
              <a:gd name="connsiteX6345" fmla="*/ 5753323 w 9586368"/>
              <a:gd name="connsiteY6345" fmla="*/ 1914662 h 6479439"/>
              <a:gd name="connsiteX6346" fmla="*/ 5757342 w 9586368"/>
              <a:gd name="connsiteY6346" fmla="*/ 1918701 h 6479439"/>
              <a:gd name="connsiteX6347" fmla="*/ 5757342 w 9586368"/>
              <a:gd name="connsiteY6347" fmla="*/ 1928572 h 6479439"/>
              <a:gd name="connsiteX6348" fmla="*/ 5753323 w 9586368"/>
              <a:gd name="connsiteY6348" fmla="*/ 1932612 h 6479439"/>
              <a:gd name="connsiteX6349" fmla="*/ 5743412 w 9586368"/>
              <a:gd name="connsiteY6349" fmla="*/ 1932612 h 6479439"/>
              <a:gd name="connsiteX6350" fmla="*/ 5739393 w 9586368"/>
              <a:gd name="connsiteY6350" fmla="*/ 1928572 h 6479439"/>
              <a:gd name="connsiteX6351" fmla="*/ 5739393 w 9586368"/>
              <a:gd name="connsiteY6351" fmla="*/ 1918701 h 6479439"/>
              <a:gd name="connsiteX6352" fmla="*/ 5982729 w 9586368"/>
              <a:gd name="connsiteY6352" fmla="*/ 1914645 h 6479439"/>
              <a:gd name="connsiteX6353" fmla="*/ 5992639 w 9586368"/>
              <a:gd name="connsiteY6353" fmla="*/ 1914645 h 6479439"/>
              <a:gd name="connsiteX6354" fmla="*/ 5996658 w 9586368"/>
              <a:gd name="connsiteY6354" fmla="*/ 1918684 h 6479439"/>
              <a:gd name="connsiteX6355" fmla="*/ 5996658 w 9586368"/>
              <a:gd name="connsiteY6355" fmla="*/ 1928555 h 6479439"/>
              <a:gd name="connsiteX6356" fmla="*/ 5992639 w 9586368"/>
              <a:gd name="connsiteY6356" fmla="*/ 1932594 h 6479439"/>
              <a:gd name="connsiteX6357" fmla="*/ 5982729 w 9586368"/>
              <a:gd name="connsiteY6357" fmla="*/ 1932594 h 6479439"/>
              <a:gd name="connsiteX6358" fmla="*/ 5978710 w 9586368"/>
              <a:gd name="connsiteY6358" fmla="*/ 1928555 h 6479439"/>
              <a:gd name="connsiteX6359" fmla="*/ 5978710 w 9586368"/>
              <a:gd name="connsiteY6359" fmla="*/ 1918684 h 6479439"/>
              <a:gd name="connsiteX6360" fmla="*/ 6939983 w 9586368"/>
              <a:gd name="connsiteY6360" fmla="*/ 1914645 h 6479439"/>
              <a:gd name="connsiteX6361" fmla="*/ 6949894 w 9586368"/>
              <a:gd name="connsiteY6361" fmla="*/ 1914645 h 6479439"/>
              <a:gd name="connsiteX6362" fmla="*/ 6953913 w 9586368"/>
              <a:gd name="connsiteY6362" fmla="*/ 1918682 h 6479439"/>
              <a:gd name="connsiteX6363" fmla="*/ 6953913 w 9586368"/>
              <a:gd name="connsiteY6363" fmla="*/ 1928554 h 6479439"/>
              <a:gd name="connsiteX6364" fmla="*/ 6949894 w 9586368"/>
              <a:gd name="connsiteY6364" fmla="*/ 1932594 h 6479439"/>
              <a:gd name="connsiteX6365" fmla="*/ 6939983 w 9586368"/>
              <a:gd name="connsiteY6365" fmla="*/ 1932594 h 6479439"/>
              <a:gd name="connsiteX6366" fmla="*/ 6935964 w 9586368"/>
              <a:gd name="connsiteY6366" fmla="*/ 1928554 h 6479439"/>
              <a:gd name="connsiteX6367" fmla="*/ 6935964 w 9586368"/>
              <a:gd name="connsiteY6367" fmla="*/ 1918682 h 6479439"/>
              <a:gd name="connsiteX6368" fmla="*/ 6700670 w 9586368"/>
              <a:gd name="connsiteY6368" fmla="*/ 1914645 h 6479439"/>
              <a:gd name="connsiteX6369" fmla="*/ 6710581 w 9586368"/>
              <a:gd name="connsiteY6369" fmla="*/ 1914645 h 6479439"/>
              <a:gd name="connsiteX6370" fmla="*/ 6714600 w 9586368"/>
              <a:gd name="connsiteY6370" fmla="*/ 1918683 h 6479439"/>
              <a:gd name="connsiteX6371" fmla="*/ 6714600 w 9586368"/>
              <a:gd name="connsiteY6371" fmla="*/ 1928554 h 6479439"/>
              <a:gd name="connsiteX6372" fmla="*/ 6710581 w 9586368"/>
              <a:gd name="connsiteY6372" fmla="*/ 1932594 h 6479439"/>
              <a:gd name="connsiteX6373" fmla="*/ 6700670 w 9586368"/>
              <a:gd name="connsiteY6373" fmla="*/ 1932594 h 6479439"/>
              <a:gd name="connsiteX6374" fmla="*/ 6696651 w 9586368"/>
              <a:gd name="connsiteY6374" fmla="*/ 1928554 h 6479439"/>
              <a:gd name="connsiteX6375" fmla="*/ 6696651 w 9586368"/>
              <a:gd name="connsiteY6375" fmla="*/ 1918683 h 6479439"/>
              <a:gd name="connsiteX6376" fmla="*/ 6461356 w 9586368"/>
              <a:gd name="connsiteY6376" fmla="*/ 1914645 h 6479439"/>
              <a:gd name="connsiteX6377" fmla="*/ 6471266 w 9586368"/>
              <a:gd name="connsiteY6377" fmla="*/ 1914645 h 6479439"/>
              <a:gd name="connsiteX6378" fmla="*/ 6475285 w 9586368"/>
              <a:gd name="connsiteY6378" fmla="*/ 1918683 h 6479439"/>
              <a:gd name="connsiteX6379" fmla="*/ 6475285 w 9586368"/>
              <a:gd name="connsiteY6379" fmla="*/ 1928555 h 6479439"/>
              <a:gd name="connsiteX6380" fmla="*/ 6471266 w 9586368"/>
              <a:gd name="connsiteY6380" fmla="*/ 1932594 h 6479439"/>
              <a:gd name="connsiteX6381" fmla="*/ 6461356 w 9586368"/>
              <a:gd name="connsiteY6381" fmla="*/ 1932594 h 6479439"/>
              <a:gd name="connsiteX6382" fmla="*/ 6457337 w 9586368"/>
              <a:gd name="connsiteY6382" fmla="*/ 1928555 h 6479439"/>
              <a:gd name="connsiteX6383" fmla="*/ 6457337 w 9586368"/>
              <a:gd name="connsiteY6383" fmla="*/ 1918683 h 6479439"/>
              <a:gd name="connsiteX6384" fmla="*/ 6222042 w 9586368"/>
              <a:gd name="connsiteY6384" fmla="*/ 1914645 h 6479439"/>
              <a:gd name="connsiteX6385" fmla="*/ 6231952 w 9586368"/>
              <a:gd name="connsiteY6385" fmla="*/ 1914645 h 6479439"/>
              <a:gd name="connsiteX6386" fmla="*/ 6235971 w 9586368"/>
              <a:gd name="connsiteY6386" fmla="*/ 1918683 h 6479439"/>
              <a:gd name="connsiteX6387" fmla="*/ 6235971 w 9586368"/>
              <a:gd name="connsiteY6387" fmla="*/ 1928555 h 6479439"/>
              <a:gd name="connsiteX6388" fmla="*/ 6231952 w 9586368"/>
              <a:gd name="connsiteY6388" fmla="*/ 1932594 h 6479439"/>
              <a:gd name="connsiteX6389" fmla="*/ 6222042 w 9586368"/>
              <a:gd name="connsiteY6389" fmla="*/ 1932594 h 6479439"/>
              <a:gd name="connsiteX6390" fmla="*/ 6218023 w 9586368"/>
              <a:gd name="connsiteY6390" fmla="*/ 1928555 h 6479439"/>
              <a:gd name="connsiteX6391" fmla="*/ 6218023 w 9586368"/>
              <a:gd name="connsiteY6391" fmla="*/ 1918683 h 6479439"/>
              <a:gd name="connsiteX6392" fmla="*/ 7179298 w 9586368"/>
              <a:gd name="connsiteY6392" fmla="*/ 1914627 h 6479439"/>
              <a:gd name="connsiteX6393" fmla="*/ 7189209 w 9586368"/>
              <a:gd name="connsiteY6393" fmla="*/ 1914627 h 6479439"/>
              <a:gd name="connsiteX6394" fmla="*/ 7193228 w 9586368"/>
              <a:gd name="connsiteY6394" fmla="*/ 1918666 h 6479439"/>
              <a:gd name="connsiteX6395" fmla="*/ 7193228 w 9586368"/>
              <a:gd name="connsiteY6395" fmla="*/ 1928536 h 6479439"/>
              <a:gd name="connsiteX6396" fmla="*/ 7189209 w 9586368"/>
              <a:gd name="connsiteY6396" fmla="*/ 1932575 h 6479439"/>
              <a:gd name="connsiteX6397" fmla="*/ 7179298 w 9586368"/>
              <a:gd name="connsiteY6397" fmla="*/ 1932575 h 6479439"/>
              <a:gd name="connsiteX6398" fmla="*/ 7175279 w 9586368"/>
              <a:gd name="connsiteY6398" fmla="*/ 1928536 h 6479439"/>
              <a:gd name="connsiteX6399" fmla="*/ 7175279 w 9586368"/>
              <a:gd name="connsiteY6399" fmla="*/ 1918666 h 6479439"/>
              <a:gd name="connsiteX6400" fmla="*/ 7897241 w 9586368"/>
              <a:gd name="connsiteY6400" fmla="*/ 1914627 h 6479439"/>
              <a:gd name="connsiteX6401" fmla="*/ 7907151 w 9586368"/>
              <a:gd name="connsiteY6401" fmla="*/ 1914627 h 6479439"/>
              <a:gd name="connsiteX6402" fmla="*/ 7911170 w 9586368"/>
              <a:gd name="connsiteY6402" fmla="*/ 1918664 h 6479439"/>
              <a:gd name="connsiteX6403" fmla="*/ 7911170 w 9586368"/>
              <a:gd name="connsiteY6403" fmla="*/ 1928535 h 6479439"/>
              <a:gd name="connsiteX6404" fmla="*/ 7907151 w 9586368"/>
              <a:gd name="connsiteY6404" fmla="*/ 1932575 h 6479439"/>
              <a:gd name="connsiteX6405" fmla="*/ 7897241 w 9586368"/>
              <a:gd name="connsiteY6405" fmla="*/ 1932575 h 6479439"/>
              <a:gd name="connsiteX6406" fmla="*/ 7893222 w 9586368"/>
              <a:gd name="connsiteY6406" fmla="*/ 1928535 h 6479439"/>
              <a:gd name="connsiteX6407" fmla="*/ 7893222 w 9586368"/>
              <a:gd name="connsiteY6407" fmla="*/ 1918664 h 6479439"/>
              <a:gd name="connsiteX6408" fmla="*/ 7657926 w 9586368"/>
              <a:gd name="connsiteY6408" fmla="*/ 1914627 h 6479439"/>
              <a:gd name="connsiteX6409" fmla="*/ 7667836 w 9586368"/>
              <a:gd name="connsiteY6409" fmla="*/ 1914627 h 6479439"/>
              <a:gd name="connsiteX6410" fmla="*/ 7671855 w 9586368"/>
              <a:gd name="connsiteY6410" fmla="*/ 1918664 h 6479439"/>
              <a:gd name="connsiteX6411" fmla="*/ 7671855 w 9586368"/>
              <a:gd name="connsiteY6411" fmla="*/ 1928536 h 6479439"/>
              <a:gd name="connsiteX6412" fmla="*/ 7667836 w 9586368"/>
              <a:gd name="connsiteY6412" fmla="*/ 1932575 h 6479439"/>
              <a:gd name="connsiteX6413" fmla="*/ 7657926 w 9586368"/>
              <a:gd name="connsiteY6413" fmla="*/ 1932575 h 6479439"/>
              <a:gd name="connsiteX6414" fmla="*/ 7653906 w 9586368"/>
              <a:gd name="connsiteY6414" fmla="*/ 1928536 h 6479439"/>
              <a:gd name="connsiteX6415" fmla="*/ 7653906 w 9586368"/>
              <a:gd name="connsiteY6415" fmla="*/ 1918664 h 6479439"/>
              <a:gd name="connsiteX6416" fmla="*/ 7418611 w 9586368"/>
              <a:gd name="connsiteY6416" fmla="*/ 1914627 h 6479439"/>
              <a:gd name="connsiteX6417" fmla="*/ 7428521 w 9586368"/>
              <a:gd name="connsiteY6417" fmla="*/ 1914627 h 6479439"/>
              <a:gd name="connsiteX6418" fmla="*/ 7432540 w 9586368"/>
              <a:gd name="connsiteY6418" fmla="*/ 1918664 h 6479439"/>
              <a:gd name="connsiteX6419" fmla="*/ 7432540 w 9586368"/>
              <a:gd name="connsiteY6419" fmla="*/ 1928536 h 6479439"/>
              <a:gd name="connsiteX6420" fmla="*/ 7428521 w 9586368"/>
              <a:gd name="connsiteY6420" fmla="*/ 1932575 h 6479439"/>
              <a:gd name="connsiteX6421" fmla="*/ 7418611 w 9586368"/>
              <a:gd name="connsiteY6421" fmla="*/ 1932575 h 6479439"/>
              <a:gd name="connsiteX6422" fmla="*/ 7414592 w 9586368"/>
              <a:gd name="connsiteY6422" fmla="*/ 1928536 h 6479439"/>
              <a:gd name="connsiteX6423" fmla="*/ 7414592 w 9586368"/>
              <a:gd name="connsiteY6423" fmla="*/ 1918664 h 6479439"/>
              <a:gd name="connsiteX6424" fmla="*/ 8136553 w 9586368"/>
              <a:gd name="connsiteY6424" fmla="*/ 1914626 h 6479439"/>
              <a:gd name="connsiteX6425" fmla="*/ 8146464 w 9586368"/>
              <a:gd name="connsiteY6425" fmla="*/ 1914626 h 6479439"/>
              <a:gd name="connsiteX6426" fmla="*/ 8150483 w 9586368"/>
              <a:gd name="connsiteY6426" fmla="*/ 1918664 h 6479439"/>
              <a:gd name="connsiteX6427" fmla="*/ 8150483 w 9586368"/>
              <a:gd name="connsiteY6427" fmla="*/ 1928535 h 6479439"/>
              <a:gd name="connsiteX6428" fmla="*/ 8146464 w 9586368"/>
              <a:gd name="connsiteY6428" fmla="*/ 1932575 h 6479439"/>
              <a:gd name="connsiteX6429" fmla="*/ 8136553 w 9586368"/>
              <a:gd name="connsiteY6429" fmla="*/ 1932575 h 6479439"/>
              <a:gd name="connsiteX6430" fmla="*/ 8132534 w 9586368"/>
              <a:gd name="connsiteY6430" fmla="*/ 1928535 h 6479439"/>
              <a:gd name="connsiteX6431" fmla="*/ 8132534 w 9586368"/>
              <a:gd name="connsiteY6431" fmla="*/ 1918664 h 6479439"/>
              <a:gd name="connsiteX6432" fmla="*/ 8375869 w 9586368"/>
              <a:gd name="connsiteY6432" fmla="*/ 1914608 h 6479439"/>
              <a:gd name="connsiteX6433" fmla="*/ 8385779 w 9586368"/>
              <a:gd name="connsiteY6433" fmla="*/ 1914608 h 6479439"/>
              <a:gd name="connsiteX6434" fmla="*/ 8389799 w 9586368"/>
              <a:gd name="connsiteY6434" fmla="*/ 1918647 h 6479439"/>
              <a:gd name="connsiteX6435" fmla="*/ 8389799 w 9586368"/>
              <a:gd name="connsiteY6435" fmla="*/ 1928518 h 6479439"/>
              <a:gd name="connsiteX6436" fmla="*/ 8385779 w 9586368"/>
              <a:gd name="connsiteY6436" fmla="*/ 1932557 h 6479439"/>
              <a:gd name="connsiteX6437" fmla="*/ 8375869 w 9586368"/>
              <a:gd name="connsiteY6437" fmla="*/ 1932557 h 6479439"/>
              <a:gd name="connsiteX6438" fmla="*/ 8371850 w 9586368"/>
              <a:gd name="connsiteY6438" fmla="*/ 1928518 h 6479439"/>
              <a:gd name="connsiteX6439" fmla="*/ 8371850 w 9586368"/>
              <a:gd name="connsiteY6439" fmla="*/ 1918647 h 6479439"/>
              <a:gd name="connsiteX6440" fmla="*/ 9333125 w 9586368"/>
              <a:gd name="connsiteY6440" fmla="*/ 1914608 h 6479439"/>
              <a:gd name="connsiteX6441" fmla="*/ 9343036 w 9586368"/>
              <a:gd name="connsiteY6441" fmla="*/ 1914608 h 6479439"/>
              <a:gd name="connsiteX6442" fmla="*/ 9347055 w 9586368"/>
              <a:gd name="connsiteY6442" fmla="*/ 1918646 h 6479439"/>
              <a:gd name="connsiteX6443" fmla="*/ 9347055 w 9586368"/>
              <a:gd name="connsiteY6443" fmla="*/ 1928517 h 6479439"/>
              <a:gd name="connsiteX6444" fmla="*/ 9343036 w 9586368"/>
              <a:gd name="connsiteY6444" fmla="*/ 1932557 h 6479439"/>
              <a:gd name="connsiteX6445" fmla="*/ 9333125 w 9586368"/>
              <a:gd name="connsiteY6445" fmla="*/ 1932557 h 6479439"/>
              <a:gd name="connsiteX6446" fmla="*/ 9329106 w 9586368"/>
              <a:gd name="connsiteY6446" fmla="*/ 1928517 h 6479439"/>
              <a:gd name="connsiteX6447" fmla="*/ 9329106 w 9586368"/>
              <a:gd name="connsiteY6447" fmla="*/ 1918646 h 6479439"/>
              <a:gd name="connsiteX6448" fmla="*/ 9093811 w 9586368"/>
              <a:gd name="connsiteY6448" fmla="*/ 1914608 h 6479439"/>
              <a:gd name="connsiteX6449" fmla="*/ 9103722 w 9586368"/>
              <a:gd name="connsiteY6449" fmla="*/ 1914608 h 6479439"/>
              <a:gd name="connsiteX6450" fmla="*/ 9107741 w 9586368"/>
              <a:gd name="connsiteY6450" fmla="*/ 1918646 h 6479439"/>
              <a:gd name="connsiteX6451" fmla="*/ 9107741 w 9586368"/>
              <a:gd name="connsiteY6451" fmla="*/ 1928517 h 6479439"/>
              <a:gd name="connsiteX6452" fmla="*/ 9103722 w 9586368"/>
              <a:gd name="connsiteY6452" fmla="*/ 1932557 h 6479439"/>
              <a:gd name="connsiteX6453" fmla="*/ 9093811 w 9586368"/>
              <a:gd name="connsiteY6453" fmla="*/ 1932557 h 6479439"/>
              <a:gd name="connsiteX6454" fmla="*/ 9089792 w 9586368"/>
              <a:gd name="connsiteY6454" fmla="*/ 1928517 h 6479439"/>
              <a:gd name="connsiteX6455" fmla="*/ 9089792 w 9586368"/>
              <a:gd name="connsiteY6455" fmla="*/ 1918646 h 6479439"/>
              <a:gd name="connsiteX6456" fmla="*/ 8854496 w 9586368"/>
              <a:gd name="connsiteY6456" fmla="*/ 1914608 h 6479439"/>
              <a:gd name="connsiteX6457" fmla="*/ 8864407 w 9586368"/>
              <a:gd name="connsiteY6457" fmla="*/ 1914608 h 6479439"/>
              <a:gd name="connsiteX6458" fmla="*/ 8868426 w 9586368"/>
              <a:gd name="connsiteY6458" fmla="*/ 1918646 h 6479439"/>
              <a:gd name="connsiteX6459" fmla="*/ 8868426 w 9586368"/>
              <a:gd name="connsiteY6459" fmla="*/ 1928518 h 6479439"/>
              <a:gd name="connsiteX6460" fmla="*/ 8864407 w 9586368"/>
              <a:gd name="connsiteY6460" fmla="*/ 1932557 h 6479439"/>
              <a:gd name="connsiteX6461" fmla="*/ 8854496 w 9586368"/>
              <a:gd name="connsiteY6461" fmla="*/ 1932557 h 6479439"/>
              <a:gd name="connsiteX6462" fmla="*/ 8850477 w 9586368"/>
              <a:gd name="connsiteY6462" fmla="*/ 1928518 h 6479439"/>
              <a:gd name="connsiteX6463" fmla="*/ 8850477 w 9586368"/>
              <a:gd name="connsiteY6463" fmla="*/ 1918646 h 6479439"/>
              <a:gd name="connsiteX6464" fmla="*/ 8615184 w 9586368"/>
              <a:gd name="connsiteY6464" fmla="*/ 1914608 h 6479439"/>
              <a:gd name="connsiteX6465" fmla="*/ 8625095 w 9586368"/>
              <a:gd name="connsiteY6465" fmla="*/ 1914608 h 6479439"/>
              <a:gd name="connsiteX6466" fmla="*/ 8629114 w 9586368"/>
              <a:gd name="connsiteY6466" fmla="*/ 1918646 h 6479439"/>
              <a:gd name="connsiteX6467" fmla="*/ 8629114 w 9586368"/>
              <a:gd name="connsiteY6467" fmla="*/ 1928518 h 6479439"/>
              <a:gd name="connsiteX6468" fmla="*/ 8625095 w 9586368"/>
              <a:gd name="connsiteY6468" fmla="*/ 1932557 h 6479439"/>
              <a:gd name="connsiteX6469" fmla="*/ 8615184 w 9586368"/>
              <a:gd name="connsiteY6469" fmla="*/ 1932557 h 6479439"/>
              <a:gd name="connsiteX6470" fmla="*/ 8611165 w 9586368"/>
              <a:gd name="connsiteY6470" fmla="*/ 1928518 h 6479439"/>
              <a:gd name="connsiteX6471" fmla="*/ 8611165 w 9586368"/>
              <a:gd name="connsiteY6471" fmla="*/ 1918646 h 6479439"/>
              <a:gd name="connsiteX6472" fmla="*/ 9572438 w 9586368"/>
              <a:gd name="connsiteY6472" fmla="*/ 1914590 h 6479439"/>
              <a:gd name="connsiteX6473" fmla="*/ 9582349 w 9586368"/>
              <a:gd name="connsiteY6473" fmla="*/ 1914590 h 6479439"/>
              <a:gd name="connsiteX6474" fmla="*/ 9586368 w 9586368"/>
              <a:gd name="connsiteY6474" fmla="*/ 1918629 h 6479439"/>
              <a:gd name="connsiteX6475" fmla="*/ 9586368 w 9586368"/>
              <a:gd name="connsiteY6475" fmla="*/ 1928499 h 6479439"/>
              <a:gd name="connsiteX6476" fmla="*/ 9582349 w 9586368"/>
              <a:gd name="connsiteY6476" fmla="*/ 1932538 h 6479439"/>
              <a:gd name="connsiteX6477" fmla="*/ 9572438 w 9586368"/>
              <a:gd name="connsiteY6477" fmla="*/ 1932538 h 6479439"/>
              <a:gd name="connsiteX6478" fmla="*/ 9568419 w 9586368"/>
              <a:gd name="connsiteY6478" fmla="*/ 1928499 h 6479439"/>
              <a:gd name="connsiteX6479" fmla="*/ 9568419 w 9586368"/>
              <a:gd name="connsiteY6479" fmla="*/ 1918629 h 6479439"/>
              <a:gd name="connsiteX6480" fmla="*/ 243346 w 9586368"/>
              <a:gd name="connsiteY6480" fmla="*/ 1914550 h 6479439"/>
              <a:gd name="connsiteX6481" fmla="*/ 253256 w 9586368"/>
              <a:gd name="connsiteY6481" fmla="*/ 1914550 h 6479439"/>
              <a:gd name="connsiteX6482" fmla="*/ 257275 w 9586368"/>
              <a:gd name="connsiteY6482" fmla="*/ 1918589 h 6479439"/>
              <a:gd name="connsiteX6483" fmla="*/ 257275 w 9586368"/>
              <a:gd name="connsiteY6483" fmla="*/ 1928459 h 6479439"/>
              <a:gd name="connsiteX6484" fmla="*/ 253256 w 9586368"/>
              <a:gd name="connsiteY6484" fmla="*/ 1932498 h 6479439"/>
              <a:gd name="connsiteX6485" fmla="*/ 243346 w 9586368"/>
              <a:gd name="connsiteY6485" fmla="*/ 1932498 h 6479439"/>
              <a:gd name="connsiteX6486" fmla="*/ 239327 w 9586368"/>
              <a:gd name="connsiteY6486" fmla="*/ 1928459 h 6479439"/>
              <a:gd name="connsiteX6487" fmla="*/ 239327 w 9586368"/>
              <a:gd name="connsiteY6487" fmla="*/ 1918589 h 6479439"/>
              <a:gd name="connsiteX6488" fmla="*/ 4032 w 9586368"/>
              <a:gd name="connsiteY6488" fmla="*/ 1914550 h 6479439"/>
              <a:gd name="connsiteX6489" fmla="*/ 13943 w 9586368"/>
              <a:gd name="connsiteY6489" fmla="*/ 1914550 h 6479439"/>
              <a:gd name="connsiteX6490" fmla="*/ 17962 w 9586368"/>
              <a:gd name="connsiteY6490" fmla="*/ 1918589 h 6479439"/>
              <a:gd name="connsiteX6491" fmla="*/ 17962 w 9586368"/>
              <a:gd name="connsiteY6491" fmla="*/ 1928459 h 6479439"/>
              <a:gd name="connsiteX6492" fmla="*/ 13943 w 9586368"/>
              <a:gd name="connsiteY6492" fmla="*/ 1932498 h 6479439"/>
              <a:gd name="connsiteX6493" fmla="*/ 4032 w 9586368"/>
              <a:gd name="connsiteY6493" fmla="*/ 1932498 h 6479439"/>
              <a:gd name="connsiteX6494" fmla="*/ 13 w 9586368"/>
              <a:gd name="connsiteY6494" fmla="*/ 1928459 h 6479439"/>
              <a:gd name="connsiteX6495" fmla="*/ 13 w 9586368"/>
              <a:gd name="connsiteY6495" fmla="*/ 1918589 h 6479439"/>
              <a:gd name="connsiteX6496" fmla="*/ 721971 w 9586368"/>
              <a:gd name="connsiteY6496" fmla="*/ 1914550 h 6479439"/>
              <a:gd name="connsiteX6497" fmla="*/ 731882 w 9586368"/>
              <a:gd name="connsiteY6497" fmla="*/ 1914550 h 6479439"/>
              <a:gd name="connsiteX6498" fmla="*/ 735901 w 9586368"/>
              <a:gd name="connsiteY6498" fmla="*/ 1918588 h 6479439"/>
              <a:gd name="connsiteX6499" fmla="*/ 735901 w 9586368"/>
              <a:gd name="connsiteY6499" fmla="*/ 1928459 h 6479439"/>
              <a:gd name="connsiteX6500" fmla="*/ 731882 w 9586368"/>
              <a:gd name="connsiteY6500" fmla="*/ 1932497 h 6479439"/>
              <a:gd name="connsiteX6501" fmla="*/ 721971 w 9586368"/>
              <a:gd name="connsiteY6501" fmla="*/ 1932497 h 6479439"/>
              <a:gd name="connsiteX6502" fmla="*/ 717953 w 9586368"/>
              <a:gd name="connsiteY6502" fmla="*/ 1928459 h 6479439"/>
              <a:gd name="connsiteX6503" fmla="*/ 717953 w 9586368"/>
              <a:gd name="connsiteY6503" fmla="*/ 1918588 h 6479439"/>
              <a:gd name="connsiteX6504" fmla="*/ 482660 w 9586368"/>
              <a:gd name="connsiteY6504" fmla="*/ 1914550 h 6479439"/>
              <a:gd name="connsiteX6505" fmla="*/ 492570 w 9586368"/>
              <a:gd name="connsiteY6505" fmla="*/ 1914550 h 6479439"/>
              <a:gd name="connsiteX6506" fmla="*/ 496589 w 9586368"/>
              <a:gd name="connsiteY6506" fmla="*/ 1918588 h 6479439"/>
              <a:gd name="connsiteX6507" fmla="*/ 496589 w 9586368"/>
              <a:gd name="connsiteY6507" fmla="*/ 1928459 h 6479439"/>
              <a:gd name="connsiteX6508" fmla="*/ 492570 w 9586368"/>
              <a:gd name="connsiteY6508" fmla="*/ 1932497 h 6479439"/>
              <a:gd name="connsiteX6509" fmla="*/ 482660 w 9586368"/>
              <a:gd name="connsiteY6509" fmla="*/ 1932497 h 6479439"/>
              <a:gd name="connsiteX6510" fmla="*/ 478640 w 9586368"/>
              <a:gd name="connsiteY6510" fmla="*/ 1928459 h 6479439"/>
              <a:gd name="connsiteX6511" fmla="*/ 478640 w 9586368"/>
              <a:gd name="connsiteY6511" fmla="*/ 1918588 h 6479439"/>
              <a:gd name="connsiteX6512" fmla="*/ 1679215 w 9586368"/>
              <a:gd name="connsiteY6512" fmla="*/ 1914535 h 6479439"/>
              <a:gd name="connsiteX6513" fmla="*/ 1689125 w 9586368"/>
              <a:gd name="connsiteY6513" fmla="*/ 1914535 h 6479439"/>
              <a:gd name="connsiteX6514" fmla="*/ 1693144 w 9586368"/>
              <a:gd name="connsiteY6514" fmla="*/ 1918573 h 6479439"/>
              <a:gd name="connsiteX6515" fmla="*/ 1693144 w 9586368"/>
              <a:gd name="connsiteY6515" fmla="*/ 1928444 h 6479439"/>
              <a:gd name="connsiteX6516" fmla="*/ 1689125 w 9586368"/>
              <a:gd name="connsiteY6516" fmla="*/ 1932482 h 6479439"/>
              <a:gd name="connsiteX6517" fmla="*/ 1679215 w 9586368"/>
              <a:gd name="connsiteY6517" fmla="*/ 1932482 h 6479439"/>
              <a:gd name="connsiteX6518" fmla="*/ 1675195 w 9586368"/>
              <a:gd name="connsiteY6518" fmla="*/ 1928444 h 6479439"/>
              <a:gd name="connsiteX6519" fmla="*/ 1675195 w 9586368"/>
              <a:gd name="connsiteY6519" fmla="*/ 1918573 h 6479439"/>
              <a:gd name="connsiteX6520" fmla="*/ 1439897 w 9586368"/>
              <a:gd name="connsiteY6520" fmla="*/ 1914535 h 6479439"/>
              <a:gd name="connsiteX6521" fmla="*/ 1449808 w 9586368"/>
              <a:gd name="connsiteY6521" fmla="*/ 1914535 h 6479439"/>
              <a:gd name="connsiteX6522" fmla="*/ 1453827 w 9586368"/>
              <a:gd name="connsiteY6522" fmla="*/ 1918573 h 6479439"/>
              <a:gd name="connsiteX6523" fmla="*/ 1453827 w 9586368"/>
              <a:gd name="connsiteY6523" fmla="*/ 1928444 h 6479439"/>
              <a:gd name="connsiteX6524" fmla="*/ 1449808 w 9586368"/>
              <a:gd name="connsiteY6524" fmla="*/ 1932483 h 6479439"/>
              <a:gd name="connsiteX6525" fmla="*/ 1439897 w 9586368"/>
              <a:gd name="connsiteY6525" fmla="*/ 1932483 h 6479439"/>
              <a:gd name="connsiteX6526" fmla="*/ 1435879 w 9586368"/>
              <a:gd name="connsiteY6526" fmla="*/ 1928444 h 6479439"/>
              <a:gd name="connsiteX6527" fmla="*/ 1435879 w 9586368"/>
              <a:gd name="connsiteY6527" fmla="*/ 1918573 h 6479439"/>
              <a:gd name="connsiteX6528" fmla="*/ 1200582 w 9586368"/>
              <a:gd name="connsiteY6528" fmla="*/ 1914535 h 6479439"/>
              <a:gd name="connsiteX6529" fmla="*/ 1210492 w 9586368"/>
              <a:gd name="connsiteY6529" fmla="*/ 1914535 h 6479439"/>
              <a:gd name="connsiteX6530" fmla="*/ 1214511 w 9586368"/>
              <a:gd name="connsiteY6530" fmla="*/ 1918573 h 6479439"/>
              <a:gd name="connsiteX6531" fmla="*/ 1214511 w 9586368"/>
              <a:gd name="connsiteY6531" fmla="*/ 1928444 h 6479439"/>
              <a:gd name="connsiteX6532" fmla="*/ 1210492 w 9586368"/>
              <a:gd name="connsiteY6532" fmla="*/ 1932483 h 6479439"/>
              <a:gd name="connsiteX6533" fmla="*/ 1200582 w 9586368"/>
              <a:gd name="connsiteY6533" fmla="*/ 1932483 h 6479439"/>
              <a:gd name="connsiteX6534" fmla="*/ 1196563 w 9586368"/>
              <a:gd name="connsiteY6534" fmla="*/ 1928444 h 6479439"/>
              <a:gd name="connsiteX6535" fmla="*/ 1196563 w 9586368"/>
              <a:gd name="connsiteY6535" fmla="*/ 1918573 h 6479439"/>
              <a:gd name="connsiteX6536" fmla="*/ 961269 w 9586368"/>
              <a:gd name="connsiteY6536" fmla="*/ 1914535 h 6479439"/>
              <a:gd name="connsiteX6537" fmla="*/ 971179 w 9586368"/>
              <a:gd name="connsiteY6537" fmla="*/ 1914535 h 6479439"/>
              <a:gd name="connsiteX6538" fmla="*/ 975198 w 9586368"/>
              <a:gd name="connsiteY6538" fmla="*/ 1918573 h 6479439"/>
              <a:gd name="connsiteX6539" fmla="*/ 975198 w 9586368"/>
              <a:gd name="connsiteY6539" fmla="*/ 1928444 h 6479439"/>
              <a:gd name="connsiteX6540" fmla="*/ 971179 w 9586368"/>
              <a:gd name="connsiteY6540" fmla="*/ 1932483 h 6479439"/>
              <a:gd name="connsiteX6541" fmla="*/ 961269 w 9586368"/>
              <a:gd name="connsiteY6541" fmla="*/ 1932483 h 6479439"/>
              <a:gd name="connsiteX6542" fmla="*/ 957250 w 9586368"/>
              <a:gd name="connsiteY6542" fmla="*/ 1928444 h 6479439"/>
              <a:gd name="connsiteX6543" fmla="*/ 957250 w 9586368"/>
              <a:gd name="connsiteY6543" fmla="*/ 1918573 h 6479439"/>
              <a:gd name="connsiteX6544" fmla="*/ 1918513 w 9586368"/>
              <a:gd name="connsiteY6544" fmla="*/ 1914523 h 6479439"/>
              <a:gd name="connsiteX6545" fmla="*/ 1928424 w 9586368"/>
              <a:gd name="connsiteY6545" fmla="*/ 1914523 h 6479439"/>
              <a:gd name="connsiteX6546" fmla="*/ 1932443 w 9586368"/>
              <a:gd name="connsiteY6546" fmla="*/ 1918562 h 6479439"/>
              <a:gd name="connsiteX6547" fmla="*/ 1932443 w 9586368"/>
              <a:gd name="connsiteY6547" fmla="*/ 1928432 h 6479439"/>
              <a:gd name="connsiteX6548" fmla="*/ 1928424 w 9586368"/>
              <a:gd name="connsiteY6548" fmla="*/ 1932471 h 6479439"/>
              <a:gd name="connsiteX6549" fmla="*/ 1918513 w 9586368"/>
              <a:gd name="connsiteY6549" fmla="*/ 1932471 h 6479439"/>
              <a:gd name="connsiteX6550" fmla="*/ 1914494 w 9586368"/>
              <a:gd name="connsiteY6550" fmla="*/ 1928432 h 6479439"/>
              <a:gd name="connsiteX6551" fmla="*/ 1914494 w 9586368"/>
              <a:gd name="connsiteY6551" fmla="*/ 1918562 h 6479439"/>
              <a:gd name="connsiteX6552" fmla="*/ 2157821 w 9586368"/>
              <a:gd name="connsiteY6552" fmla="*/ 1914520 h 6479439"/>
              <a:gd name="connsiteX6553" fmla="*/ 2167732 w 9586368"/>
              <a:gd name="connsiteY6553" fmla="*/ 1914520 h 6479439"/>
              <a:gd name="connsiteX6554" fmla="*/ 2171751 w 9586368"/>
              <a:gd name="connsiteY6554" fmla="*/ 1918558 h 6479439"/>
              <a:gd name="connsiteX6555" fmla="*/ 2171751 w 9586368"/>
              <a:gd name="connsiteY6555" fmla="*/ 1928428 h 6479439"/>
              <a:gd name="connsiteX6556" fmla="*/ 2167732 w 9586368"/>
              <a:gd name="connsiteY6556" fmla="*/ 1932467 h 6479439"/>
              <a:gd name="connsiteX6557" fmla="*/ 2157821 w 9586368"/>
              <a:gd name="connsiteY6557" fmla="*/ 1932467 h 6479439"/>
              <a:gd name="connsiteX6558" fmla="*/ 2153803 w 9586368"/>
              <a:gd name="connsiteY6558" fmla="*/ 1928428 h 6479439"/>
              <a:gd name="connsiteX6559" fmla="*/ 2153803 w 9586368"/>
              <a:gd name="connsiteY6559" fmla="*/ 1918558 h 6479439"/>
              <a:gd name="connsiteX6560" fmla="*/ 2871737 w 9586368"/>
              <a:gd name="connsiteY6560" fmla="*/ 1675350 h 6479439"/>
              <a:gd name="connsiteX6561" fmla="*/ 2881646 w 9586368"/>
              <a:gd name="connsiteY6561" fmla="*/ 1675350 h 6479439"/>
              <a:gd name="connsiteX6562" fmla="*/ 2885666 w 9586368"/>
              <a:gd name="connsiteY6562" fmla="*/ 1679389 h 6479439"/>
              <a:gd name="connsiteX6563" fmla="*/ 2885666 w 9586368"/>
              <a:gd name="connsiteY6563" fmla="*/ 1689260 h 6479439"/>
              <a:gd name="connsiteX6564" fmla="*/ 2881646 w 9586368"/>
              <a:gd name="connsiteY6564" fmla="*/ 1693299 h 6479439"/>
              <a:gd name="connsiteX6565" fmla="*/ 2871737 w 9586368"/>
              <a:gd name="connsiteY6565" fmla="*/ 1693299 h 6479439"/>
              <a:gd name="connsiteX6566" fmla="*/ 2867717 w 9586368"/>
              <a:gd name="connsiteY6566" fmla="*/ 1689260 h 6479439"/>
              <a:gd name="connsiteX6567" fmla="*/ 2867717 w 9586368"/>
              <a:gd name="connsiteY6567" fmla="*/ 1679389 h 6479439"/>
              <a:gd name="connsiteX6568" fmla="*/ 2632423 w 9586368"/>
              <a:gd name="connsiteY6568" fmla="*/ 1675350 h 6479439"/>
              <a:gd name="connsiteX6569" fmla="*/ 2642334 w 9586368"/>
              <a:gd name="connsiteY6569" fmla="*/ 1675350 h 6479439"/>
              <a:gd name="connsiteX6570" fmla="*/ 2646352 w 9586368"/>
              <a:gd name="connsiteY6570" fmla="*/ 1679389 h 6479439"/>
              <a:gd name="connsiteX6571" fmla="*/ 2646352 w 9586368"/>
              <a:gd name="connsiteY6571" fmla="*/ 1689260 h 6479439"/>
              <a:gd name="connsiteX6572" fmla="*/ 2642334 w 9586368"/>
              <a:gd name="connsiteY6572" fmla="*/ 1693299 h 6479439"/>
              <a:gd name="connsiteX6573" fmla="*/ 2632423 w 9586368"/>
              <a:gd name="connsiteY6573" fmla="*/ 1693299 h 6479439"/>
              <a:gd name="connsiteX6574" fmla="*/ 2628404 w 9586368"/>
              <a:gd name="connsiteY6574" fmla="*/ 1689260 h 6479439"/>
              <a:gd name="connsiteX6575" fmla="*/ 2628404 w 9586368"/>
              <a:gd name="connsiteY6575" fmla="*/ 1679389 h 6479439"/>
              <a:gd name="connsiteX6576" fmla="*/ 2393104 w 9586368"/>
              <a:gd name="connsiteY6576" fmla="*/ 1675350 h 6479439"/>
              <a:gd name="connsiteX6577" fmla="*/ 2403015 w 9586368"/>
              <a:gd name="connsiteY6577" fmla="*/ 1675350 h 6479439"/>
              <a:gd name="connsiteX6578" fmla="*/ 2407034 w 9586368"/>
              <a:gd name="connsiteY6578" fmla="*/ 1679389 h 6479439"/>
              <a:gd name="connsiteX6579" fmla="*/ 2407034 w 9586368"/>
              <a:gd name="connsiteY6579" fmla="*/ 1689260 h 6479439"/>
              <a:gd name="connsiteX6580" fmla="*/ 2403015 w 9586368"/>
              <a:gd name="connsiteY6580" fmla="*/ 1693299 h 6479439"/>
              <a:gd name="connsiteX6581" fmla="*/ 2393104 w 9586368"/>
              <a:gd name="connsiteY6581" fmla="*/ 1693299 h 6479439"/>
              <a:gd name="connsiteX6582" fmla="*/ 2389087 w 9586368"/>
              <a:gd name="connsiteY6582" fmla="*/ 1689260 h 6479439"/>
              <a:gd name="connsiteX6583" fmla="*/ 2389087 w 9586368"/>
              <a:gd name="connsiteY6583" fmla="*/ 1679389 h 6479439"/>
              <a:gd name="connsiteX6584" fmla="*/ 3350359 w 9586368"/>
              <a:gd name="connsiteY6584" fmla="*/ 1675349 h 6479439"/>
              <a:gd name="connsiteX6585" fmla="*/ 3360268 w 9586368"/>
              <a:gd name="connsiteY6585" fmla="*/ 1675349 h 6479439"/>
              <a:gd name="connsiteX6586" fmla="*/ 3364287 w 9586368"/>
              <a:gd name="connsiteY6586" fmla="*/ 1679388 h 6479439"/>
              <a:gd name="connsiteX6587" fmla="*/ 3364287 w 9586368"/>
              <a:gd name="connsiteY6587" fmla="*/ 1689260 h 6479439"/>
              <a:gd name="connsiteX6588" fmla="*/ 3360268 w 9586368"/>
              <a:gd name="connsiteY6588" fmla="*/ 1693298 h 6479439"/>
              <a:gd name="connsiteX6589" fmla="*/ 3350359 w 9586368"/>
              <a:gd name="connsiteY6589" fmla="*/ 1693298 h 6479439"/>
              <a:gd name="connsiteX6590" fmla="*/ 3346340 w 9586368"/>
              <a:gd name="connsiteY6590" fmla="*/ 1689260 h 6479439"/>
              <a:gd name="connsiteX6591" fmla="*/ 3346340 w 9586368"/>
              <a:gd name="connsiteY6591" fmla="*/ 1679388 h 6479439"/>
              <a:gd name="connsiteX6592" fmla="*/ 3111048 w 9586368"/>
              <a:gd name="connsiteY6592" fmla="*/ 1675349 h 6479439"/>
              <a:gd name="connsiteX6593" fmla="*/ 3120959 w 9586368"/>
              <a:gd name="connsiteY6593" fmla="*/ 1675349 h 6479439"/>
              <a:gd name="connsiteX6594" fmla="*/ 3124977 w 9586368"/>
              <a:gd name="connsiteY6594" fmla="*/ 1679388 h 6479439"/>
              <a:gd name="connsiteX6595" fmla="*/ 3124977 w 9586368"/>
              <a:gd name="connsiteY6595" fmla="*/ 1689260 h 6479439"/>
              <a:gd name="connsiteX6596" fmla="*/ 3120959 w 9586368"/>
              <a:gd name="connsiteY6596" fmla="*/ 1693299 h 6479439"/>
              <a:gd name="connsiteX6597" fmla="*/ 3111048 w 9586368"/>
              <a:gd name="connsiteY6597" fmla="*/ 1693299 h 6479439"/>
              <a:gd name="connsiteX6598" fmla="*/ 3107029 w 9586368"/>
              <a:gd name="connsiteY6598" fmla="*/ 1689260 h 6479439"/>
              <a:gd name="connsiteX6599" fmla="*/ 3107029 w 9586368"/>
              <a:gd name="connsiteY6599" fmla="*/ 1679388 h 6479439"/>
              <a:gd name="connsiteX6600" fmla="*/ 4068297 w 9586368"/>
              <a:gd name="connsiteY6600" fmla="*/ 1675334 h 6479439"/>
              <a:gd name="connsiteX6601" fmla="*/ 4078210 w 9586368"/>
              <a:gd name="connsiteY6601" fmla="*/ 1675334 h 6479439"/>
              <a:gd name="connsiteX6602" fmla="*/ 4082229 w 9586368"/>
              <a:gd name="connsiteY6602" fmla="*/ 1679373 h 6479439"/>
              <a:gd name="connsiteX6603" fmla="*/ 4082229 w 9586368"/>
              <a:gd name="connsiteY6603" fmla="*/ 1689243 h 6479439"/>
              <a:gd name="connsiteX6604" fmla="*/ 4078210 w 9586368"/>
              <a:gd name="connsiteY6604" fmla="*/ 1693282 h 6479439"/>
              <a:gd name="connsiteX6605" fmla="*/ 4068297 w 9586368"/>
              <a:gd name="connsiteY6605" fmla="*/ 1693282 h 6479439"/>
              <a:gd name="connsiteX6606" fmla="*/ 4064278 w 9586368"/>
              <a:gd name="connsiteY6606" fmla="*/ 1689243 h 6479439"/>
              <a:gd name="connsiteX6607" fmla="*/ 4064278 w 9586368"/>
              <a:gd name="connsiteY6607" fmla="*/ 1679373 h 6479439"/>
              <a:gd name="connsiteX6608" fmla="*/ 3828990 w 9586368"/>
              <a:gd name="connsiteY6608" fmla="*/ 1675334 h 6479439"/>
              <a:gd name="connsiteX6609" fmla="*/ 3838899 w 9586368"/>
              <a:gd name="connsiteY6609" fmla="*/ 1675334 h 6479439"/>
              <a:gd name="connsiteX6610" fmla="*/ 3842917 w 9586368"/>
              <a:gd name="connsiteY6610" fmla="*/ 1679373 h 6479439"/>
              <a:gd name="connsiteX6611" fmla="*/ 3842917 w 9586368"/>
              <a:gd name="connsiteY6611" fmla="*/ 1689243 h 6479439"/>
              <a:gd name="connsiteX6612" fmla="*/ 3838899 w 9586368"/>
              <a:gd name="connsiteY6612" fmla="*/ 1693282 h 6479439"/>
              <a:gd name="connsiteX6613" fmla="*/ 3828990 w 9586368"/>
              <a:gd name="connsiteY6613" fmla="*/ 1693282 h 6479439"/>
              <a:gd name="connsiteX6614" fmla="*/ 3824971 w 9586368"/>
              <a:gd name="connsiteY6614" fmla="*/ 1689243 h 6479439"/>
              <a:gd name="connsiteX6615" fmla="*/ 3824971 w 9586368"/>
              <a:gd name="connsiteY6615" fmla="*/ 1679373 h 6479439"/>
              <a:gd name="connsiteX6616" fmla="*/ 3589676 w 9586368"/>
              <a:gd name="connsiteY6616" fmla="*/ 1675334 h 6479439"/>
              <a:gd name="connsiteX6617" fmla="*/ 3599585 w 9586368"/>
              <a:gd name="connsiteY6617" fmla="*/ 1675334 h 6479439"/>
              <a:gd name="connsiteX6618" fmla="*/ 3603604 w 9586368"/>
              <a:gd name="connsiteY6618" fmla="*/ 1679373 h 6479439"/>
              <a:gd name="connsiteX6619" fmla="*/ 3603604 w 9586368"/>
              <a:gd name="connsiteY6619" fmla="*/ 1689243 h 6479439"/>
              <a:gd name="connsiteX6620" fmla="*/ 3599585 w 9586368"/>
              <a:gd name="connsiteY6620" fmla="*/ 1693282 h 6479439"/>
              <a:gd name="connsiteX6621" fmla="*/ 3589676 w 9586368"/>
              <a:gd name="connsiteY6621" fmla="*/ 1693282 h 6479439"/>
              <a:gd name="connsiteX6622" fmla="*/ 3585657 w 9586368"/>
              <a:gd name="connsiteY6622" fmla="*/ 1689243 h 6479439"/>
              <a:gd name="connsiteX6623" fmla="*/ 3585657 w 9586368"/>
              <a:gd name="connsiteY6623" fmla="*/ 1679373 h 6479439"/>
              <a:gd name="connsiteX6624" fmla="*/ 4546929 w 9586368"/>
              <a:gd name="connsiteY6624" fmla="*/ 1675333 h 6479439"/>
              <a:gd name="connsiteX6625" fmla="*/ 4556840 w 9586368"/>
              <a:gd name="connsiteY6625" fmla="*/ 1675333 h 6479439"/>
              <a:gd name="connsiteX6626" fmla="*/ 4560859 w 9586368"/>
              <a:gd name="connsiteY6626" fmla="*/ 1679372 h 6479439"/>
              <a:gd name="connsiteX6627" fmla="*/ 4560859 w 9586368"/>
              <a:gd name="connsiteY6627" fmla="*/ 1689243 h 6479439"/>
              <a:gd name="connsiteX6628" fmla="*/ 4556840 w 9586368"/>
              <a:gd name="connsiteY6628" fmla="*/ 1693281 h 6479439"/>
              <a:gd name="connsiteX6629" fmla="*/ 4546929 w 9586368"/>
              <a:gd name="connsiteY6629" fmla="*/ 1693281 h 6479439"/>
              <a:gd name="connsiteX6630" fmla="*/ 4542910 w 9586368"/>
              <a:gd name="connsiteY6630" fmla="*/ 1689243 h 6479439"/>
              <a:gd name="connsiteX6631" fmla="*/ 4542910 w 9586368"/>
              <a:gd name="connsiteY6631" fmla="*/ 1679372 h 6479439"/>
              <a:gd name="connsiteX6632" fmla="*/ 4307612 w 9586368"/>
              <a:gd name="connsiteY6632" fmla="*/ 1675333 h 6479439"/>
              <a:gd name="connsiteX6633" fmla="*/ 4317523 w 9586368"/>
              <a:gd name="connsiteY6633" fmla="*/ 1675333 h 6479439"/>
              <a:gd name="connsiteX6634" fmla="*/ 4321543 w 9586368"/>
              <a:gd name="connsiteY6634" fmla="*/ 1679372 h 6479439"/>
              <a:gd name="connsiteX6635" fmla="*/ 4321543 w 9586368"/>
              <a:gd name="connsiteY6635" fmla="*/ 1689243 h 6479439"/>
              <a:gd name="connsiteX6636" fmla="*/ 4317523 w 9586368"/>
              <a:gd name="connsiteY6636" fmla="*/ 1693282 h 6479439"/>
              <a:gd name="connsiteX6637" fmla="*/ 4307612 w 9586368"/>
              <a:gd name="connsiteY6637" fmla="*/ 1693282 h 6479439"/>
              <a:gd name="connsiteX6638" fmla="*/ 4303595 w 9586368"/>
              <a:gd name="connsiteY6638" fmla="*/ 1689243 h 6479439"/>
              <a:gd name="connsiteX6639" fmla="*/ 4303595 w 9586368"/>
              <a:gd name="connsiteY6639" fmla="*/ 1679372 h 6479439"/>
              <a:gd name="connsiteX6640" fmla="*/ 5264784 w 9586368"/>
              <a:gd name="connsiteY6640" fmla="*/ 1675318 h 6479439"/>
              <a:gd name="connsiteX6641" fmla="*/ 5274694 w 9586368"/>
              <a:gd name="connsiteY6641" fmla="*/ 1675318 h 6479439"/>
              <a:gd name="connsiteX6642" fmla="*/ 5278713 w 9586368"/>
              <a:gd name="connsiteY6642" fmla="*/ 1679357 h 6479439"/>
              <a:gd name="connsiteX6643" fmla="*/ 5278713 w 9586368"/>
              <a:gd name="connsiteY6643" fmla="*/ 1689227 h 6479439"/>
              <a:gd name="connsiteX6644" fmla="*/ 5274694 w 9586368"/>
              <a:gd name="connsiteY6644" fmla="*/ 1693266 h 6479439"/>
              <a:gd name="connsiteX6645" fmla="*/ 5264784 w 9586368"/>
              <a:gd name="connsiteY6645" fmla="*/ 1693266 h 6479439"/>
              <a:gd name="connsiteX6646" fmla="*/ 5260765 w 9586368"/>
              <a:gd name="connsiteY6646" fmla="*/ 1689227 h 6479439"/>
              <a:gd name="connsiteX6647" fmla="*/ 5260765 w 9586368"/>
              <a:gd name="connsiteY6647" fmla="*/ 1679357 h 6479439"/>
              <a:gd name="connsiteX6648" fmla="*/ 5025470 w 9586368"/>
              <a:gd name="connsiteY6648" fmla="*/ 1675318 h 6479439"/>
              <a:gd name="connsiteX6649" fmla="*/ 5035381 w 9586368"/>
              <a:gd name="connsiteY6649" fmla="*/ 1675318 h 6479439"/>
              <a:gd name="connsiteX6650" fmla="*/ 5039400 w 9586368"/>
              <a:gd name="connsiteY6650" fmla="*/ 1679357 h 6479439"/>
              <a:gd name="connsiteX6651" fmla="*/ 5039400 w 9586368"/>
              <a:gd name="connsiteY6651" fmla="*/ 1689227 h 6479439"/>
              <a:gd name="connsiteX6652" fmla="*/ 5035381 w 9586368"/>
              <a:gd name="connsiteY6652" fmla="*/ 1693266 h 6479439"/>
              <a:gd name="connsiteX6653" fmla="*/ 5025470 w 9586368"/>
              <a:gd name="connsiteY6653" fmla="*/ 1693266 h 6479439"/>
              <a:gd name="connsiteX6654" fmla="*/ 5021451 w 9586368"/>
              <a:gd name="connsiteY6654" fmla="*/ 1689227 h 6479439"/>
              <a:gd name="connsiteX6655" fmla="*/ 5021451 w 9586368"/>
              <a:gd name="connsiteY6655" fmla="*/ 1679357 h 6479439"/>
              <a:gd name="connsiteX6656" fmla="*/ 4786241 w 9586368"/>
              <a:gd name="connsiteY6656" fmla="*/ 1675318 h 6479439"/>
              <a:gd name="connsiteX6657" fmla="*/ 4796152 w 9586368"/>
              <a:gd name="connsiteY6657" fmla="*/ 1675318 h 6479439"/>
              <a:gd name="connsiteX6658" fmla="*/ 4800171 w 9586368"/>
              <a:gd name="connsiteY6658" fmla="*/ 1679357 h 6479439"/>
              <a:gd name="connsiteX6659" fmla="*/ 4800171 w 9586368"/>
              <a:gd name="connsiteY6659" fmla="*/ 1689227 h 6479439"/>
              <a:gd name="connsiteX6660" fmla="*/ 4796152 w 9586368"/>
              <a:gd name="connsiteY6660" fmla="*/ 1693266 h 6479439"/>
              <a:gd name="connsiteX6661" fmla="*/ 4786241 w 9586368"/>
              <a:gd name="connsiteY6661" fmla="*/ 1693266 h 6479439"/>
              <a:gd name="connsiteX6662" fmla="*/ 4782224 w 9586368"/>
              <a:gd name="connsiteY6662" fmla="*/ 1689227 h 6479439"/>
              <a:gd name="connsiteX6663" fmla="*/ 4782224 w 9586368"/>
              <a:gd name="connsiteY6663" fmla="*/ 1679357 h 6479439"/>
              <a:gd name="connsiteX6664" fmla="*/ 5743412 w 9586368"/>
              <a:gd name="connsiteY6664" fmla="*/ 1675316 h 6479439"/>
              <a:gd name="connsiteX6665" fmla="*/ 5753323 w 9586368"/>
              <a:gd name="connsiteY6665" fmla="*/ 1675316 h 6479439"/>
              <a:gd name="connsiteX6666" fmla="*/ 5757342 w 9586368"/>
              <a:gd name="connsiteY6666" fmla="*/ 1679356 h 6479439"/>
              <a:gd name="connsiteX6667" fmla="*/ 5757342 w 9586368"/>
              <a:gd name="connsiteY6667" fmla="*/ 1689227 h 6479439"/>
              <a:gd name="connsiteX6668" fmla="*/ 5753323 w 9586368"/>
              <a:gd name="connsiteY6668" fmla="*/ 1693266 h 6479439"/>
              <a:gd name="connsiteX6669" fmla="*/ 5743412 w 9586368"/>
              <a:gd name="connsiteY6669" fmla="*/ 1693266 h 6479439"/>
              <a:gd name="connsiteX6670" fmla="*/ 5739393 w 9586368"/>
              <a:gd name="connsiteY6670" fmla="*/ 1689227 h 6479439"/>
              <a:gd name="connsiteX6671" fmla="*/ 5739393 w 9586368"/>
              <a:gd name="connsiteY6671" fmla="*/ 1679356 h 6479439"/>
              <a:gd name="connsiteX6672" fmla="*/ 5504099 w 9586368"/>
              <a:gd name="connsiteY6672" fmla="*/ 1675316 h 6479439"/>
              <a:gd name="connsiteX6673" fmla="*/ 5514010 w 9586368"/>
              <a:gd name="connsiteY6673" fmla="*/ 1675316 h 6479439"/>
              <a:gd name="connsiteX6674" fmla="*/ 5518029 w 9586368"/>
              <a:gd name="connsiteY6674" fmla="*/ 1679356 h 6479439"/>
              <a:gd name="connsiteX6675" fmla="*/ 5518029 w 9586368"/>
              <a:gd name="connsiteY6675" fmla="*/ 1689227 h 6479439"/>
              <a:gd name="connsiteX6676" fmla="*/ 5514010 w 9586368"/>
              <a:gd name="connsiteY6676" fmla="*/ 1693266 h 6479439"/>
              <a:gd name="connsiteX6677" fmla="*/ 5504099 w 9586368"/>
              <a:gd name="connsiteY6677" fmla="*/ 1693266 h 6479439"/>
              <a:gd name="connsiteX6678" fmla="*/ 5500080 w 9586368"/>
              <a:gd name="connsiteY6678" fmla="*/ 1689227 h 6479439"/>
              <a:gd name="connsiteX6679" fmla="*/ 5500080 w 9586368"/>
              <a:gd name="connsiteY6679" fmla="*/ 1679356 h 6479439"/>
              <a:gd name="connsiteX6680" fmla="*/ 6461356 w 9586368"/>
              <a:gd name="connsiteY6680" fmla="*/ 1675301 h 6479439"/>
              <a:gd name="connsiteX6681" fmla="*/ 6471266 w 9586368"/>
              <a:gd name="connsiteY6681" fmla="*/ 1675301 h 6479439"/>
              <a:gd name="connsiteX6682" fmla="*/ 6475285 w 9586368"/>
              <a:gd name="connsiteY6682" fmla="*/ 1679339 h 6479439"/>
              <a:gd name="connsiteX6683" fmla="*/ 6475285 w 9586368"/>
              <a:gd name="connsiteY6683" fmla="*/ 1689210 h 6479439"/>
              <a:gd name="connsiteX6684" fmla="*/ 6471266 w 9586368"/>
              <a:gd name="connsiteY6684" fmla="*/ 1693249 h 6479439"/>
              <a:gd name="connsiteX6685" fmla="*/ 6461356 w 9586368"/>
              <a:gd name="connsiteY6685" fmla="*/ 1693249 h 6479439"/>
              <a:gd name="connsiteX6686" fmla="*/ 6457337 w 9586368"/>
              <a:gd name="connsiteY6686" fmla="*/ 1689210 h 6479439"/>
              <a:gd name="connsiteX6687" fmla="*/ 6457337 w 9586368"/>
              <a:gd name="connsiteY6687" fmla="*/ 1679339 h 6479439"/>
              <a:gd name="connsiteX6688" fmla="*/ 6222042 w 9586368"/>
              <a:gd name="connsiteY6688" fmla="*/ 1675301 h 6479439"/>
              <a:gd name="connsiteX6689" fmla="*/ 6231952 w 9586368"/>
              <a:gd name="connsiteY6689" fmla="*/ 1675301 h 6479439"/>
              <a:gd name="connsiteX6690" fmla="*/ 6235971 w 9586368"/>
              <a:gd name="connsiteY6690" fmla="*/ 1679339 h 6479439"/>
              <a:gd name="connsiteX6691" fmla="*/ 6235971 w 9586368"/>
              <a:gd name="connsiteY6691" fmla="*/ 1689211 h 6479439"/>
              <a:gd name="connsiteX6692" fmla="*/ 6231952 w 9586368"/>
              <a:gd name="connsiteY6692" fmla="*/ 1693249 h 6479439"/>
              <a:gd name="connsiteX6693" fmla="*/ 6222042 w 9586368"/>
              <a:gd name="connsiteY6693" fmla="*/ 1693249 h 6479439"/>
              <a:gd name="connsiteX6694" fmla="*/ 6218023 w 9586368"/>
              <a:gd name="connsiteY6694" fmla="*/ 1689211 h 6479439"/>
              <a:gd name="connsiteX6695" fmla="*/ 6218023 w 9586368"/>
              <a:gd name="connsiteY6695" fmla="*/ 1679339 h 6479439"/>
              <a:gd name="connsiteX6696" fmla="*/ 5982729 w 9586368"/>
              <a:gd name="connsiteY6696" fmla="*/ 1675301 h 6479439"/>
              <a:gd name="connsiteX6697" fmla="*/ 5992639 w 9586368"/>
              <a:gd name="connsiteY6697" fmla="*/ 1675301 h 6479439"/>
              <a:gd name="connsiteX6698" fmla="*/ 5996658 w 9586368"/>
              <a:gd name="connsiteY6698" fmla="*/ 1679339 h 6479439"/>
              <a:gd name="connsiteX6699" fmla="*/ 5996658 w 9586368"/>
              <a:gd name="connsiteY6699" fmla="*/ 1689211 h 6479439"/>
              <a:gd name="connsiteX6700" fmla="*/ 5992639 w 9586368"/>
              <a:gd name="connsiteY6700" fmla="*/ 1693251 h 6479439"/>
              <a:gd name="connsiteX6701" fmla="*/ 5982729 w 9586368"/>
              <a:gd name="connsiteY6701" fmla="*/ 1693251 h 6479439"/>
              <a:gd name="connsiteX6702" fmla="*/ 5978710 w 9586368"/>
              <a:gd name="connsiteY6702" fmla="*/ 1689211 h 6479439"/>
              <a:gd name="connsiteX6703" fmla="*/ 5978710 w 9586368"/>
              <a:gd name="connsiteY6703" fmla="*/ 1679339 h 6479439"/>
              <a:gd name="connsiteX6704" fmla="*/ 6939983 w 9586368"/>
              <a:gd name="connsiteY6704" fmla="*/ 1675300 h 6479439"/>
              <a:gd name="connsiteX6705" fmla="*/ 6949894 w 9586368"/>
              <a:gd name="connsiteY6705" fmla="*/ 1675300 h 6479439"/>
              <a:gd name="connsiteX6706" fmla="*/ 6953913 w 9586368"/>
              <a:gd name="connsiteY6706" fmla="*/ 1679339 h 6479439"/>
              <a:gd name="connsiteX6707" fmla="*/ 6953913 w 9586368"/>
              <a:gd name="connsiteY6707" fmla="*/ 1689210 h 6479439"/>
              <a:gd name="connsiteX6708" fmla="*/ 6949894 w 9586368"/>
              <a:gd name="connsiteY6708" fmla="*/ 1693249 h 6479439"/>
              <a:gd name="connsiteX6709" fmla="*/ 6939983 w 9586368"/>
              <a:gd name="connsiteY6709" fmla="*/ 1693249 h 6479439"/>
              <a:gd name="connsiteX6710" fmla="*/ 6935964 w 9586368"/>
              <a:gd name="connsiteY6710" fmla="*/ 1689210 h 6479439"/>
              <a:gd name="connsiteX6711" fmla="*/ 6935964 w 9586368"/>
              <a:gd name="connsiteY6711" fmla="*/ 1679339 h 6479439"/>
              <a:gd name="connsiteX6712" fmla="*/ 6700670 w 9586368"/>
              <a:gd name="connsiteY6712" fmla="*/ 1675300 h 6479439"/>
              <a:gd name="connsiteX6713" fmla="*/ 6710581 w 9586368"/>
              <a:gd name="connsiteY6713" fmla="*/ 1675300 h 6479439"/>
              <a:gd name="connsiteX6714" fmla="*/ 6714600 w 9586368"/>
              <a:gd name="connsiteY6714" fmla="*/ 1679339 h 6479439"/>
              <a:gd name="connsiteX6715" fmla="*/ 6714600 w 9586368"/>
              <a:gd name="connsiteY6715" fmla="*/ 1689210 h 6479439"/>
              <a:gd name="connsiteX6716" fmla="*/ 6710581 w 9586368"/>
              <a:gd name="connsiteY6716" fmla="*/ 1693249 h 6479439"/>
              <a:gd name="connsiteX6717" fmla="*/ 6700670 w 9586368"/>
              <a:gd name="connsiteY6717" fmla="*/ 1693249 h 6479439"/>
              <a:gd name="connsiteX6718" fmla="*/ 6696651 w 9586368"/>
              <a:gd name="connsiteY6718" fmla="*/ 1689210 h 6479439"/>
              <a:gd name="connsiteX6719" fmla="*/ 6696651 w 9586368"/>
              <a:gd name="connsiteY6719" fmla="*/ 1679339 h 6479439"/>
              <a:gd name="connsiteX6720" fmla="*/ 8136553 w 9586368"/>
              <a:gd name="connsiteY6720" fmla="*/ 1675285 h 6479439"/>
              <a:gd name="connsiteX6721" fmla="*/ 8146464 w 9586368"/>
              <a:gd name="connsiteY6721" fmla="*/ 1675285 h 6479439"/>
              <a:gd name="connsiteX6722" fmla="*/ 8150483 w 9586368"/>
              <a:gd name="connsiteY6722" fmla="*/ 1679323 h 6479439"/>
              <a:gd name="connsiteX6723" fmla="*/ 8150483 w 9586368"/>
              <a:gd name="connsiteY6723" fmla="*/ 1689193 h 6479439"/>
              <a:gd name="connsiteX6724" fmla="*/ 8146464 w 9586368"/>
              <a:gd name="connsiteY6724" fmla="*/ 1693232 h 6479439"/>
              <a:gd name="connsiteX6725" fmla="*/ 8136553 w 9586368"/>
              <a:gd name="connsiteY6725" fmla="*/ 1693232 h 6479439"/>
              <a:gd name="connsiteX6726" fmla="*/ 8132534 w 9586368"/>
              <a:gd name="connsiteY6726" fmla="*/ 1689193 h 6479439"/>
              <a:gd name="connsiteX6727" fmla="*/ 8132534 w 9586368"/>
              <a:gd name="connsiteY6727" fmla="*/ 1679323 h 6479439"/>
              <a:gd name="connsiteX6728" fmla="*/ 7897241 w 9586368"/>
              <a:gd name="connsiteY6728" fmla="*/ 1675285 h 6479439"/>
              <a:gd name="connsiteX6729" fmla="*/ 7907151 w 9586368"/>
              <a:gd name="connsiteY6729" fmla="*/ 1675285 h 6479439"/>
              <a:gd name="connsiteX6730" fmla="*/ 7911170 w 9586368"/>
              <a:gd name="connsiteY6730" fmla="*/ 1679323 h 6479439"/>
              <a:gd name="connsiteX6731" fmla="*/ 7911170 w 9586368"/>
              <a:gd name="connsiteY6731" fmla="*/ 1689193 h 6479439"/>
              <a:gd name="connsiteX6732" fmla="*/ 7907151 w 9586368"/>
              <a:gd name="connsiteY6732" fmla="*/ 1693232 h 6479439"/>
              <a:gd name="connsiteX6733" fmla="*/ 7897241 w 9586368"/>
              <a:gd name="connsiteY6733" fmla="*/ 1693232 h 6479439"/>
              <a:gd name="connsiteX6734" fmla="*/ 7893222 w 9586368"/>
              <a:gd name="connsiteY6734" fmla="*/ 1689193 h 6479439"/>
              <a:gd name="connsiteX6735" fmla="*/ 7893222 w 9586368"/>
              <a:gd name="connsiteY6735" fmla="*/ 1679323 h 6479439"/>
              <a:gd name="connsiteX6736" fmla="*/ 7657926 w 9586368"/>
              <a:gd name="connsiteY6736" fmla="*/ 1675285 h 6479439"/>
              <a:gd name="connsiteX6737" fmla="*/ 7667836 w 9586368"/>
              <a:gd name="connsiteY6737" fmla="*/ 1675285 h 6479439"/>
              <a:gd name="connsiteX6738" fmla="*/ 7671855 w 9586368"/>
              <a:gd name="connsiteY6738" fmla="*/ 1679323 h 6479439"/>
              <a:gd name="connsiteX6739" fmla="*/ 7671855 w 9586368"/>
              <a:gd name="connsiteY6739" fmla="*/ 1689193 h 6479439"/>
              <a:gd name="connsiteX6740" fmla="*/ 7667836 w 9586368"/>
              <a:gd name="connsiteY6740" fmla="*/ 1693232 h 6479439"/>
              <a:gd name="connsiteX6741" fmla="*/ 7657926 w 9586368"/>
              <a:gd name="connsiteY6741" fmla="*/ 1693232 h 6479439"/>
              <a:gd name="connsiteX6742" fmla="*/ 7653906 w 9586368"/>
              <a:gd name="connsiteY6742" fmla="*/ 1689193 h 6479439"/>
              <a:gd name="connsiteX6743" fmla="*/ 7653906 w 9586368"/>
              <a:gd name="connsiteY6743" fmla="*/ 1679323 h 6479439"/>
              <a:gd name="connsiteX6744" fmla="*/ 7418611 w 9586368"/>
              <a:gd name="connsiteY6744" fmla="*/ 1675285 h 6479439"/>
              <a:gd name="connsiteX6745" fmla="*/ 7428521 w 9586368"/>
              <a:gd name="connsiteY6745" fmla="*/ 1675285 h 6479439"/>
              <a:gd name="connsiteX6746" fmla="*/ 7432540 w 9586368"/>
              <a:gd name="connsiteY6746" fmla="*/ 1679323 h 6479439"/>
              <a:gd name="connsiteX6747" fmla="*/ 7432540 w 9586368"/>
              <a:gd name="connsiteY6747" fmla="*/ 1689195 h 6479439"/>
              <a:gd name="connsiteX6748" fmla="*/ 7428521 w 9586368"/>
              <a:gd name="connsiteY6748" fmla="*/ 1693232 h 6479439"/>
              <a:gd name="connsiteX6749" fmla="*/ 7418611 w 9586368"/>
              <a:gd name="connsiteY6749" fmla="*/ 1693232 h 6479439"/>
              <a:gd name="connsiteX6750" fmla="*/ 7414592 w 9586368"/>
              <a:gd name="connsiteY6750" fmla="*/ 1689195 h 6479439"/>
              <a:gd name="connsiteX6751" fmla="*/ 7414592 w 9586368"/>
              <a:gd name="connsiteY6751" fmla="*/ 1679323 h 6479439"/>
              <a:gd name="connsiteX6752" fmla="*/ 7179298 w 9586368"/>
              <a:gd name="connsiteY6752" fmla="*/ 1675285 h 6479439"/>
              <a:gd name="connsiteX6753" fmla="*/ 7189209 w 9586368"/>
              <a:gd name="connsiteY6753" fmla="*/ 1675285 h 6479439"/>
              <a:gd name="connsiteX6754" fmla="*/ 7193228 w 9586368"/>
              <a:gd name="connsiteY6754" fmla="*/ 1679323 h 6479439"/>
              <a:gd name="connsiteX6755" fmla="*/ 7193228 w 9586368"/>
              <a:gd name="connsiteY6755" fmla="*/ 1689195 h 6479439"/>
              <a:gd name="connsiteX6756" fmla="*/ 7189209 w 9586368"/>
              <a:gd name="connsiteY6756" fmla="*/ 1693234 h 6479439"/>
              <a:gd name="connsiteX6757" fmla="*/ 7179298 w 9586368"/>
              <a:gd name="connsiteY6757" fmla="*/ 1693234 h 6479439"/>
              <a:gd name="connsiteX6758" fmla="*/ 7175279 w 9586368"/>
              <a:gd name="connsiteY6758" fmla="*/ 1689195 h 6479439"/>
              <a:gd name="connsiteX6759" fmla="*/ 7175279 w 9586368"/>
              <a:gd name="connsiteY6759" fmla="*/ 1679323 h 6479439"/>
              <a:gd name="connsiteX6760" fmla="*/ 9333125 w 9586368"/>
              <a:gd name="connsiteY6760" fmla="*/ 1675268 h 6479439"/>
              <a:gd name="connsiteX6761" fmla="*/ 9343036 w 9586368"/>
              <a:gd name="connsiteY6761" fmla="*/ 1675268 h 6479439"/>
              <a:gd name="connsiteX6762" fmla="*/ 9347055 w 9586368"/>
              <a:gd name="connsiteY6762" fmla="*/ 1679306 h 6479439"/>
              <a:gd name="connsiteX6763" fmla="*/ 9347055 w 9586368"/>
              <a:gd name="connsiteY6763" fmla="*/ 1689177 h 6479439"/>
              <a:gd name="connsiteX6764" fmla="*/ 9343036 w 9586368"/>
              <a:gd name="connsiteY6764" fmla="*/ 1693216 h 6479439"/>
              <a:gd name="connsiteX6765" fmla="*/ 9333125 w 9586368"/>
              <a:gd name="connsiteY6765" fmla="*/ 1693216 h 6479439"/>
              <a:gd name="connsiteX6766" fmla="*/ 9329106 w 9586368"/>
              <a:gd name="connsiteY6766" fmla="*/ 1689177 h 6479439"/>
              <a:gd name="connsiteX6767" fmla="*/ 9329106 w 9586368"/>
              <a:gd name="connsiteY6767" fmla="*/ 1679306 h 6479439"/>
              <a:gd name="connsiteX6768" fmla="*/ 9093811 w 9586368"/>
              <a:gd name="connsiteY6768" fmla="*/ 1675268 h 6479439"/>
              <a:gd name="connsiteX6769" fmla="*/ 9103722 w 9586368"/>
              <a:gd name="connsiteY6769" fmla="*/ 1675268 h 6479439"/>
              <a:gd name="connsiteX6770" fmla="*/ 9107741 w 9586368"/>
              <a:gd name="connsiteY6770" fmla="*/ 1679306 h 6479439"/>
              <a:gd name="connsiteX6771" fmla="*/ 9107741 w 9586368"/>
              <a:gd name="connsiteY6771" fmla="*/ 1689177 h 6479439"/>
              <a:gd name="connsiteX6772" fmla="*/ 9103722 w 9586368"/>
              <a:gd name="connsiteY6772" fmla="*/ 1693217 h 6479439"/>
              <a:gd name="connsiteX6773" fmla="*/ 9093811 w 9586368"/>
              <a:gd name="connsiteY6773" fmla="*/ 1693217 h 6479439"/>
              <a:gd name="connsiteX6774" fmla="*/ 9089792 w 9586368"/>
              <a:gd name="connsiteY6774" fmla="*/ 1689177 h 6479439"/>
              <a:gd name="connsiteX6775" fmla="*/ 9089792 w 9586368"/>
              <a:gd name="connsiteY6775" fmla="*/ 1679306 h 6479439"/>
              <a:gd name="connsiteX6776" fmla="*/ 8854496 w 9586368"/>
              <a:gd name="connsiteY6776" fmla="*/ 1675268 h 6479439"/>
              <a:gd name="connsiteX6777" fmla="*/ 8864407 w 9586368"/>
              <a:gd name="connsiteY6777" fmla="*/ 1675268 h 6479439"/>
              <a:gd name="connsiteX6778" fmla="*/ 8868426 w 9586368"/>
              <a:gd name="connsiteY6778" fmla="*/ 1679307 h 6479439"/>
              <a:gd name="connsiteX6779" fmla="*/ 8868426 w 9586368"/>
              <a:gd name="connsiteY6779" fmla="*/ 1689177 h 6479439"/>
              <a:gd name="connsiteX6780" fmla="*/ 8864407 w 9586368"/>
              <a:gd name="connsiteY6780" fmla="*/ 1693217 h 6479439"/>
              <a:gd name="connsiteX6781" fmla="*/ 8854496 w 9586368"/>
              <a:gd name="connsiteY6781" fmla="*/ 1693217 h 6479439"/>
              <a:gd name="connsiteX6782" fmla="*/ 8850477 w 9586368"/>
              <a:gd name="connsiteY6782" fmla="*/ 1689177 h 6479439"/>
              <a:gd name="connsiteX6783" fmla="*/ 8850477 w 9586368"/>
              <a:gd name="connsiteY6783" fmla="*/ 1679307 h 6479439"/>
              <a:gd name="connsiteX6784" fmla="*/ 8615184 w 9586368"/>
              <a:gd name="connsiteY6784" fmla="*/ 1675268 h 6479439"/>
              <a:gd name="connsiteX6785" fmla="*/ 8625095 w 9586368"/>
              <a:gd name="connsiteY6785" fmla="*/ 1675268 h 6479439"/>
              <a:gd name="connsiteX6786" fmla="*/ 8629114 w 9586368"/>
              <a:gd name="connsiteY6786" fmla="*/ 1679307 h 6479439"/>
              <a:gd name="connsiteX6787" fmla="*/ 8629114 w 9586368"/>
              <a:gd name="connsiteY6787" fmla="*/ 1689178 h 6479439"/>
              <a:gd name="connsiteX6788" fmla="*/ 8625095 w 9586368"/>
              <a:gd name="connsiteY6788" fmla="*/ 1693217 h 6479439"/>
              <a:gd name="connsiteX6789" fmla="*/ 8615184 w 9586368"/>
              <a:gd name="connsiteY6789" fmla="*/ 1693217 h 6479439"/>
              <a:gd name="connsiteX6790" fmla="*/ 8611165 w 9586368"/>
              <a:gd name="connsiteY6790" fmla="*/ 1689178 h 6479439"/>
              <a:gd name="connsiteX6791" fmla="*/ 8611165 w 9586368"/>
              <a:gd name="connsiteY6791" fmla="*/ 1679307 h 6479439"/>
              <a:gd name="connsiteX6792" fmla="*/ 8375869 w 9586368"/>
              <a:gd name="connsiteY6792" fmla="*/ 1675268 h 6479439"/>
              <a:gd name="connsiteX6793" fmla="*/ 8385779 w 9586368"/>
              <a:gd name="connsiteY6793" fmla="*/ 1675268 h 6479439"/>
              <a:gd name="connsiteX6794" fmla="*/ 8389799 w 9586368"/>
              <a:gd name="connsiteY6794" fmla="*/ 1679307 h 6479439"/>
              <a:gd name="connsiteX6795" fmla="*/ 8389799 w 9586368"/>
              <a:gd name="connsiteY6795" fmla="*/ 1689178 h 6479439"/>
              <a:gd name="connsiteX6796" fmla="*/ 8385779 w 9586368"/>
              <a:gd name="connsiteY6796" fmla="*/ 1693217 h 6479439"/>
              <a:gd name="connsiteX6797" fmla="*/ 8375869 w 9586368"/>
              <a:gd name="connsiteY6797" fmla="*/ 1693217 h 6479439"/>
              <a:gd name="connsiteX6798" fmla="*/ 8371850 w 9586368"/>
              <a:gd name="connsiteY6798" fmla="*/ 1689178 h 6479439"/>
              <a:gd name="connsiteX6799" fmla="*/ 8371850 w 9586368"/>
              <a:gd name="connsiteY6799" fmla="*/ 1679307 h 6479439"/>
              <a:gd name="connsiteX6800" fmla="*/ 961270 w 9586368"/>
              <a:gd name="connsiteY6800" fmla="*/ 1675255 h 6479439"/>
              <a:gd name="connsiteX6801" fmla="*/ 971180 w 9586368"/>
              <a:gd name="connsiteY6801" fmla="*/ 1675255 h 6479439"/>
              <a:gd name="connsiteX6802" fmla="*/ 975199 w 9586368"/>
              <a:gd name="connsiteY6802" fmla="*/ 1679292 h 6479439"/>
              <a:gd name="connsiteX6803" fmla="*/ 975199 w 9586368"/>
              <a:gd name="connsiteY6803" fmla="*/ 1689163 h 6479439"/>
              <a:gd name="connsiteX6804" fmla="*/ 971180 w 9586368"/>
              <a:gd name="connsiteY6804" fmla="*/ 1693202 h 6479439"/>
              <a:gd name="connsiteX6805" fmla="*/ 961270 w 9586368"/>
              <a:gd name="connsiteY6805" fmla="*/ 1693202 h 6479439"/>
              <a:gd name="connsiteX6806" fmla="*/ 957251 w 9586368"/>
              <a:gd name="connsiteY6806" fmla="*/ 1689163 h 6479439"/>
              <a:gd name="connsiteX6807" fmla="*/ 957251 w 9586368"/>
              <a:gd name="connsiteY6807" fmla="*/ 1679292 h 6479439"/>
              <a:gd name="connsiteX6808" fmla="*/ 1679215 w 9586368"/>
              <a:gd name="connsiteY6808" fmla="*/ 1675254 h 6479439"/>
              <a:gd name="connsiteX6809" fmla="*/ 1689126 w 9586368"/>
              <a:gd name="connsiteY6809" fmla="*/ 1675254 h 6479439"/>
              <a:gd name="connsiteX6810" fmla="*/ 1693145 w 9586368"/>
              <a:gd name="connsiteY6810" fmla="*/ 1679292 h 6479439"/>
              <a:gd name="connsiteX6811" fmla="*/ 1693145 w 9586368"/>
              <a:gd name="connsiteY6811" fmla="*/ 1689163 h 6479439"/>
              <a:gd name="connsiteX6812" fmla="*/ 1689126 w 9586368"/>
              <a:gd name="connsiteY6812" fmla="*/ 1693202 h 6479439"/>
              <a:gd name="connsiteX6813" fmla="*/ 1679215 w 9586368"/>
              <a:gd name="connsiteY6813" fmla="*/ 1693202 h 6479439"/>
              <a:gd name="connsiteX6814" fmla="*/ 1675196 w 9586368"/>
              <a:gd name="connsiteY6814" fmla="*/ 1689163 h 6479439"/>
              <a:gd name="connsiteX6815" fmla="*/ 1675196 w 9586368"/>
              <a:gd name="connsiteY6815" fmla="*/ 1679292 h 6479439"/>
              <a:gd name="connsiteX6816" fmla="*/ 1439898 w 9586368"/>
              <a:gd name="connsiteY6816" fmla="*/ 1675254 h 6479439"/>
              <a:gd name="connsiteX6817" fmla="*/ 1449808 w 9586368"/>
              <a:gd name="connsiteY6817" fmla="*/ 1675254 h 6479439"/>
              <a:gd name="connsiteX6818" fmla="*/ 1453828 w 9586368"/>
              <a:gd name="connsiteY6818" fmla="*/ 1679292 h 6479439"/>
              <a:gd name="connsiteX6819" fmla="*/ 1453828 w 9586368"/>
              <a:gd name="connsiteY6819" fmla="*/ 1689163 h 6479439"/>
              <a:gd name="connsiteX6820" fmla="*/ 1449808 w 9586368"/>
              <a:gd name="connsiteY6820" fmla="*/ 1693202 h 6479439"/>
              <a:gd name="connsiteX6821" fmla="*/ 1439898 w 9586368"/>
              <a:gd name="connsiteY6821" fmla="*/ 1693202 h 6479439"/>
              <a:gd name="connsiteX6822" fmla="*/ 1435880 w 9586368"/>
              <a:gd name="connsiteY6822" fmla="*/ 1689163 h 6479439"/>
              <a:gd name="connsiteX6823" fmla="*/ 1435880 w 9586368"/>
              <a:gd name="connsiteY6823" fmla="*/ 1679292 h 6479439"/>
              <a:gd name="connsiteX6824" fmla="*/ 1200583 w 9586368"/>
              <a:gd name="connsiteY6824" fmla="*/ 1675254 h 6479439"/>
              <a:gd name="connsiteX6825" fmla="*/ 1210493 w 9586368"/>
              <a:gd name="connsiteY6825" fmla="*/ 1675254 h 6479439"/>
              <a:gd name="connsiteX6826" fmla="*/ 1214511 w 9586368"/>
              <a:gd name="connsiteY6826" fmla="*/ 1679292 h 6479439"/>
              <a:gd name="connsiteX6827" fmla="*/ 1214511 w 9586368"/>
              <a:gd name="connsiteY6827" fmla="*/ 1689163 h 6479439"/>
              <a:gd name="connsiteX6828" fmla="*/ 1210493 w 9586368"/>
              <a:gd name="connsiteY6828" fmla="*/ 1693202 h 6479439"/>
              <a:gd name="connsiteX6829" fmla="*/ 1200583 w 9586368"/>
              <a:gd name="connsiteY6829" fmla="*/ 1693202 h 6479439"/>
              <a:gd name="connsiteX6830" fmla="*/ 1196564 w 9586368"/>
              <a:gd name="connsiteY6830" fmla="*/ 1689163 h 6479439"/>
              <a:gd name="connsiteX6831" fmla="*/ 1196564 w 9586368"/>
              <a:gd name="connsiteY6831" fmla="*/ 1679292 h 6479439"/>
              <a:gd name="connsiteX6832" fmla="*/ 9572438 w 9586368"/>
              <a:gd name="connsiteY6832" fmla="*/ 1675251 h 6479439"/>
              <a:gd name="connsiteX6833" fmla="*/ 9582349 w 9586368"/>
              <a:gd name="connsiteY6833" fmla="*/ 1675251 h 6479439"/>
              <a:gd name="connsiteX6834" fmla="*/ 9586368 w 9586368"/>
              <a:gd name="connsiteY6834" fmla="*/ 1679290 h 6479439"/>
              <a:gd name="connsiteX6835" fmla="*/ 9586368 w 9586368"/>
              <a:gd name="connsiteY6835" fmla="*/ 1689161 h 6479439"/>
              <a:gd name="connsiteX6836" fmla="*/ 9582349 w 9586368"/>
              <a:gd name="connsiteY6836" fmla="*/ 1693201 h 6479439"/>
              <a:gd name="connsiteX6837" fmla="*/ 9572438 w 9586368"/>
              <a:gd name="connsiteY6837" fmla="*/ 1693201 h 6479439"/>
              <a:gd name="connsiteX6838" fmla="*/ 9568419 w 9586368"/>
              <a:gd name="connsiteY6838" fmla="*/ 1689161 h 6479439"/>
              <a:gd name="connsiteX6839" fmla="*/ 9568419 w 9586368"/>
              <a:gd name="connsiteY6839" fmla="*/ 1679290 h 6479439"/>
              <a:gd name="connsiteX6840" fmla="*/ 1918514 w 9586368"/>
              <a:gd name="connsiteY6840" fmla="*/ 1675243 h 6479439"/>
              <a:gd name="connsiteX6841" fmla="*/ 1928424 w 9586368"/>
              <a:gd name="connsiteY6841" fmla="*/ 1675243 h 6479439"/>
              <a:gd name="connsiteX6842" fmla="*/ 1932443 w 9586368"/>
              <a:gd name="connsiteY6842" fmla="*/ 1679282 h 6479439"/>
              <a:gd name="connsiteX6843" fmla="*/ 1932443 w 9586368"/>
              <a:gd name="connsiteY6843" fmla="*/ 1689153 h 6479439"/>
              <a:gd name="connsiteX6844" fmla="*/ 1928424 w 9586368"/>
              <a:gd name="connsiteY6844" fmla="*/ 1693191 h 6479439"/>
              <a:gd name="connsiteX6845" fmla="*/ 1918514 w 9586368"/>
              <a:gd name="connsiteY6845" fmla="*/ 1693191 h 6479439"/>
              <a:gd name="connsiteX6846" fmla="*/ 1914494 w 9586368"/>
              <a:gd name="connsiteY6846" fmla="*/ 1689153 h 6479439"/>
              <a:gd name="connsiteX6847" fmla="*/ 1914494 w 9586368"/>
              <a:gd name="connsiteY6847" fmla="*/ 1679282 h 6479439"/>
              <a:gd name="connsiteX6848" fmla="*/ 2157821 w 9586368"/>
              <a:gd name="connsiteY6848" fmla="*/ 1675240 h 6479439"/>
              <a:gd name="connsiteX6849" fmla="*/ 2167732 w 9586368"/>
              <a:gd name="connsiteY6849" fmla="*/ 1675240 h 6479439"/>
              <a:gd name="connsiteX6850" fmla="*/ 2171751 w 9586368"/>
              <a:gd name="connsiteY6850" fmla="*/ 1679279 h 6479439"/>
              <a:gd name="connsiteX6851" fmla="*/ 2171751 w 9586368"/>
              <a:gd name="connsiteY6851" fmla="*/ 1689149 h 6479439"/>
              <a:gd name="connsiteX6852" fmla="*/ 2167732 w 9586368"/>
              <a:gd name="connsiteY6852" fmla="*/ 1693188 h 6479439"/>
              <a:gd name="connsiteX6853" fmla="*/ 2157821 w 9586368"/>
              <a:gd name="connsiteY6853" fmla="*/ 1693188 h 6479439"/>
              <a:gd name="connsiteX6854" fmla="*/ 2153803 w 9586368"/>
              <a:gd name="connsiteY6854" fmla="*/ 1689149 h 6479439"/>
              <a:gd name="connsiteX6855" fmla="*/ 2153803 w 9586368"/>
              <a:gd name="connsiteY6855" fmla="*/ 1679279 h 6479439"/>
              <a:gd name="connsiteX6856" fmla="*/ 243346 w 9586368"/>
              <a:gd name="connsiteY6856" fmla="*/ 1675216 h 6479439"/>
              <a:gd name="connsiteX6857" fmla="*/ 253257 w 9586368"/>
              <a:gd name="connsiteY6857" fmla="*/ 1675216 h 6479439"/>
              <a:gd name="connsiteX6858" fmla="*/ 257276 w 9586368"/>
              <a:gd name="connsiteY6858" fmla="*/ 1679254 h 6479439"/>
              <a:gd name="connsiteX6859" fmla="*/ 257276 w 9586368"/>
              <a:gd name="connsiteY6859" fmla="*/ 1689125 h 6479439"/>
              <a:gd name="connsiteX6860" fmla="*/ 253257 w 9586368"/>
              <a:gd name="connsiteY6860" fmla="*/ 1693164 h 6479439"/>
              <a:gd name="connsiteX6861" fmla="*/ 243346 w 9586368"/>
              <a:gd name="connsiteY6861" fmla="*/ 1693164 h 6479439"/>
              <a:gd name="connsiteX6862" fmla="*/ 239327 w 9586368"/>
              <a:gd name="connsiteY6862" fmla="*/ 1689125 h 6479439"/>
              <a:gd name="connsiteX6863" fmla="*/ 239327 w 9586368"/>
              <a:gd name="connsiteY6863" fmla="*/ 1679254 h 6479439"/>
              <a:gd name="connsiteX6864" fmla="*/ 4034 w 9586368"/>
              <a:gd name="connsiteY6864" fmla="*/ 1675216 h 6479439"/>
              <a:gd name="connsiteX6865" fmla="*/ 13943 w 9586368"/>
              <a:gd name="connsiteY6865" fmla="*/ 1675216 h 6479439"/>
              <a:gd name="connsiteX6866" fmla="*/ 17962 w 9586368"/>
              <a:gd name="connsiteY6866" fmla="*/ 1679254 h 6479439"/>
              <a:gd name="connsiteX6867" fmla="*/ 17962 w 9586368"/>
              <a:gd name="connsiteY6867" fmla="*/ 1689125 h 6479439"/>
              <a:gd name="connsiteX6868" fmla="*/ 13943 w 9586368"/>
              <a:gd name="connsiteY6868" fmla="*/ 1693164 h 6479439"/>
              <a:gd name="connsiteX6869" fmla="*/ 4034 w 9586368"/>
              <a:gd name="connsiteY6869" fmla="*/ 1693164 h 6479439"/>
              <a:gd name="connsiteX6870" fmla="*/ 14 w 9586368"/>
              <a:gd name="connsiteY6870" fmla="*/ 1689125 h 6479439"/>
              <a:gd name="connsiteX6871" fmla="*/ 14 w 9586368"/>
              <a:gd name="connsiteY6871" fmla="*/ 1679254 h 6479439"/>
              <a:gd name="connsiteX6872" fmla="*/ 721972 w 9586368"/>
              <a:gd name="connsiteY6872" fmla="*/ 1675216 h 6479439"/>
              <a:gd name="connsiteX6873" fmla="*/ 731882 w 9586368"/>
              <a:gd name="connsiteY6873" fmla="*/ 1675216 h 6479439"/>
              <a:gd name="connsiteX6874" fmla="*/ 735902 w 9586368"/>
              <a:gd name="connsiteY6874" fmla="*/ 1679254 h 6479439"/>
              <a:gd name="connsiteX6875" fmla="*/ 735902 w 9586368"/>
              <a:gd name="connsiteY6875" fmla="*/ 1689125 h 6479439"/>
              <a:gd name="connsiteX6876" fmla="*/ 731882 w 9586368"/>
              <a:gd name="connsiteY6876" fmla="*/ 1693164 h 6479439"/>
              <a:gd name="connsiteX6877" fmla="*/ 721972 w 9586368"/>
              <a:gd name="connsiteY6877" fmla="*/ 1693164 h 6479439"/>
              <a:gd name="connsiteX6878" fmla="*/ 717954 w 9586368"/>
              <a:gd name="connsiteY6878" fmla="*/ 1689125 h 6479439"/>
              <a:gd name="connsiteX6879" fmla="*/ 717954 w 9586368"/>
              <a:gd name="connsiteY6879" fmla="*/ 1679254 h 6479439"/>
              <a:gd name="connsiteX6880" fmla="*/ 482660 w 9586368"/>
              <a:gd name="connsiteY6880" fmla="*/ 1675216 h 6479439"/>
              <a:gd name="connsiteX6881" fmla="*/ 492571 w 9586368"/>
              <a:gd name="connsiteY6881" fmla="*/ 1675216 h 6479439"/>
              <a:gd name="connsiteX6882" fmla="*/ 496589 w 9586368"/>
              <a:gd name="connsiteY6882" fmla="*/ 1679254 h 6479439"/>
              <a:gd name="connsiteX6883" fmla="*/ 496589 w 9586368"/>
              <a:gd name="connsiteY6883" fmla="*/ 1689125 h 6479439"/>
              <a:gd name="connsiteX6884" fmla="*/ 492571 w 9586368"/>
              <a:gd name="connsiteY6884" fmla="*/ 1693164 h 6479439"/>
              <a:gd name="connsiteX6885" fmla="*/ 482660 w 9586368"/>
              <a:gd name="connsiteY6885" fmla="*/ 1693164 h 6479439"/>
              <a:gd name="connsiteX6886" fmla="*/ 478641 w 9586368"/>
              <a:gd name="connsiteY6886" fmla="*/ 1689125 h 6479439"/>
              <a:gd name="connsiteX6887" fmla="*/ 478641 w 9586368"/>
              <a:gd name="connsiteY6887" fmla="*/ 1679254 h 6479439"/>
              <a:gd name="connsiteX6888" fmla="*/ 2393104 w 9586368"/>
              <a:gd name="connsiteY6888" fmla="*/ 1436001 h 6479439"/>
              <a:gd name="connsiteX6889" fmla="*/ 2403015 w 9586368"/>
              <a:gd name="connsiteY6889" fmla="*/ 1436001 h 6479439"/>
              <a:gd name="connsiteX6890" fmla="*/ 2407034 w 9586368"/>
              <a:gd name="connsiteY6890" fmla="*/ 1440038 h 6479439"/>
              <a:gd name="connsiteX6891" fmla="*/ 2407034 w 9586368"/>
              <a:gd name="connsiteY6891" fmla="*/ 1449910 h 6479439"/>
              <a:gd name="connsiteX6892" fmla="*/ 2403015 w 9586368"/>
              <a:gd name="connsiteY6892" fmla="*/ 1453949 h 6479439"/>
              <a:gd name="connsiteX6893" fmla="*/ 2393104 w 9586368"/>
              <a:gd name="connsiteY6893" fmla="*/ 1453949 h 6479439"/>
              <a:gd name="connsiteX6894" fmla="*/ 2389087 w 9586368"/>
              <a:gd name="connsiteY6894" fmla="*/ 1449910 h 6479439"/>
              <a:gd name="connsiteX6895" fmla="*/ 2389087 w 9586368"/>
              <a:gd name="connsiteY6895" fmla="*/ 1440038 h 6479439"/>
              <a:gd name="connsiteX6896" fmla="*/ 3350359 w 9586368"/>
              <a:gd name="connsiteY6896" fmla="*/ 1436000 h 6479439"/>
              <a:gd name="connsiteX6897" fmla="*/ 3360268 w 9586368"/>
              <a:gd name="connsiteY6897" fmla="*/ 1436000 h 6479439"/>
              <a:gd name="connsiteX6898" fmla="*/ 3364287 w 9586368"/>
              <a:gd name="connsiteY6898" fmla="*/ 1440038 h 6479439"/>
              <a:gd name="connsiteX6899" fmla="*/ 3364287 w 9586368"/>
              <a:gd name="connsiteY6899" fmla="*/ 1449909 h 6479439"/>
              <a:gd name="connsiteX6900" fmla="*/ 3360268 w 9586368"/>
              <a:gd name="connsiteY6900" fmla="*/ 1453949 h 6479439"/>
              <a:gd name="connsiteX6901" fmla="*/ 3350359 w 9586368"/>
              <a:gd name="connsiteY6901" fmla="*/ 1453949 h 6479439"/>
              <a:gd name="connsiteX6902" fmla="*/ 3346340 w 9586368"/>
              <a:gd name="connsiteY6902" fmla="*/ 1449909 h 6479439"/>
              <a:gd name="connsiteX6903" fmla="*/ 3346340 w 9586368"/>
              <a:gd name="connsiteY6903" fmla="*/ 1440038 h 6479439"/>
              <a:gd name="connsiteX6904" fmla="*/ 3111048 w 9586368"/>
              <a:gd name="connsiteY6904" fmla="*/ 1436000 h 6479439"/>
              <a:gd name="connsiteX6905" fmla="*/ 3120959 w 9586368"/>
              <a:gd name="connsiteY6905" fmla="*/ 1436000 h 6479439"/>
              <a:gd name="connsiteX6906" fmla="*/ 3124977 w 9586368"/>
              <a:gd name="connsiteY6906" fmla="*/ 1440038 h 6479439"/>
              <a:gd name="connsiteX6907" fmla="*/ 3124977 w 9586368"/>
              <a:gd name="connsiteY6907" fmla="*/ 1449910 h 6479439"/>
              <a:gd name="connsiteX6908" fmla="*/ 3120959 w 9586368"/>
              <a:gd name="connsiteY6908" fmla="*/ 1453949 h 6479439"/>
              <a:gd name="connsiteX6909" fmla="*/ 3111048 w 9586368"/>
              <a:gd name="connsiteY6909" fmla="*/ 1453949 h 6479439"/>
              <a:gd name="connsiteX6910" fmla="*/ 3107029 w 9586368"/>
              <a:gd name="connsiteY6910" fmla="*/ 1449910 h 6479439"/>
              <a:gd name="connsiteX6911" fmla="*/ 3107029 w 9586368"/>
              <a:gd name="connsiteY6911" fmla="*/ 1440038 h 6479439"/>
              <a:gd name="connsiteX6912" fmla="*/ 2871737 w 9586368"/>
              <a:gd name="connsiteY6912" fmla="*/ 1436000 h 6479439"/>
              <a:gd name="connsiteX6913" fmla="*/ 2881646 w 9586368"/>
              <a:gd name="connsiteY6913" fmla="*/ 1436000 h 6479439"/>
              <a:gd name="connsiteX6914" fmla="*/ 2885666 w 9586368"/>
              <a:gd name="connsiteY6914" fmla="*/ 1440038 h 6479439"/>
              <a:gd name="connsiteX6915" fmla="*/ 2885666 w 9586368"/>
              <a:gd name="connsiteY6915" fmla="*/ 1449910 h 6479439"/>
              <a:gd name="connsiteX6916" fmla="*/ 2881646 w 9586368"/>
              <a:gd name="connsiteY6916" fmla="*/ 1453949 h 6479439"/>
              <a:gd name="connsiteX6917" fmla="*/ 2871737 w 9586368"/>
              <a:gd name="connsiteY6917" fmla="*/ 1453949 h 6479439"/>
              <a:gd name="connsiteX6918" fmla="*/ 2867717 w 9586368"/>
              <a:gd name="connsiteY6918" fmla="*/ 1449910 h 6479439"/>
              <a:gd name="connsiteX6919" fmla="*/ 2867717 w 9586368"/>
              <a:gd name="connsiteY6919" fmla="*/ 1440038 h 6479439"/>
              <a:gd name="connsiteX6920" fmla="*/ 2632423 w 9586368"/>
              <a:gd name="connsiteY6920" fmla="*/ 1436000 h 6479439"/>
              <a:gd name="connsiteX6921" fmla="*/ 2642334 w 9586368"/>
              <a:gd name="connsiteY6921" fmla="*/ 1436000 h 6479439"/>
              <a:gd name="connsiteX6922" fmla="*/ 2646352 w 9586368"/>
              <a:gd name="connsiteY6922" fmla="*/ 1440038 h 6479439"/>
              <a:gd name="connsiteX6923" fmla="*/ 2646352 w 9586368"/>
              <a:gd name="connsiteY6923" fmla="*/ 1449910 h 6479439"/>
              <a:gd name="connsiteX6924" fmla="*/ 2642334 w 9586368"/>
              <a:gd name="connsiteY6924" fmla="*/ 1453949 h 6479439"/>
              <a:gd name="connsiteX6925" fmla="*/ 2632423 w 9586368"/>
              <a:gd name="connsiteY6925" fmla="*/ 1453949 h 6479439"/>
              <a:gd name="connsiteX6926" fmla="*/ 2628404 w 9586368"/>
              <a:gd name="connsiteY6926" fmla="*/ 1449910 h 6479439"/>
              <a:gd name="connsiteX6927" fmla="*/ 2628404 w 9586368"/>
              <a:gd name="connsiteY6927" fmla="*/ 1440038 h 6479439"/>
              <a:gd name="connsiteX6928" fmla="*/ 3589676 w 9586368"/>
              <a:gd name="connsiteY6928" fmla="*/ 1435986 h 6479439"/>
              <a:gd name="connsiteX6929" fmla="*/ 3599585 w 9586368"/>
              <a:gd name="connsiteY6929" fmla="*/ 1435986 h 6479439"/>
              <a:gd name="connsiteX6930" fmla="*/ 3603604 w 9586368"/>
              <a:gd name="connsiteY6930" fmla="*/ 1440024 h 6479439"/>
              <a:gd name="connsiteX6931" fmla="*/ 3603604 w 9586368"/>
              <a:gd name="connsiteY6931" fmla="*/ 1449895 h 6479439"/>
              <a:gd name="connsiteX6932" fmla="*/ 3599585 w 9586368"/>
              <a:gd name="connsiteY6932" fmla="*/ 1453934 h 6479439"/>
              <a:gd name="connsiteX6933" fmla="*/ 3589676 w 9586368"/>
              <a:gd name="connsiteY6933" fmla="*/ 1453934 h 6479439"/>
              <a:gd name="connsiteX6934" fmla="*/ 3585657 w 9586368"/>
              <a:gd name="connsiteY6934" fmla="*/ 1449895 h 6479439"/>
              <a:gd name="connsiteX6935" fmla="*/ 3585657 w 9586368"/>
              <a:gd name="connsiteY6935" fmla="*/ 1440024 h 6479439"/>
              <a:gd name="connsiteX6936" fmla="*/ 4546929 w 9586368"/>
              <a:gd name="connsiteY6936" fmla="*/ 1435986 h 6479439"/>
              <a:gd name="connsiteX6937" fmla="*/ 4556840 w 9586368"/>
              <a:gd name="connsiteY6937" fmla="*/ 1435986 h 6479439"/>
              <a:gd name="connsiteX6938" fmla="*/ 4560859 w 9586368"/>
              <a:gd name="connsiteY6938" fmla="*/ 1440024 h 6479439"/>
              <a:gd name="connsiteX6939" fmla="*/ 4560859 w 9586368"/>
              <a:gd name="connsiteY6939" fmla="*/ 1449895 h 6479439"/>
              <a:gd name="connsiteX6940" fmla="*/ 4556840 w 9586368"/>
              <a:gd name="connsiteY6940" fmla="*/ 1453934 h 6479439"/>
              <a:gd name="connsiteX6941" fmla="*/ 4546929 w 9586368"/>
              <a:gd name="connsiteY6941" fmla="*/ 1453934 h 6479439"/>
              <a:gd name="connsiteX6942" fmla="*/ 4542910 w 9586368"/>
              <a:gd name="connsiteY6942" fmla="*/ 1449895 h 6479439"/>
              <a:gd name="connsiteX6943" fmla="*/ 4542910 w 9586368"/>
              <a:gd name="connsiteY6943" fmla="*/ 1440024 h 6479439"/>
              <a:gd name="connsiteX6944" fmla="*/ 4307612 w 9586368"/>
              <a:gd name="connsiteY6944" fmla="*/ 1435986 h 6479439"/>
              <a:gd name="connsiteX6945" fmla="*/ 4317523 w 9586368"/>
              <a:gd name="connsiteY6945" fmla="*/ 1435986 h 6479439"/>
              <a:gd name="connsiteX6946" fmla="*/ 4321543 w 9586368"/>
              <a:gd name="connsiteY6946" fmla="*/ 1440024 h 6479439"/>
              <a:gd name="connsiteX6947" fmla="*/ 4321543 w 9586368"/>
              <a:gd name="connsiteY6947" fmla="*/ 1449895 h 6479439"/>
              <a:gd name="connsiteX6948" fmla="*/ 4317523 w 9586368"/>
              <a:gd name="connsiteY6948" fmla="*/ 1453934 h 6479439"/>
              <a:gd name="connsiteX6949" fmla="*/ 4307612 w 9586368"/>
              <a:gd name="connsiteY6949" fmla="*/ 1453934 h 6479439"/>
              <a:gd name="connsiteX6950" fmla="*/ 4303595 w 9586368"/>
              <a:gd name="connsiteY6950" fmla="*/ 1449895 h 6479439"/>
              <a:gd name="connsiteX6951" fmla="*/ 4303595 w 9586368"/>
              <a:gd name="connsiteY6951" fmla="*/ 1440024 h 6479439"/>
              <a:gd name="connsiteX6952" fmla="*/ 4068297 w 9586368"/>
              <a:gd name="connsiteY6952" fmla="*/ 1435986 h 6479439"/>
              <a:gd name="connsiteX6953" fmla="*/ 4078210 w 9586368"/>
              <a:gd name="connsiteY6953" fmla="*/ 1435986 h 6479439"/>
              <a:gd name="connsiteX6954" fmla="*/ 4082229 w 9586368"/>
              <a:gd name="connsiteY6954" fmla="*/ 1440024 h 6479439"/>
              <a:gd name="connsiteX6955" fmla="*/ 4082229 w 9586368"/>
              <a:gd name="connsiteY6955" fmla="*/ 1449895 h 6479439"/>
              <a:gd name="connsiteX6956" fmla="*/ 4078210 w 9586368"/>
              <a:gd name="connsiteY6956" fmla="*/ 1453934 h 6479439"/>
              <a:gd name="connsiteX6957" fmla="*/ 4068297 w 9586368"/>
              <a:gd name="connsiteY6957" fmla="*/ 1453934 h 6479439"/>
              <a:gd name="connsiteX6958" fmla="*/ 4064278 w 9586368"/>
              <a:gd name="connsiteY6958" fmla="*/ 1449895 h 6479439"/>
              <a:gd name="connsiteX6959" fmla="*/ 4064278 w 9586368"/>
              <a:gd name="connsiteY6959" fmla="*/ 1440024 h 6479439"/>
              <a:gd name="connsiteX6960" fmla="*/ 3828990 w 9586368"/>
              <a:gd name="connsiteY6960" fmla="*/ 1435986 h 6479439"/>
              <a:gd name="connsiteX6961" fmla="*/ 3838899 w 9586368"/>
              <a:gd name="connsiteY6961" fmla="*/ 1435986 h 6479439"/>
              <a:gd name="connsiteX6962" fmla="*/ 3842917 w 9586368"/>
              <a:gd name="connsiteY6962" fmla="*/ 1440024 h 6479439"/>
              <a:gd name="connsiteX6963" fmla="*/ 3842917 w 9586368"/>
              <a:gd name="connsiteY6963" fmla="*/ 1449895 h 6479439"/>
              <a:gd name="connsiteX6964" fmla="*/ 3838899 w 9586368"/>
              <a:gd name="connsiteY6964" fmla="*/ 1453934 h 6479439"/>
              <a:gd name="connsiteX6965" fmla="*/ 3828990 w 9586368"/>
              <a:gd name="connsiteY6965" fmla="*/ 1453934 h 6479439"/>
              <a:gd name="connsiteX6966" fmla="*/ 3824971 w 9586368"/>
              <a:gd name="connsiteY6966" fmla="*/ 1449895 h 6479439"/>
              <a:gd name="connsiteX6967" fmla="*/ 3824971 w 9586368"/>
              <a:gd name="connsiteY6967" fmla="*/ 1440024 h 6479439"/>
              <a:gd name="connsiteX6968" fmla="*/ 4786241 w 9586368"/>
              <a:gd name="connsiteY6968" fmla="*/ 1435972 h 6479439"/>
              <a:gd name="connsiteX6969" fmla="*/ 4796152 w 9586368"/>
              <a:gd name="connsiteY6969" fmla="*/ 1435972 h 6479439"/>
              <a:gd name="connsiteX6970" fmla="*/ 4800171 w 9586368"/>
              <a:gd name="connsiteY6970" fmla="*/ 1440010 h 6479439"/>
              <a:gd name="connsiteX6971" fmla="*/ 4800171 w 9586368"/>
              <a:gd name="connsiteY6971" fmla="*/ 1449881 h 6479439"/>
              <a:gd name="connsiteX6972" fmla="*/ 4796152 w 9586368"/>
              <a:gd name="connsiteY6972" fmla="*/ 1453920 h 6479439"/>
              <a:gd name="connsiteX6973" fmla="*/ 4786241 w 9586368"/>
              <a:gd name="connsiteY6973" fmla="*/ 1453920 h 6479439"/>
              <a:gd name="connsiteX6974" fmla="*/ 4782224 w 9586368"/>
              <a:gd name="connsiteY6974" fmla="*/ 1449881 h 6479439"/>
              <a:gd name="connsiteX6975" fmla="*/ 4782224 w 9586368"/>
              <a:gd name="connsiteY6975" fmla="*/ 1440010 h 6479439"/>
              <a:gd name="connsiteX6976" fmla="*/ 5743412 w 9586368"/>
              <a:gd name="connsiteY6976" fmla="*/ 1435971 h 6479439"/>
              <a:gd name="connsiteX6977" fmla="*/ 5753323 w 9586368"/>
              <a:gd name="connsiteY6977" fmla="*/ 1435971 h 6479439"/>
              <a:gd name="connsiteX6978" fmla="*/ 5757342 w 9586368"/>
              <a:gd name="connsiteY6978" fmla="*/ 1440010 h 6479439"/>
              <a:gd name="connsiteX6979" fmla="*/ 5757342 w 9586368"/>
              <a:gd name="connsiteY6979" fmla="*/ 1449880 h 6479439"/>
              <a:gd name="connsiteX6980" fmla="*/ 5753323 w 9586368"/>
              <a:gd name="connsiteY6980" fmla="*/ 1453919 h 6479439"/>
              <a:gd name="connsiteX6981" fmla="*/ 5743412 w 9586368"/>
              <a:gd name="connsiteY6981" fmla="*/ 1453919 h 6479439"/>
              <a:gd name="connsiteX6982" fmla="*/ 5739393 w 9586368"/>
              <a:gd name="connsiteY6982" fmla="*/ 1449880 h 6479439"/>
              <a:gd name="connsiteX6983" fmla="*/ 5739393 w 9586368"/>
              <a:gd name="connsiteY6983" fmla="*/ 1440010 h 6479439"/>
              <a:gd name="connsiteX6984" fmla="*/ 5504099 w 9586368"/>
              <a:gd name="connsiteY6984" fmla="*/ 1435971 h 6479439"/>
              <a:gd name="connsiteX6985" fmla="*/ 5514010 w 9586368"/>
              <a:gd name="connsiteY6985" fmla="*/ 1435971 h 6479439"/>
              <a:gd name="connsiteX6986" fmla="*/ 5518029 w 9586368"/>
              <a:gd name="connsiteY6986" fmla="*/ 1440010 h 6479439"/>
              <a:gd name="connsiteX6987" fmla="*/ 5518029 w 9586368"/>
              <a:gd name="connsiteY6987" fmla="*/ 1449881 h 6479439"/>
              <a:gd name="connsiteX6988" fmla="*/ 5514010 w 9586368"/>
              <a:gd name="connsiteY6988" fmla="*/ 1453919 h 6479439"/>
              <a:gd name="connsiteX6989" fmla="*/ 5504099 w 9586368"/>
              <a:gd name="connsiteY6989" fmla="*/ 1453919 h 6479439"/>
              <a:gd name="connsiteX6990" fmla="*/ 5500080 w 9586368"/>
              <a:gd name="connsiteY6990" fmla="*/ 1449881 h 6479439"/>
              <a:gd name="connsiteX6991" fmla="*/ 5500080 w 9586368"/>
              <a:gd name="connsiteY6991" fmla="*/ 1440010 h 6479439"/>
              <a:gd name="connsiteX6992" fmla="*/ 5264784 w 9586368"/>
              <a:gd name="connsiteY6992" fmla="*/ 1435971 h 6479439"/>
              <a:gd name="connsiteX6993" fmla="*/ 5274694 w 9586368"/>
              <a:gd name="connsiteY6993" fmla="*/ 1435971 h 6479439"/>
              <a:gd name="connsiteX6994" fmla="*/ 5278713 w 9586368"/>
              <a:gd name="connsiteY6994" fmla="*/ 1440010 h 6479439"/>
              <a:gd name="connsiteX6995" fmla="*/ 5278713 w 9586368"/>
              <a:gd name="connsiteY6995" fmla="*/ 1449881 h 6479439"/>
              <a:gd name="connsiteX6996" fmla="*/ 5274694 w 9586368"/>
              <a:gd name="connsiteY6996" fmla="*/ 1453920 h 6479439"/>
              <a:gd name="connsiteX6997" fmla="*/ 5264784 w 9586368"/>
              <a:gd name="connsiteY6997" fmla="*/ 1453920 h 6479439"/>
              <a:gd name="connsiteX6998" fmla="*/ 5260765 w 9586368"/>
              <a:gd name="connsiteY6998" fmla="*/ 1449881 h 6479439"/>
              <a:gd name="connsiteX6999" fmla="*/ 5260765 w 9586368"/>
              <a:gd name="connsiteY6999" fmla="*/ 1440010 h 6479439"/>
              <a:gd name="connsiteX7000" fmla="*/ 5025470 w 9586368"/>
              <a:gd name="connsiteY7000" fmla="*/ 1435971 h 6479439"/>
              <a:gd name="connsiteX7001" fmla="*/ 5035381 w 9586368"/>
              <a:gd name="connsiteY7001" fmla="*/ 1435971 h 6479439"/>
              <a:gd name="connsiteX7002" fmla="*/ 5039400 w 9586368"/>
              <a:gd name="connsiteY7002" fmla="*/ 1440010 h 6479439"/>
              <a:gd name="connsiteX7003" fmla="*/ 5039400 w 9586368"/>
              <a:gd name="connsiteY7003" fmla="*/ 1449881 h 6479439"/>
              <a:gd name="connsiteX7004" fmla="*/ 5035381 w 9586368"/>
              <a:gd name="connsiteY7004" fmla="*/ 1453920 h 6479439"/>
              <a:gd name="connsiteX7005" fmla="*/ 5025470 w 9586368"/>
              <a:gd name="connsiteY7005" fmla="*/ 1453920 h 6479439"/>
              <a:gd name="connsiteX7006" fmla="*/ 5021451 w 9586368"/>
              <a:gd name="connsiteY7006" fmla="*/ 1449881 h 6479439"/>
              <a:gd name="connsiteX7007" fmla="*/ 5021451 w 9586368"/>
              <a:gd name="connsiteY7007" fmla="*/ 1440010 h 6479439"/>
              <a:gd name="connsiteX7008" fmla="*/ 5982729 w 9586368"/>
              <a:gd name="connsiteY7008" fmla="*/ 1435958 h 6479439"/>
              <a:gd name="connsiteX7009" fmla="*/ 5992639 w 9586368"/>
              <a:gd name="connsiteY7009" fmla="*/ 1435958 h 6479439"/>
              <a:gd name="connsiteX7010" fmla="*/ 5996658 w 9586368"/>
              <a:gd name="connsiteY7010" fmla="*/ 1439995 h 6479439"/>
              <a:gd name="connsiteX7011" fmla="*/ 5996658 w 9586368"/>
              <a:gd name="connsiteY7011" fmla="*/ 1449866 h 6479439"/>
              <a:gd name="connsiteX7012" fmla="*/ 5992639 w 9586368"/>
              <a:gd name="connsiteY7012" fmla="*/ 1453905 h 6479439"/>
              <a:gd name="connsiteX7013" fmla="*/ 5982729 w 9586368"/>
              <a:gd name="connsiteY7013" fmla="*/ 1453905 h 6479439"/>
              <a:gd name="connsiteX7014" fmla="*/ 5978710 w 9586368"/>
              <a:gd name="connsiteY7014" fmla="*/ 1449866 h 6479439"/>
              <a:gd name="connsiteX7015" fmla="*/ 5978710 w 9586368"/>
              <a:gd name="connsiteY7015" fmla="*/ 1439995 h 6479439"/>
              <a:gd name="connsiteX7016" fmla="*/ 6939983 w 9586368"/>
              <a:gd name="connsiteY7016" fmla="*/ 1435956 h 6479439"/>
              <a:gd name="connsiteX7017" fmla="*/ 6949894 w 9586368"/>
              <a:gd name="connsiteY7017" fmla="*/ 1435956 h 6479439"/>
              <a:gd name="connsiteX7018" fmla="*/ 6953913 w 9586368"/>
              <a:gd name="connsiteY7018" fmla="*/ 1439995 h 6479439"/>
              <a:gd name="connsiteX7019" fmla="*/ 6953913 w 9586368"/>
              <a:gd name="connsiteY7019" fmla="*/ 1449865 h 6479439"/>
              <a:gd name="connsiteX7020" fmla="*/ 6949894 w 9586368"/>
              <a:gd name="connsiteY7020" fmla="*/ 1453905 h 6479439"/>
              <a:gd name="connsiteX7021" fmla="*/ 6939983 w 9586368"/>
              <a:gd name="connsiteY7021" fmla="*/ 1453905 h 6479439"/>
              <a:gd name="connsiteX7022" fmla="*/ 6935964 w 9586368"/>
              <a:gd name="connsiteY7022" fmla="*/ 1449865 h 6479439"/>
              <a:gd name="connsiteX7023" fmla="*/ 6935964 w 9586368"/>
              <a:gd name="connsiteY7023" fmla="*/ 1439995 h 6479439"/>
              <a:gd name="connsiteX7024" fmla="*/ 6700670 w 9586368"/>
              <a:gd name="connsiteY7024" fmla="*/ 1435956 h 6479439"/>
              <a:gd name="connsiteX7025" fmla="*/ 6710581 w 9586368"/>
              <a:gd name="connsiteY7025" fmla="*/ 1435956 h 6479439"/>
              <a:gd name="connsiteX7026" fmla="*/ 6714600 w 9586368"/>
              <a:gd name="connsiteY7026" fmla="*/ 1439995 h 6479439"/>
              <a:gd name="connsiteX7027" fmla="*/ 6714600 w 9586368"/>
              <a:gd name="connsiteY7027" fmla="*/ 1449866 h 6479439"/>
              <a:gd name="connsiteX7028" fmla="*/ 6710581 w 9586368"/>
              <a:gd name="connsiteY7028" fmla="*/ 1453905 h 6479439"/>
              <a:gd name="connsiteX7029" fmla="*/ 6700670 w 9586368"/>
              <a:gd name="connsiteY7029" fmla="*/ 1453905 h 6479439"/>
              <a:gd name="connsiteX7030" fmla="*/ 6696651 w 9586368"/>
              <a:gd name="connsiteY7030" fmla="*/ 1449866 h 6479439"/>
              <a:gd name="connsiteX7031" fmla="*/ 6696651 w 9586368"/>
              <a:gd name="connsiteY7031" fmla="*/ 1439995 h 6479439"/>
              <a:gd name="connsiteX7032" fmla="*/ 6461356 w 9586368"/>
              <a:gd name="connsiteY7032" fmla="*/ 1435956 h 6479439"/>
              <a:gd name="connsiteX7033" fmla="*/ 6471266 w 9586368"/>
              <a:gd name="connsiteY7033" fmla="*/ 1435956 h 6479439"/>
              <a:gd name="connsiteX7034" fmla="*/ 6475285 w 9586368"/>
              <a:gd name="connsiteY7034" fmla="*/ 1439995 h 6479439"/>
              <a:gd name="connsiteX7035" fmla="*/ 6475285 w 9586368"/>
              <a:gd name="connsiteY7035" fmla="*/ 1449866 h 6479439"/>
              <a:gd name="connsiteX7036" fmla="*/ 6471266 w 9586368"/>
              <a:gd name="connsiteY7036" fmla="*/ 1453905 h 6479439"/>
              <a:gd name="connsiteX7037" fmla="*/ 6461356 w 9586368"/>
              <a:gd name="connsiteY7037" fmla="*/ 1453905 h 6479439"/>
              <a:gd name="connsiteX7038" fmla="*/ 6457337 w 9586368"/>
              <a:gd name="connsiteY7038" fmla="*/ 1449866 h 6479439"/>
              <a:gd name="connsiteX7039" fmla="*/ 6457337 w 9586368"/>
              <a:gd name="connsiteY7039" fmla="*/ 1439995 h 6479439"/>
              <a:gd name="connsiteX7040" fmla="*/ 6222042 w 9586368"/>
              <a:gd name="connsiteY7040" fmla="*/ 1435956 h 6479439"/>
              <a:gd name="connsiteX7041" fmla="*/ 6231952 w 9586368"/>
              <a:gd name="connsiteY7041" fmla="*/ 1435956 h 6479439"/>
              <a:gd name="connsiteX7042" fmla="*/ 6235971 w 9586368"/>
              <a:gd name="connsiteY7042" fmla="*/ 1439995 h 6479439"/>
              <a:gd name="connsiteX7043" fmla="*/ 6235971 w 9586368"/>
              <a:gd name="connsiteY7043" fmla="*/ 1449866 h 6479439"/>
              <a:gd name="connsiteX7044" fmla="*/ 6231952 w 9586368"/>
              <a:gd name="connsiteY7044" fmla="*/ 1453905 h 6479439"/>
              <a:gd name="connsiteX7045" fmla="*/ 6222042 w 9586368"/>
              <a:gd name="connsiteY7045" fmla="*/ 1453905 h 6479439"/>
              <a:gd name="connsiteX7046" fmla="*/ 6218023 w 9586368"/>
              <a:gd name="connsiteY7046" fmla="*/ 1449866 h 6479439"/>
              <a:gd name="connsiteX7047" fmla="*/ 6218023 w 9586368"/>
              <a:gd name="connsiteY7047" fmla="*/ 1439995 h 6479439"/>
              <a:gd name="connsiteX7048" fmla="*/ 7179298 w 9586368"/>
              <a:gd name="connsiteY7048" fmla="*/ 1435943 h 6479439"/>
              <a:gd name="connsiteX7049" fmla="*/ 7189209 w 9586368"/>
              <a:gd name="connsiteY7049" fmla="*/ 1435943 h 6479439"/>
              <a:gd name="connsiteX7050" fmla="*/ 7193228 w 9586368"/>
              <a:gd name="connsiteY7050" fmla="*/ 1439981 h 6479439"/>
              <a:gd name="connsiteX7051" fmla="*/ 7193228 w 9586368"/>
              <a:gd name="connsiteY7051" fmla="*/ 1449852 h 6479439"/>
              <a:gd name="connsiteX7052" fmla="*/ 7189209 w 9586368"/>
              <a:gd name="connsiteY7052" fmla="*/ 1453891 h 6479439"/>
              <a:gd name="connsiteX7053" fmla="*/ 7179298 w 9586368"/>
              <a:gd name="connsiteY7053" fmla="*/ 1453891 h 6479439"/>
              <a:gd name="connsiteX7054" fmla="*/ 7175279 w 9586368"/>
              <a:gd name="connsiteY7054" fmla="*/ 1449852 h 6479439"/>
              <a:gd name="connsiteX7055" fmla="*/ 7175279 w 9586368"/>
              <a:gd name="connsiteY7055" fmla="*/ 1439981 h 6479439"/>
              <a:gd name="connsiteX7056" fmla="*/ 8136553 w 9586368"/>
              <a:gd name="connsiteY7056" fmla="*/ 1435943 h 6479439"/>
              <a:gd name="connsiteX7057" fmla="*/ 8146464 w 9586368"/>
              <a:gd name="connsiteY7057" fmla="*/ 1435943 h 6479439"/>
              <a:gd name="connsiteX7058" fmla="*/ 8150483 w 9586368"/>
              <a:gd name="connsiteY7058" fmla="*/ 1439980 h 6479439"/>
              <a:gd name="connsiteX7059" fmla="*/ 8150483 w 9586368"/>
              <a:gd name="connsiteY7059" fmla="*/ 1449851 h 6479439"/>
              <a:gd name="connsiteX7060" fmla="*/ 8146464 w 9586368"/>
              <a:gd name="connsiteY7060" fmla="*/ 1453890 h 6479439"/>
              <a:gd name="connsiteX7061" fmla="*/ 8136553 w 9586368"/>
              <a:gd name="connsiteY7061" fmla="*/ 1453890 h 6479439"/>
              <a:gd name="connsiteX7062" fmla="*/ 8132534 w 9586368"/>
              <a:gd name="connsiteY7062" fmla="*/ 1449851 h 6479439"/>
              <a:gd name="connsiteX7063" fmla="*/ 8132534 w 9586368"/>
              <a:gd name="connsiteY7063" fmla="*/ 1439980 h 6479439"/>
              <a:gd name="connsiteX7064" fmla="*/ 7897241 w 9586368"/>
              <a:gd name="connsiteY7064" fmla="*/ 1435943 h 6479439"/>
              <a:gd name="connsiteX7065" fmla="*/ 7907151 w 9586368"/>
              <a:gd name="connsiteY7065" fmla="*/ 1435943 h 6479439"/>
              <a:gd name="connsiteX7066" fmla="*/ 7911170 w 9586368"/>
              <a:gd name="connsiteY7066" fmla="*/ 1439980 h 6479439"/>
              <a:gd name="connsiteX7067" fmla="*/ 7911170 w 9586368"/>
              <a:gd name="connsiteY7067" fmla="*/ 1449852 h 6479439"/>
              <a:gd name="connsiteX7068" fmla="*/ 7907151 w 9586368"/>
              <a:gd name="connsiteY7068" fmla="*/ 1453890 h 6479439"/>
              <a:gd name="connsiteX7069" fmla="*/ 7897241 w 9586368"/>
              <a:gd name="connsiteY7069" fmla="*/ 1453890 h 6479439"/>
              <a:gd name="connsiteX7070" fmla="*/ 7893222 w 9586368"/>
              <a:gd name="connsiteY7070" fmla="*/ 1449852 h 6479439"/>
              <a:gd name="connsiteX7071" fmla="*/ 7893222 w 9586368"/>
              <a:gd name="connsiteY7071" fmla="*/ 1439980 h 6479439"/>
              <a:gd name="connsiteX7072" fmla="*/ 7657926 w 9586368"/>
              <a:gd name="connsiteY7072" fmla="*/ 1435943 h 6479439"/>
              <a:gd name="connsiteX7073" fmla="*/ 7667836 w 9586368"/>
              <a:gd name="connsiteY7073" fmla="*/ 1435943 h 6479439"/>
              <a:gd name="connsiteX7074" fmla="*/ 7671855 w 9586368"/>
              <a:gd name="connsiteY7074" fmla="*/ 1439980 h 6479439"/>
              <a:gd name="connsiteX7075" fmla="*/ 7671855 w 9586368"/>
              <a:gd name="connsiteY7075" fmla="*/ 1449852 h 6479439"/>
              <a:gd name="connsiteX7076" fmla="*/ 7667836 w 9586368"/>
              <a:gd name="connsiteY7076" fmla="*/ 1453891 h 6479439"/>
              <a:gd name="connsiteX7077" fmla="*/ 7657926 w 9586368"/>
              <a:gd name="connsiteY7077" fmla="*/ 1453891 h 6479439"/>
              <a:gd name="connsiteX7078" fmla="*/ 7653906 w 9586368"/>
              <a:gd name="connsiteY7078" fmla="*/ 1449852 h 6479439"/>
              <a:gd name="connsiteX7079" fmla="*/ 7653906 w 9586368"/>
              <a:gd name="connsiteY7079" fmla="*/ 1439980 h 6479439"/>
              <a:gd name="connsiteX7080" fmla="*/ 7418611 w 9586368"/>
              <a:gd name="connsiteY7080" fmla="*/ 1435943 h 6479439"/>
              <a:gd name="connsiteX7081" fmla="*/ 7428521 w 9586368"/>
              <a:gd name="connsiteY7081" fmla="*/ 1435943 h 6479439"/>
              <a:gd name="connsiteX7082" fmla="*/ 7432540 w 9586368"/>
              <a:gd name="connsiteY7082" fmla="*/ 1439980 h 6479439"/>
              <a:gd name="connsiteX7083" fmla="*/ 7432540 w 9586368"/>
              <a:gd name="connsiteY7083" fmla="*/ 1449852 h 6479439"/>
              <a:gd name="connsiteX7084" fmla="*/ 7428521 w 9586368"/>
              <a:gd name="connsiteY7084" fmla="*/ 1453891 h 6479439"/>
              <a:gd name="connsiteX7085" fmla="*/ 7418611 w 9586368"/>
              <a:gd name="connsiteY7085" fmla="*/ 1453891 h 6479439"/>
              <a:gd name="connsiteX7086" fmla="*/ 7414592 w 9586368"/>
              <a:gd name="connsiteY7086" fmla="*/ 1449852 h 6479439"/>
              <a:gd name="connsiteX7087" fmla="*/ 7414592 w 9586368"/>
              <a:gd name="connsiteY7087" fmla="*/ 1439980 h 6479439"/>
              <a:gd name="connsiteX7088" fmla="*/ 8375869 w 9586368"/>
              <a:gd name="connsiteY7088" fmla="*/ 1435928 h 6479439"/>
              <a:gd name="connsiteX7089" fmla="*/ 8385779 w 9586368"/>
              <a:gd name="connsiteY7089" fmla="*/ 1435928 h 6479439"/>
              <a:gd name="connsiteX7090" fmla="*/ 8389799 w 9586368"/>
              <a:gd name="connsiteY7090" fmla="*/ 1439967 h 6479439"/>
              <a:gd name="connsiteX7091" fmla="*/ 8389799 w 9586368"/>
              <a:gd name="connsiteY7091" fmla="*/ 1449837 h 6479439"/>
              <a:gd name="connsiteX7092" fmla="*/ 8385779 w 9586368"/>
              <a:gd name="connsiteY7092" fmla="*/ 1453877 h 6479439"/>
              <a:gd name="connsiteX7093" fmla="*/ 8375869 w 9586368"/>
              <a:gd name="connsiteY7093" fmla="*/ 1453877 h 6479439"/>
              <a:gd name="connsiteX7094" fmla="*/ 8371850 w 9586368"/>
              <a:gd name="connsiteY7094" fmla="*/ 1449837 h 6479439"/>
              <a:gd name="connsiteX7095" fmla="*/ 8371850 w 9586368"/>
              <a:gd name="connsiteY7095" fmla="*/ 1439967 h 6479439"/>
              <a:gd name="connsiteX7096" fmla="*/ 9333125 w 9586368"/>
              <a:gd name="connsiteY7096" fmla="*/ 1435928 h 6479439"/>
              <a:gd name="connsiteX7097" fmla="*/ 9343036 w 9586368"/>
              <a:gd name="connsiteY7097" fmla="*/ 1435928 h 6479439"/>
              <a:gd name="connsiteX7098" fmla="*/ 9347055 w 9586368"/>
              <a:gd name="connsiteY7098" fmla="*/ 1439967 h 6479439"/>
              <a:gd name="connsiteX7099" fmla="*/ 9347055 w 9586368"/>
              <a:gd name="connsiteY7099" fmla="*/ 1449836 h 6479439"/>
              <a:gd name="connsiteX7100" fmla="*/ 9343036 w 9586368"/>
              <a:gd name="connsiteY7100" fmla="*/ 1453876 h 6479439"/>
              <a:gd name="connsiteX7101" fmla="*/ 9333125 w 9586368"/>
              <a:gd name="connsiteY7101" fmla="*/ 1453876 h 6479439"/>
              <a:gd name="connsiteX7102" fmla="*/ 9329106 w 9586368"/>
              <a:gd name="connsiteY7102" fmla="*/ 1449836 h 6479439"/>
              <a:gd name="connsiteX7103" fmla="*/ 9329106 w 9586368"/>
              <a:gd name="connsiteY7103" fmla="*/ 1439967 h 6479439"/>
              <a:gd name="connsiteX7104" fmla="*/ 9093811 w 9586368"/>
              <a:gd name="connsiteY7104" fmla="*/ 1435928 h 6479439"/>
              <a:gd name="connsiteX7105" fmla="*/ 9103722 w 9586368"/>
              <a:gd name="connsiteY7105" fmla="*/ 1435928 h 6479439"/>
              <a:gd name="connsiteX7106" fmla="*/ 9107741 w 9586368"/>
              <a:gd name="connsiteY7106" fmla="*/ 1439967 h 6479439"/>
              <a:gd name="connsiteX7107" fmla="*/ 9107741 w 9586368"/>
              <a:gd name="connsiteY7107" fmla="*/ 1449837 h 6479439"/>
              <a:gd name="connsiteX7108" fmla="*/ 9103722 w 9586368"/>
              <a:gd name="connsiteY7108" fmla="*/ 1453876 h 6479439"/>
              <a:gd name="connsiteX7109" fmla="*/ 9093811 w 9586368"/>
              <a:gd name="connsiteY7109" fmla="*/ 1453876 h 6479439"/>
              <a:gd name="connsiteX7110" fmla="*/ 9089792 w 9586368"/>
              <a:gd name="connsiteY7110" fmla="*/ 1449837 h 6479439"/>
              <a:gd name="connsiteX7111" fmla="*/ 9089792 w 9586368"/>
              <a:gd name="connsiteY7111" fmla="*/ 1439967 h 6479439"/>
              <a:gd name="connsiteX7112" fmla="*/ 8854496 w 9586368"/>
              <a:gd name="connsiteY7112" fmla="*/ 1435928 h 6479439"/>
              <a:gd name="connsiteX7113" fmla="*/ 8864407 w 9586368"/>
              <a:gd name="connsiteY7113" fmla="*/ 1435928 h 6479439"/>
              <a:gd name="connsiteX7114" fmla="*/ 8868426 w 9586368"/>
              <a:gd name="connsiteY7114" fmla="*/ 1439967 h 6479439"/>
              <a:gd name="connsiteX7115" fmla="*/ 8868426 w 9586368"/>
              <a:gd name="connsiteY7115" fmla="*/ 1449837 h 6479439"/>
              <a:gd name="connsiteX7116" fmla="*/ 8864407 w 9586368"/>
              <a:gd name="connsiteY7116" fmla="*/ 1453877 h 6479439"/>
              <a:gd name="connsiteX7117" fmla="*/ 8854496 w 9586368"/>
              <a:gd name="connsiteY7117" fmla="*/ 1453877 h 6479439"/>
              <a:gd name="connsiteX7118" fmla="*/ 8850477 w 9586368"/>
              <a:gd name="connsiteY7118" fmla="*/ 1449837 h 6479439"/>
              <a:gd name="connsiteX7119" fmla="*/ 8850477 w 9586368"/>
              <a:gd name="connsiteY7119" fmla="*/ 1439967 h 6479439"/>
              <a:gd name="connsiteX7120" fmla="*/ 8615184 w 9586368"/>
              <a:gd name="connsiteY7120" fmla="*/ 1435928 h 6479439"/>
              <a:gd name="connsiteX7121" fmla="*/ 8625095 w 9586368"/>
              <a:gd name="connsiteY7121" fmla="*/ 1435928 h 6479439"/>
              <a:gd name="connsiteX7122" fmla="*/ 8629114 w 9586368"/>
              <a:gd name="connsiteY7122" fmla="*/ 1439967 h 6479439"/>
              <a:gd name="connsiteX7123" fmla="*/ 8629114 w 9586368"/>
              <a:gd name="connsiteY7123" fmla="*/ 1449837 h 6479439"/>
              <a:gd name="connsiteX7124" fmla="*/ 8625095 w 9586368"/>
              <a:gd name="connsiteY7124" fmla="*/ 1453877 h 6479439"/>
              <a:gd name="connsiteX7125" fmla="*/ 8615184 w 9586368"/>
              <a:gd name="connsiteY7125" fmla="*/ 1453877 h 6479439"/>
              <a:gd name="connsiteX7126" fmla="*/ 8611165 w 9586368"/>
              <a:gd name="connsiteY7126" fmla="*/ 1449837 h 6479439"/>
              <a:gd name="connsiteX7127" fmla="*/ 8611165 w 9586368"/>
              <a:gd name="connsiteY7127" fmla="*/ 1439967 h 6479439"/>
              <a:gd name="connsiteX7128" fmla="*/ 1679216 w 9586368"/>
              <a:gd name="connsiteY7128" fmla="*/ 1435922 h 6479439"/>
              <a:gd name="connsiteX7129" fmla="*/ 1689126 w 9586368"/>
              <a:gd name="connsiteY7129" fmla="*/ 1435922 h 6479439"/>
              <a:gd name="connsiteX7130" fmla="*/ 1693146 w 9586368"/>
              <a:gd name="connsiteY7130" fmla="*/ 1439960 h 6479439"/>
              <a:gd name="connsiteX7131" fmla="*/ 1693146 w 9586368"/>
              <a:gd name="connsiteY7131" fmla="*/ 1449831 h 6479439"/>
              <a:gd name="connsiteX7132" fmla="*/ 1689126 w 9586368"/>
              <a:gd name="connsiteY7132" fmla="*/ 1453870 h 6479439"/>
              <a:gd name="connsiteX7133" fmla="*/ 1679216 w 9586368"/>
              <a:gd name="connsiteY7133" fmla="*/ 1453870 h 6479439"/>
              <a:gd name="connsiteX7134" fmla="*/ 1675198 w 9586368"/>
              <a:gd name="connsiteY7134" fmla="*/ 1449831 h 6479439"/>
              <a:gd name="connsiteX7135" fmla="*/ 1675198 w 9586368"/>
              <a:gd name="connsiteY7135" fmla="*/ 1439960 h 6479439"/>
              <a:gd name="connsiteX7136" fmla="*/ 1439900 w 9586368"/>
              <a:gd name="connsiteY7136" fmla="*/ 1435922 h 6479439"/>
              <a:gd name="connsiteX7137" fmla="*/ 1449810 w 9586368"/>
              <a:gd name="connsiteY7137" fmla="*/ 1435922 h 6479439"/>
              <a:gd name="connsiteX7138" fmla="*/ 1453828 w 9586368"/>
              <a:gd name="connsiteY7138" fmla="*/ 1439960 h 6479439"/>
              <a:gd name="connsiteX7139" fmla="*/ 1453828 w 9586368"/>
              <a:gd name="connsiteY7139" fmla="*/ 1449831 h 6479439"/>
              <a:gd name="connsiteX7140" fmla="*/ 1449810 w 9586368"/>
              <a:gd name="connsiteY7140" fmla="*/ 1453870 h 6479439"/>
              <a:gd name="connsiteX7141" fmla="*/ 1439900 w 9586368"/>
              <a:gd name="connsiteY7141" fmla="*/ 1453870 h 6479439"/>
              <a:gd name="connsiteX7142" fmla="*/ 1435880 w 9586368"/>
              <a:gd name="connsiteY7142" fmla="*/ 1449831 h 6479439"/>
              <a:gd name="connsiteX7143" fmla="*/ 1435880 w 9586368"/>
              <a:gd name="connsiteY7143" fmla="*/ 1439960 h 6479439"/>
              <a:gd name="connsiteX7144" fmla="*/ 1200583 w 9586368"/>
              <a:gd name="connsiteY7144" fmla="*/ 1435922 h 6479439"/>
              <a:gd name="connsiteX7145" fmla="*/ 1210493 w 9586368"/>
              <a:gd name="connsiteY7145" fmla="*/ 1435922 h 6479439"/>
              <a:gd name="connsiteX7146" fmla="*/ 1214512 w 9586368"/>
              <a:gd name="connsiteY7146" fmla="*/ 1439960 h 6479439"/>
              <a:gd name="connsiteX7147" fmla="*/ 1214512 w 9586368"/>
              <a:gd name="connsiteY7147" fmla="*/ 1449831 h 6479439"/>
              <a:gd name="connsiteX7148" fmla="*/ 1210493 w 9586368"/>
              <a:gd name="connsiteY7148" fmla="*/ 1453870 h 6479439"/>
              <a:gd name="connsiteX7149" fmla="*/ 1200583 w 9586368"/>
              <a:gd name="connsiteY7149" fmla="*/ 1453870 h 6479439"/>
              <a:gd name="connsiteX7150" fmla="*/ 1196564 w 9586368"/>
              <a:gd name="connsiteY7150" fmla="*/ 1449831 h 6479439"/>
              <a:gd name="connsiteX7151" fmla="*/ 1196564 w 9586368"/>
              <a:gd name="connsiteY7151" fmla="*/ 1439960 h 6479439"/>
              <a:gd name="connsiteX7152" fmla="*/ 961270 w 9586368"/>
              <a:gd name="connsiteY7152" fmla="*/ 1435922 h 6479439"/>
              <a:gd name="connsiteX7153" fmla="*/ 971181 w 9586368"/>
              <a:gd name="connsiteY7153" fmla="*/ 1435922 h 6479439"/>
              <a:gd name="connsiteX7154" fmla="*/ 975200 w 9586368"/>
              <a:gd name="connsiteY7154" fmla="*/ 1439960 h 6479439"/>
              <a:gd name="connsiteX7155" fmla="*/ 975200 w 9586368"/>
              <a:gd name="connsiteY7155" fmla="*/ 1449831 h 6479439"/>
              <a:gd name="connsiteX7156" fmla="*/ 971181 w 9586368"/>
              <a:gd name="connsiteY7156" fmla="*/ 1453870 h 6479439"/>
              <a:gd name="connsiteX7157" fmla="*/ 961270 w 9586368"/>
              <a:gd name="connsiteY7157" fmla="*/ 1453870 h 6479439"/>
              <a:gd name="connsiteX7158" fmla="*/ 957252 w 9586368"/>
              <a:gd name="connsiteY7158" fmla="*/ 1449831 h 6479439"/>
              <a:gd name="connsiteX7159" fmla="*/ 957252 w 9586368"/>
              <a:gd name="connsiteY7159" fmla="*/ 1439960 h 6479439"/>
              <a:gd name="connsiteX7160" fmla="*/ 9572438 w 9586368"/>
              <a:gd name="connsiteY7160" fmla="*/ 1435914 h 6479439"/>
              <a:gd name="connsiteX7161" fmla="*/ 9582349 w 9586368"/>
              <a:gd name="connsiteY7161" fmla="*/ 1435914 h 6479439"/>
              <a:gd name="connsiteX7162" fmla="*/ 9586368 w 9586368"/>
              <a:gd name="connsiteY7162" fmla="*/ 1439952 h 6479439"/>
              <a:gd name="connsiteX7163" fmla="*/ 9586368 w 9586368"/>
              <a:gd name="connsiteY7163" fmla="*/ 1449823 h 6479439"/>
              <a:gd name="connsiteX7164" fmla="*/ 9582349 w 9586368"/>
              <a:gd name="connsiteY7164" fmla="*/ 1453862 h 6479439"/>
              <a:gd name="connsiteX7165" fmla="*/ 9572438 w 9586368"/>
              <a:gd name="connsiteY7165" fmla="*/ 1453862 h 6479439"/>
              <a:gd name="connsiteX7166" fmla="*/ 9568419 w 9586368"/>
              <a:gd name="connsiteY7166" fmla="*/ 1449823 h 6479439"/>
              <a:gd name="connsiteX7167" fmla="*/ 9568419 w 9586368"/>
              <a:gd name="connsiteY7167" fmla="*/ 1439952 h 6479439"/>
              <a:gd name="connsiteX7168" fmla="*/ 1918514 w 9586368"/>
              <a:gd name="connsiteY7168" fmla="*/ 1435912 h 6479439"/>
              <a:gd name="connsiteX7169" fmla="*/ 1928424 w 9586368"/>
              <a:gd name="connsiteY7169" fmla="*/ 1435912 h 6479439"/>
              <a:gd name="connsiteX7170" fmla="*/ 1932443 w 9586368"/>
              <a:gd name="connsiteY7170" fmla="*/ 1439950 h 6479439"/>
              <a:gd name="connsiteX7171" fmla="*/ 1932443 w 9586368"/>
              <a:gd name="connsiteY7171" fmla="*/ 1449821 h 6479439"/>
              <a:gd name="connsiteX7172" fmla="*/ 1928424 w 9586368"/>
              <a:gd name="connsiteY7172" fmla="*/ 1453860 h 6479439"/>
              <a:gd name="connsiteX7173" fmla="*/ 1918514 w 9586368"/>
              <a:gd name="connsiteY7173" fmla="*/ 1453860 h 6479439"/>
              <a:gd name="connsiteX7174" fmla="*/ 1914494 w 9586368"/>
              <a:gd name="connsiteY7174" fmla="*/ 1449821 h 6479439"/>
              <a:gd name="connsiteX7175" fmla="*/ 1914494 w 9586368"/>
              <a:gd name="connsiteY7175" fmla="*/ 1439950 h 6479439"/>
              <a:gd name="connsiteX7176" fmla="*/ 2157823 w 9586368"/>
              <a:gd name="connsiteY7176" fmla="*/ 1435909 h 6479439"/>
              <a:gd name="connsiteX7177" fmla="*/ 2167733 w 9586368"/>
              <a:gd name="connsiteY7177" fmla="*/ 1435909 h 6479439"/>
              <a:gd name="connsiteX7178" fmla="*/ 2171751 w 9586368"/>
              <a:gd name="connsiteY7178" fmla="*/ 1439947 h 6479439"/>
              <a:gd name="connsiteX7179" fmla="*/ 2171751 w 9586368"/>
              <a:gd name="connsiteY7179" fmla="*/ 1449818 h 6479439"/>
              <a:gd name="connsiteX7180" fmla="*/ 2167733 w 9586368"/>
              <a:gd name="connsiteY7180" fmla="*/ 1453857 h 6479439"/>
              <a:gd name="connsiteX7181" fmla="*/ 2157823 w 9586368"/>
              <a:gd name="connsiteY7181" fmla="*/ 1453857 h 6479439"/>
              <a:gd name="connsiteX7182" fmla="*/ 2153803 w 9586368"/>
              <a:gd name="connsiteY7182" fmla="*/ 1449818 h 6479439"/>
              <a:gd name="connsiteX7183" fmla="*/ 2153803 w 9586368"/>
              <a:gd name="connsiteY7183" fmla="*/ 1439947 h 6479439"/>
              <a:gd name="connsiteX7184" fmla="*/ 243347 w 9586368"/>
              <a:gd name="connsiteY7184" fmla="*/ 1435883 h 6479439"/>
              <a:gd name="connsiteX7185" fmla="*/ 253257 w 9586368"/>
              <a:gd name="connsiteY7185" fmla="*/ 1435883 h 6479439"/>
              <a:gd name="connsiteX7186" fmla="*/ 257276 w 9586368"/>
              <a:gd name="connsiteY7186" fmla="*/ 1439920 h 6479439"/>
              <a:gd name="connsiteX7187" fmla="*/ 257276 w 9586368"/>
              <a:gd name="connsiteY7187" fmla="*/ 1449791 h 6479439"/>
              <a:gd name="connsiteX7188" fmla="*/ 253257 w 9586368"/>
              <a:gd name="connsiteY7188" fmla="*/ 1453830 h 6479439"/>
              <a:gd name="connsiteX7189" fmla="*/ 243347 w 9586368"/>
              <a:gd name="connsiteY7189" fmla="*/ 1453830 h 6479439"/>
              <a:gd name="connsiteX7190" fmla="*/ 239328 w 9586368"/>
              <a:gd name="connsiteY7190" fmla="*/ 1449791 h 6479439"/>
              <a:gd name="connsiteX7191" fmla="*/ 239328 w 9586368"/>
              <a:gd name="connsiteY7191" fmla="*/ 1439920 h 6479439"/>
              <a:gd name="connsiteX7192" fmla="*/ 4034 w 9586368"/>
              <a:gd name="connsiteY7192" fmla="*/ 1435883 h 6479439"/>
              <a:gd name="connsiteX7193" fmla="*/ 13944 w 9586368"/>
              <a:gd name="connsiteY7193" fmla="*/ 1435883 h 6479439"/>
              <a:gd name="connsiteX7194" fmla="*/ 17964 w 9586368"/>
              <a:gd name="connsiteY7194" fmla="*/ 1439920 h 6479439"/>
              <a:gd name="connsiteX7195" fmla="*/ 17964 w 9586368"/>
              <a:gd name="connsiteY7195" fmla="*/ 1449791 h 6479439"/>
              <a:gd name="connsiteX7196" fmla="*/ 13944 w 9586368"/>
              <a:gd name="connsiteY7196" fmla="*/ 1453830 h 6479439"/>
              <a:gd name="connsiteX7197" fmla="*/ 4034 w 9586368"/>
              <a:gd name="connsiteY7197" fmla="*/ 1453830 h 6479439"/>
              <a:gd name="connsiteX7198" fmla="*/ 15 w 9586368"/>
              <a:gd name="connsiteY7198" fmla="*/ 1449791 h 6479439"/>
              <a:gd name="connsiteX7199" fmla="*/ 15 w 9586368"/>
              <a:gd name="connsiteY7199" fmla="*/ 1439920 h 6479439"/>
              <a:gd name="connsiteX7200" fmla="*/ 721973 w 9586368"/>
              <a:gd name="connsiteY7200" fmla="*/ 1435882 h 6479439"/>
              <a:gd name="connsiteX7201" fmla="*/ 731883 w 9586368"/>
              <a:gd name="connsiteY7201" fmla="*/ 1435882 h 6479439"/>
              <a:gd name="connsiteX7202" fmla="*/ 735902 w 9586368"/>
              <a:gd name="connsiteY7202" fmla="*/ 1439920 h 6479439"/>
              <a:gd name="connsiteX7203" fmla="*/ 735902 w 9586368"/>
              <a:gd name="connsiteY7203" fmla="*/ 1449791 h 6479439"/>
              <a:gd name="connsiteX7204" fmla="*/ 731883 w 9586368"/>
              <a:gd name="connsiteY7204" fmla="*/ 1453830 h 6479439"/>
              <a:gd name="connsiteX7205" fmla="*/ 721973 w 9586368"/>
              <a:gd name="connsiteY7205" fmla="*/ 1453830 h 6479439"/>
              <a:gd name="connsiteX7206" fmla="*/ 717954 w 9586368"/>
              <a:gd name="connsiteY7206" fmla="*/ 1449791 h 6479439"/>
              <a:gd name="connsiteX7207" fmla="*/ 717954 w 9586368"/>
              <a:gd name="connsiteY7207" fmla="*/ 1439920 h 6479439"/>
              <a:gd name="connsiteX7208" fmla="*/ 482661 w 9586368"/>
              <a:gd name="connsiteY7208" fmla="*/ 1435882 h 6479439"/>
              <a:gd name="connsiteX7209" fmla="*/ 492571 w 9586368"/>
              <a:gd name="connsiteY7209" fmla="*/ 1435882 h 6479439"/>
              <a:gd name="connsiteX7210" fmla="*/ 496590 w 9586368"/>
              <a:gd name="connsiteY7210" fmla="*/ 1439920 h 6479439"/>
              <a:gd name="connsiteX7211" fmla="*/ 496590 w 9586368"/>
              <a:gd name="connsiteY7211" fmla="*/ 1449791 h 6479439"/>
              <a:gd name="connsiteX7212" fmla="*/ 492571 w 9586368"/>
              <a:gd name="connsiteY7212" fmla="*/ 1453830 h 6479439"/>
              <a:gd name="connsiteX7213" fmla="*/ 482661 w 9586368"/>
              <a:gd name="connsiteY7213" fmla="*/ 1453830 h 6479439"/>
              <a:gd name="connsiteX7214" fmla="*/ 478642 w 9586368"/>
              <a:gd name="connsiteY7214" fmla="*/ 1449791 h 6479439"/>
              <a:gd name="connsiteX7215" fmla="*/ 478642 w 9586368"/>
              <a:gd name="connsiteY7215" fmla="*/ 1439920 h 6479439"/>
              <a:gd name="connsiteX7216" fmla="*/ 3350359 w 9586368"/>
              <a:gd name="connsiteY7216" fmla="*/ 1196701 h 6479439"/>
              <a:gd name="connsiteX7217" fmla="*/ 3360268 w 9586368"/>
              <a:gd name="connsiteY7217" fmla="*/ 1196701 h 6479439"/>
              <a:gd name="connsiteX7218" fmla="*/ 3364287 w 9586368"/>
              <a:gd name="connsiteY7218" fmla="*/ 1200738 h 6479439"/>
              <a:gd name="connsiteX7219" fmla="*/ 3364287 w 9586368"/>
              <a:gd name="connsiteY7219" fmla="*/ 1210610 h 6479439"/>
              <a:gd name="connsiteX7220" fmla="*/ 3360268 w 9586368"/>
              <a:gd name="connsiteY7220" fmla="*/ 1214650 h 6479439"/>
              <a:gd name="connsiteX7221" fmla="*/ 3350359 w 9586368"/>
              <a:gd name="connsiteY7221" fmla="*/ 1214650 h 6479439"/>
              <a:gd name="connsiteX7222" fmla="*/ 3346340 w 9586368"/>
              <a:gd name="connsiteY7222" fmla="*/ 1210610 h 6479439"/>
              <a:gd name="connsiteX7223" fmla="*/ 3346340 w 9586368"/>
              <a:gd name="connsiteY7223" fmla="*/ 1200738 h 6479439"/>
              <a:gd name="connsiteX7224" fmla="*/ 3111048 w 9586368"/>
              <a:gd name="connsiteY7224" fmla="*/ 1196701 h 6479439"/>
              <a:gd name="connsiteX7225" fmla="*/ 3120959 w 9586368"/>
              <a:gd name="connsiteY7225" fmla="*/ 1196701 h 6479439"/>
              <a:gd name="connsiteX7226" fmla="*/ 3124977 w 9586368"/>
              <a:gd name="connsiteY7226" fmla="*/ 1200738 h 6479439"/>
              <a:gd name="connsiteX7227" fmla="*/ 3124977 w 9586368"/>
              <a:gd name="connsiteY7227" fmla="*/ 1210610 h 6479439"/>
              <a:gd name="connsiteX7228" fmla="*/ 3120959 w 9586368"/>
              <a:gd name="connsiteY7228" fmla="*/ 1214650 h 6479439"/>
              <a:gd name="connsiteX7229" fmla="*/ 3111048 w 9586368"/>
              <a:gd name="connsiteY7229" fmla="*/ 1214650 h 6479439"/>
              <a:gd name="connsiteX7230" fmla="*/ 3107029 w 9586368"/>
              <a:gd name="connsiteY7230" fmla="*/ 1210610 h 6479439"/>
              <a:gd name="connsiteX7231" fmla="*/ 3107029 w 9586368"/>
              <a:gd name="connsiteY7231" fmla="*/ 1200738 h 6479439"/>
              <a:gd name="connsiteX7232" fmla="*/ 2871737 w 9586368"/>
              <a:gd name="connsiteY7232" fmla="*/ 1196701 h 6479439"/>
              <a:gd name="connsiteX7233" fmla="*/ 2881646 w 9586368"/>
              <a:gd name="connsiteY7233" fmla="*/ 1196701 h 6479439"/>
              <a:gd name="connsiteX7234" fmla="*/ 2885666 w 9586368"/>
              <a:gd name="connsiteY7234" fmla="*/ 1200738 h 6479439"/>
              <a:gd name="connsiteX7235" fmla="*/ 2885666 w 9586368"/>
              <a:gd name="connsiteY7235" fmla="*/ 1210610 h 6479439"/>
              <a:gd name="connsiteX7236" fmla="*/ 2881646 w 9586368"/>
              <a:gd name="connsiteY7236" fmla="*/ 1214650 h 6479439"/>
              <a:gd name="connsiteX7237" fmla="*/ 2871737 w 9586368"/>
              <a:gd name="connsiteY7237" fmla="*/ 1214650 h 6479439"/>
              <a:gd name="connsiteX7238" fmla="*/ 2867717 w 9586368"/>
              <a:gd name="connsiteY7238" fmla="*/ 1210610 h 6479439"/>
              <a:gd name="connsiteX7239" fmla="*/ 2867717 w 9586368"/>
              <a:gd name="connsiteY7239" fmla="*/ 1200738 h 6479439"/>
              <a:gd name="connsiteX7240" fmla="*/ 2632423 w 9586368"/>
              <a:gd name="connsiteY7240" fmla="*/ 1196701 h 6479439"/>
              <a:gd name="connsiteX7241" fmla="*/ 2642334 w 9586368"/>
              <a:gd name="connsiteY7241" fmla="*/ 1196701 h 6479439"/>
              <a:gd name="connsiteX7242" fmla="*/ 2646352 w 9586368"/>
              <a:gd name="connsiteY7242" fmla="*/ 1200740 h 6479439"/>
              <a:gd name="connsiteX7243" fmla="*/ 2646352 w 9586368"/>
              <a:gd name="connsiteY7243" fmla="*/ 1210610 h 6479439"/>
              <a:gd name="connsiteX7244" fmla="*/ 2642334 w 9586368"/>
              <a:gd name="connsiteY7244" fmla="*/ 1214650 h 6479439"/>
              <a:gd name="connsiteX7245" fmla="*/ 2632423 w 9586368"/>
              <a:gd name="connsiteY7245" fmla="*/ 1214650 h 6479439"/>
              <a:gd name="connsiteX7246" fmla="*/ 2628404 w 9586368"/>
              <a:gd name="connsiteY7246" fmla="*/ 1210610 h 6479439"/>
              <a:gd name="connsiteX7247" fmla="*/ 2628404 w 9586368"/>
              <a:gd name="connsiteY7247" fmla="*/ 1200740 h 6479439"/>
              <a:gd name="connsiteX7248" fmla="*/ 2393104 w 9586368"/>
              <a:gd name="connsiteY7248" fmla="*/ 1196701 h 6479439"/>
              <a:gd name="connsiteX7249" fmla="*/ 2403015 w 9586368"/>
              <a:gd name="connsiteY7249" fmla="*/ 1196701 h 6479439"/>
              <a:gd name="connsiteX7250" fmla="*/ 2407034 w 9586368"/>
              <a:gd name="connsiteY7250" fmla="*/ 1200740 h 6479439"/>
              <a:gd name="connsiteX7251" fmla="*/ 2407034 w 9586368"/>
              <a:gd name="connsiteY7251" fmla="*/ 1210610 h 6479439"/>
              <a:gd name="connsiteX7252" fmla="*/ 2403015 w 9586368"/>
              <a:gd name="connsiteY7252" fmla="*/ 1214650 h 6479439"/>
              <a:gd name="connsiteX7253" fmla="*/ 2393104 w 9586368"/>
              <a:gd name="connsiteY7253" fmla="*/ 1214650 h 6479439"/>
              <a:gd name="connsiteX7254" fmla="*/ 2389087 w 9586368"/>
              <a:gd name="connsiteY7254" fmla="*/ 1210610 h 6479439"/>
              <a:gd name="connsiteX7255" fmla="*/ 2389087 w 9586368"/>
              <a:gd name="connsiteY7255" fmla="*/ 1200740 h 6479439"/>
              <a:gd name="connsiteX7256" fmla="*/ 4546929 w 9586368"/>
              <a:gd name="connsiteY7256" fmla="*/ 1196689 h 6479439"/>
              <a:gd name="connsiteX7257" fmla="*/ 4556840 w 9586368"/>
              <a:gd name="connsiteY7257" fmla="*/ 1196689 h 6479439"/>
              <a:gd name="connsiteX7258" fmla="*/ 4560859 w 9586368"/>
              <a:gd name="connsiteY7258" fmla="*/ 1200726 h 6479439"/>
              <a:gd name="connsiteX7259" fmla="*/ 4560859 w 9586368"/>
              <a:gd name="connsiteY7259" fmla="*/ 1210598 h 6479439"/>
              <a:gd name="connsiteX7260" fmla="*/ 4556840 w 9586368"/>
              <a:gd name="connsiteY7260" fmla="*/ 1214637 h 6479439"/>
              <a:gd name="connsiteX7261" fmla="*/ 4546929 w 9586368"/>
              <a:gd name="connsiteY7261" fmla="*/ 1214637 h 6479439"/>
              <a:gd name="connsiteX7262" fmla="*/ 4542910 w 9586368"/>
              <a:gd name="connsiteY7262" fmla="*/ 1210598 h 6479439"/>
              <a:gd name="connsiteX7263" fmla="*/ 4542910 w 9586368"/>
              <a:gd name="connsiteY7263" fmla="*/ 1200726 h 6479439"/>
              <a:gd name="connsiteX7264" fmla="*/ 4307612 w 9586368"/>
              <a:gd name="connsiteY7264" fmla="*/ 1196689 h 6479439"/>
              <a:gd name="connsiteX7265" fmla="*/ 4317523 w 9586368"/>
              <a:gd name="connsiteY7265" fmla="*/ 1196689 h 6479439"/>
              <a:gd name="connsiteX7266" fmla="*/ 4321543 w 9586368"/>
              <a:gd name="connsiteY7266" fmla="*/ 1200726 h 6479439"/>
              <a:gd name="connsiteX7267" fmla="*/ 4321543 w 9586368"/>
              <a:gd name="connsiteY7267" fmla="*/ 1210598 h 6479439"/>
              <a:gd name="connsiteX7268" fmla="*/ 4317523 w 9586368"/>
              <a:gd name="connsiteY7268" fmla="*/ 1214637 h 6479439"/>
              <a:gd name="connsiteX7269" fmla="*/ 4307612 w 9586368"/>
              <a:gd name="connsiteY7269" fmla="*/ 1214637 h 6479439"/>
              <a:gd name="connsiteX7270" fmla="*/ 4303595 w 9586368"/>
              <a:gd name="connsiteY7270" fmla="*/ 1210598 h 6479439"/>
              <a:gd name="connsiteX7271" fmla="*/ 4303595 w 9586368"/>
              <a:gd name="connsiteY7271" fmla="*/ 1200726 h 6479439"/>
              <a:gd name="connsiteX7272" fmla="*/ 4068297 w 9586368"/>
              <a:gd name="connsiteY7272" fmla="*/ 1196689 h 6479439"/>
              <a:gd name="connsiteX7273" fmla="*/ 4078210 w 9586368"/>
              <a:gd name="connsiteY7273" fmla="*/ 1196689 h 6479439"/>
              <a:gd name="connsiteX7274" fmla="*/ 4082229 w 9586368"/>
              <a:gd name="connsiteY7274" fmla="*/ 1200726 h 6479439"/>
              <a:gd name="connsiteX7275" fmla="*/ 4082229 w 9586368"/>
              <a:gd name="connsiteY7275" fmla="*/ 1210598 h 6479439"/>
              <a:gd name="connsiteX7276" fmla="*/ 4078210 w 9586368"/>
              <a:gd name="connsiteY7276" fmla="*/ 1214637 h 6479439"/>
              <a:gd name="connsiteX7277" fmla="*/ 4068297 w 9586368"/>
              <a:gd name="connsiteY7277" fmla="*/ 1214637 h 6479439"/>
              <a:gd name="connsiteX7278" fmla="*/ 4064278 w 9586368"/>
              <a:gd name="connsiteY7278" fmla="*/ 1210598 h 6479439"/>
              <a:gd name="connsiteX7279" fmla="*/ 4064278 w 9586368"/>
              <a:gd name="connsiteY7279" fmla="*/ 1200726 h 6479439"/>
              <a:gd name="connsiteX7280" fmla="*/ 3828990 w 9586368"/>
              <a:gd name="connsiteY7280" fmla="*/ 1196689 h 6479439"/>
              <a:gd name="connsiteX7281" fmla="*/ 3838899 w 9586368"/>
              <a:gd name="connsiteY7281" fmla="*/ 1196689 h 6479439"/>
              <a:gd name="connsiteX7282" fmla="*/ 3842917 w 9586368"/>
              <a:gd name="connsiteY7282" fmla="*/ 1200728 h 6479439"/>
              <a:gd name="connsiteX7283" fmla="*/ 3842917 w 9586368"/>
              <a:gd name="connsiteY7283" fmla="*/ 1210598 h 6479439"/>
              <a:gd name="connsiteX7284" fmla="*/ 3838899 w 9586368"/>
              <a:gd name="connsiteY7284" fmla="*/ 1214637 h 6479439"/>
              <a:gd name="connsiteX7285" fmla="*/ 3828990 w 9586368"/>
              <a:gd name="connsiteY7285" fmla="*/ 1214637 h 6479439"/>
              <a:gd name="connsiteX7286" fmla="*/ 3824971 w 9586368"/>
              <a:gd name="connsiteY7286" fmla="*/ 1210598 h 6479439"/>
              <a:gd name="connsiteX7287" fmla="*/ 3824971 w 9586368"/>
              <a:gd name="connsiteY7287" fmla="*/ 1200728 h 6479439"/>
              <a:gd name="connsiteX7288" fmla="*/ 3589676 w 9586368"/>
              <a:gd name="connsiteY7288" fmla="*/ 1196689 h 6479439"/>
              <a:gd name="connsiteX7289" fmla="*/ 3599585 w 9586368"/>
              <a:gd name="connsiteY7289" fmla="*/ 1196689 h 6479439"/>
              <a:gd name="connsiteX7290" fmla="*/ 3603604 w 9586368"/>
              <a:gd name="connsiteY7290" fmla="*/ 1200728 h 6479439"/>
              <a:gd name="connsiteX7291" fmla="*/ 3603604 w 9586368"/>
              <a:gd name="connsiteY7291" fmla="*/ 1210598 h 6479439"/>
              <a:gd name="connsiteX7292" fmla="*/ 3599585 w 9586368"/>
              <a:gd name="connsiteY7292" fmla="*/ 1214637 h 6479439"/>
              <a:gd name="connsiteX7293" fmla="*/ 3589676 w 9586368"/>
              <a:gd name="connsiteY7293" fmla="*/ 1214637 h 6479439"/>
              <a:gd name="connsiteX7294" fmla="*/ 3585657 w 9586368"/>
              <a:gd name="connsiteY7294" fmla="*/ 1210598 h 6479439"/>
              <a:gd name="connsiteX7295" fmla="*/ 3585657 w 9586368"/>
              <a:gd name="connsiteY7295" fmla="*/ 1200728 h 6479439"/>
              <a:gd name="connsiteX7296" fmla="*/ 5743412 w 9586368"/>
              <a:gd name="connsiteY7296" fmla="*/ 1196676 h 6479439"/>
              <a:gd name="connsiteX7297" fmla="*/ 5753323 w 9586368"/>
              <a:gd name="connsiteY7297" fmla="*/ 1196676 h 6479439"/>
              <a:gd name="connsiteX7298" fmla="*/ 5757342 w 9586368"/>
              <a:gd name="connsiteY7298" fmla="*/ 1200714 h 6479439"/>
              <a:gd name="connsiteX7299" fmla="*/ 5757342 w 9586368"/>
              <a:gd name="connsiteY7299" fmla="*/ 1210586 h 6479439"/>
              <a:gd name="connsiteX7300" fmla="*/ 5753323 w 9586368"/>
              <a:gd name="connsiteY7300" fmla="*/ 1214625 h 6479439"/>
              <a:gd name="connsiteX7301" fmla="*/ 5743412 w 9586368"/>
              <a:gd name="connsiteY7301" fmla="*/ 1214625 h 6479439"/>
              <a:gd name="connsiteX7302" fmla="*/ 5739393 w 9586368"/>
              <a:gd name="connsiteY7302" fmla="*/ 1210586 h 6479439"/>
              <a:gd name="connsiteX7303" fmla="*/ 5739393 w 9586368"/>
              <a:gd name="connsiteY7303" fmla="*/ 1200714 h 6479439"/>
              <a:gd name="connsiteX7304" fmla="*/ 5504099 w 9586368"/>
              <a:gd name="connsiteY7304" fmla="*/ 1196676 h 6479439"/>
              <a:gd name="connsiteX7305" fmla="*/ 5514010 w 9586368"/>
              <a:gd name="connsiteY7305" fmla="*/ 1196676 h 6479439"/>
              <a:gd name="connsiteX7306" fmla="*/ 5518029 w 9586368"/>
              <a:gd name="connsiteY7306" fmla="*/ 1200714 h 6479439"/>
              <a:gd name="connsiteX7307" fmla="*/ 5518029 w 9586368"/>
              <a:gd name="connsiteY7307" fmla="*/ 1210586 h 6479439"/>
              <a:gd name="connsiteX7308" fmla="*/ 5514010 w 9586368"/>
              <a:gd name="connsiteY7308" fmla="*/ 1214625 h 6479439"/>
              <a:gd name="connsiteX7309" fmla="*/ 5504099 w 9586368"/>
              <a:gd name="connsiteY7309" fmla="*/ 1214625 h 6479439"/>
              <a:gd name="connsiteX7310" fmla="*/ 5500080 w 9586368"/>
              <a:gd name="connsiteY7310" fmla="*/ 1210586 h 6479439"/>
              <a:gd name="connsiteX7311" fmla="*/ 5500080 w 9586368"/>
              <a:gd name="connsiteY7311" fmla="*/ 1200714 h 6479439"/>
              <a:gd name="connsiteX7312" fmla="*/ 5264784 w 9586368"/>
              <a:gd name="connsiteY7312" fmla="*/ 1196676 h 6479439"/>
              <a:gd name="connsiteX7313" fmla="*/ 5274694 w 9586368"/>
              <a:gd name="connsiteY7313" fmla="*/ 1196676 h 6479439"/>
              <a:gd name="connsiteX7314" fmla="*/ 5278713 w 9586368"/>
              <a:gd name="connsiteY7314" fmla="*/ 1200714 h 6479439"/>
              <a:gd name="connsiteX7315" fmla="*/ 5278713 w 9586368"/>
              <a:gd name="connsiteY7315" fmla="*/ 1210586 h 6479439"/>
              <a:gd name="connsiteX7316" fmla="*/ 5274694 w 9586368"/>
              <a:gd name="connsiteY7316" fmla="*/ 1214625 h 6479439"/>
              <a:gd name="connsiteX7317" fmla="*/ 5264784 w 9586368"/>
              <a:gd name="connsiteY7317" fmla="*/ 1214625 h 6479439"/>
              <a:gd name="connsiteX7318" fmla="*/ 5260765 w 9586368"/>
              <a:gd name="connsiteY7318" fmla="*/ 1210586 h 6479439"/>
              <a:gd name="connsiteX7319" fmla="*/ 5260765 w 9586368"/>
              <a:gd name="connsiteY7319" fmla="*/ 1200714 h 6479439"/>
              <a:gd name="connsiteX7320" fmla="*/ 5025470 w 9586368"/>
              <a:gd name="connsiteY7320" fmla="*/ 1196676 h 6479439"/>
              <a:gd name="connsiteX7321" fmla="*/ 5035381 w 9586368"/>
              <a:gd name="connsiteY7321" fmla="*/ 1196676 h 6479439"/>
              <a:gd name="connsiteX7322" fmla="*/ 5039400 w 9586368"/>
              <a:gd name="connsiteY7322" fmla="*/ 1200715 h 6479439"/>
              <a:gd name="connsiteX7323" fmla="*/ 5039400 w 9586368"/>
              <a:gd name="connsiteY7323" fmla="*/ 1210586 h 6479439"/>
              <a:gd name="connsiteX7324" fmla="*/ 5035381 w 9586368"/>
              <a:gd name="connsiteY7324" fmla="*/ 1214625 h 6479439"/>
              <a:gd name="connsiteX7325" fmla="*/ 5025470 w 9586368"/>
              <a:gd name="connsiteY7325" fmla="*/ 1214625 h 6479439"/>
              <a:gd name="connsiteX7326" fmla="*/ 5021451 w 9586368"/>
              <a:gd name="connsiteY7326" fmla="*/ 1210586 h 6479439"/>
              <a:gd name="connsiteX7327" fmla="*/ 5021451 w 9586368"/>
              <a:gd name="connsiteY7327" fmla="*/ 1200715 h 6479439"/>
              <a:gd name="connsiteX7328" fmla="*/ 4786241 w 9586368"/>
              <a:gd name="connsiteY7328" fmla="*/ 1196676 h 6479439"/>
              <a:gd name="connsiteX7329" fmla="*/ 4796152 w 9586368"/>
              <a:gd name="connsiteY7329" fmla="*/ 1196676 h 6479439"/>
              <a:gd name="connsiteX7330" fmla="*/ 4800171 w 9586368"/>
              <a:gd name="connsiteY7330" fmla="*/ 1200715 h 6479439"/>
              <a:gd name="connsiteX7331" fmla="*/ 4800171 w 9586368"/>
              <a:gd name="connsiteY7331" fmla="*/ 1210586 h 6479439"/>
              <a:gd name="connsiteX7332" fmla="*/ 4796152 w 9586368"/>
              <a:gd name="connsiteY7332" fmla="*/ 1214625 h 6479439"/>
              <a:gd name="connsiteX7333" fmla="*/ 4786241 w 9586368"/>
              <a:gd name="connsiteY7333" fmla="*/ 1214625 h 6479439"/>
              <a:gd name="connsiteX7334" fmla="*/ 4782224 w 9586368"/>
              <a:gd name="connsiteY7334" fmla="*/ 1210586 h 6479439"/>
              <a:gd name="connsiteX7335" fmla="*/ 4782224 w 9586368"/>
              <a:gd name="connsiteY7335" fmla="*/ 1200715 h 6479439"/>
              <a:gd name="connsiteX7336" fmla="*/ 6222042 w 9586368"/>
              <a:gd name="connsiteY7336" fmla="*/ 1196664 h 6479439"/>
              <a:gd name="connsiteX7337" fmla="*/ 6231952 w 9586368"/>
              <a:gd name="connsiteY7337" fmla="*/ 1196664 h 6479439"/>
              <a:gd name="connsiteX7338" fmla="*/ 6235971 w 9586368"/>
              <a:gd name="connsiteY7338" fmla="*/ 1200703 h 6479439"/>
              <a:gd name="connsiteX7339" fmla="*/ 6235971 w 9586368"/>
              <a:gd name="connsiteY7339" fmla="*/ 1210573 h 6479439"/>
              <a:gd name="connsiteX7340" fmla="*/ 6231952 w 9586368"/>
              <a:gd name="connsiteY7340" fmla="*/ 1214612 h 6479439"/>
              <a:gd name="connsiteX7341" fmla="*/ 6222042 w 9586368"/>
              <a:gd name="connsiteY7341" fmla="*/ 1214612 h 6479439"/>
              <a:gd name="connsiteX7342" fmla="*/ 6218023 w 9586368"/>
              <a:gd name="connsiteY7342" fmla="*/ 1210573 h 6479439"/>
              <a:gd name="connsiteX7343" fmla="*/ 6218023 w 9586368"/>
              <a:gd name="connsiteY7343" fmla="*/ 1200703 h 6479439"/>
              <a:gd name="connsiteX7344" fmla="*/ 5982729 w 9586368"/>
              <a:gd name="connsiteY7344" fmla="*/ 1196664 h 6479439"/>
              <a:gd name="connsiteX7345" fmla="*/ 5992639 w 9586368"/>
              <a:gd name="connsiteY7345" fmla="*/ 1196664 h 6479439"/>
              <a:gd name="connsiteX7346" fmla="*/ 5996658 w 9586368"/>
              <a:gd name="connsiteY7346" fmla="*/ 1200703 h 6479439"/>
              <a:gd name="connsiteX7347" fmla="*/ 5996658 w 9586368"/>
              <a:gd name="connsiteY7347" fmla="*/ 1210573 h 6479439"/>
              <a:gd name="connsiteX7348" fmla="*/ 5992639 w 9586368"/>
              <a:gd name="connsiteY7348" fmla="*/ 1214612 h 6479439"/>
              <a:gd name="connsiteX7349" fmla="*/ 5982729 w 9586368"/>
              <a:gd name="connsiteY7349" fmla="*/ 1214612 h 6479439"/>
              <a:gd name="connsiteX7350" fmla="*/ 5978710 w 9586368"/>
              <a:gd name="connsiteY7350" fmla="*/ 1210573 h 6479439"/>
              <a:gd name="connsiteX7351" fmla="*/ 5978710 w 9586368"/>
              <a:gd name="connsiteY7351" fmla="*/ 1200703 h 6479439"/>
              <a:gd name="connsiteX7352" fmla="*/ 6939983 w 9586368"/>
              <a:gd name="connsiteY7352" fmla="*/ 1196664 h 6479439"/>
              <a:gd name="connsiteX7353" fmla="*/ 6949894 w 9586368"/>
              <a:gd name="connsiteY7353" fmla="*/ 1196664 h 6479439"/>
              <a:gd name="connsiteX7354" fmla="*/ 6953913 w 9586368"/>
              <a:gd name="connsiteY7354" fmla="*/ 1200702 h 6479439"/>
              <a:gd name="connsiteX7355" fmla="*/ 6953913 w 9586368"/>
              <a:gd name="connsiteY7355" fmla="*/ 1210573 h 6479439"/>
              <a:gd name="connsiteX7356" fmla="*/ 6949894 w 9586368"/>
              <a:gd name="connsiteY7356" fmla="*/ 1214612 h 6479439"/>
              <a:gd name="connsiteX7357" fmla="*/ 6939983 w 9586368"/>
              <a:gd name="connsiteY7357" fmla="*/ 1214612 h 6479439"/>
              <a:gd name="connsiteX7358" fmla="*/ 6935964 w 9586368"/>
              <a:gd name="connsiteY7358" fmla="*/ 1210573 h 6479439"/>
              <a:gd name="connsiteX7359" fmla="*/ 6935964 w 9586368"/>
              <a:gd name="connsiteY7359" fmla="*/ 1200702 h 6479439"/>
              <a:gd name="connsiteX7360" fmla="*/ 6700670 w 9586368"/>
              <a:gd name="connsiteY7360" fmla="*/ 1196664 h 6479439"/>
              <a:gd name="connsiteX7361" fmla="*/ 6710581 w 9586368"/>
              <a:gd name="connsiteY7361" fmla="*/ 1196664 h 6479439"/>
              <a:gd name="connsiteX7362" fmla="*/ 6714600 w 9586368"/>
              <a:gd name="connsiteY7362" fmla="*/ 1200702 h 6479439"/>
              <a:gd name="connsiteX7363" fmla="*/ 6714600 w 9586368"/>
              <a:gd name="connsiteY7363" fmla="*/ 1210573 h 6479439"/>
              <a:gd name="connsiteX7364" fmla="*/ 6710581 w 9586368"/>
              <a:gd name="connsiteY7364" fmla="*/ 1214612 h 6479439"/>
              <a:gd name="connsiteX7365" fmla="*/ 6700670 w 9586368"/>
              <a:gd name="connsiteY7365" fmla="*/ 1214612 h 6479439"/>
              <a:gd name="connsiteX7366" fmla="*/ 6696651 w 9586368"/>
              <a:gd name="connsiteY7366" fmla="*/ 1210573 h 6479439"/>
              <a:gd name="connsiteX7367" fmla="*/ 6696651 w 9586368"/>
              <a:gd name="connsiteY7367" fmla="*/ 1200702 h 6479439"/>
              <a:gd name="connsiteX7368" fmla="*/ 6461356 w 9586368"/>
              <a:gd name="connsiteY7368" fmla="*/ 1196664 h 6479439"/>
              <a:gd name="connsiteX7369" fmla="*/ 6471266 w 9586368"/>
              <a:gd name="connsiteY7369" fmla="*/ 1196664 h 6479439"/>
              <a:gd name="connsiteX7370" fmla="*/ 6475285 w 9586368"/>
              <a:gd name="connsiteY7370" fmla="*/ 1200702 h 6479439"/>
              <a:gd name="connsiteX7371" fmla="*/ 6475285 w 9586368"/>
              <a:gd name="connsiteY7371" fmla="*/ 1210573 h 6479439"/>
              <a:gd name="connsiteX7372" fmla="*/ 6471266 w 9586368"/>
              <a:gd name="connsiteY7372" fmla="*/ 1214612 h 6479439"/>
              <a:gd name="connsiteX7373" fmla="*/ 6461356 w 9586368"/>
              <a:gd name="connsiteY7373" fmla="*/ 1214612 h 6479439"/>
              <a:gd name="connsiteX7374" fmla="*/ 6457337 w 9586368"/>
              <a:gd name="connsiteY7374" fmla="*/ 1210573 h 6479439"/>
              <a:gd name="connsiteX7375" fmla="*/ 6457337 w 9586368"/>
              <a:gd name="connsiteY7375" fmla="*/ 1200702 h 6479439"/>
              <a:gd name="connsiteX7376" fmla="*/ 7418611 w 9586368"/>
              <a:gd name="connsiteY7376" fmla="*/ 1196652 h 6479439"/>
              <a:gd name="connsiteX7377" fmla="*/ 7428521 w 9586368"/>
              <a:gd name="connsiteY7377" fmla="*/ 1196652 h 6479439"/>
              <a:gd name="connsiteX7378" fmla="*/ 7432540 w 9586368"/>
              <a:gd name="connsiteY7378" fmla="*/ 1200690 h 6479439"/>
              <a:gd name="connsiteX7379" fmla="*/ 7432540 w 9586368"/>
              <a:gd name="connsiteY7379" fmla="*/ 1210561 h 6479439"/>
              <a:gd name="connsiteX7380" fmla="*/ 7428521 w 9586368"/>
              <a:gd name="connsiteY7380" fmla="*/ 1214600 h 6479439"/>
              <a:gd name="connsiteX7381" fmla="*/ 7418611 w 9586368"/>
              <a:gd name="connsiteY7381" fmla="*/ 1214600 h 6479439"/>
              <a:gd name="connsiteX7382" fmla="*/ 7414592 w 9586368"/>
              <a:gd name="connsiteY7382" fmla="*/ 1210561 h 6479439"/>
              <a:gd name="connsiteX7383" fmla="*/ 7414592 w 9586368"/>
              <a:gd name="connsiteY7383" fmla="*/ 1200690 h 6479439"/>
              <a:gd name="connsiteX7384" fmla="*/ 7179298 w 9586368"/>
              <a:gd name="connsiteY7384" fmla="*/ 1196652 h 6479439"/>
              <a:gd name="connsiteX7385" fmla="*/ 7189209 w 9586368"/>
              <a:gd name="connsiteY7385" fmla="*/ 1196652 h 6479439"/>
              <a:gd name="connsiteX7386" fmla="*/ 7193228 w 9586368"/>
              <a:gd name="connsiteY7386" fmla="*/ 1200690 h 6479439"/>
              <a:gd name="connsiteX7387" fmla="*/ 7193228 w 9586368"/>
              <a:gd name="connsiteY7387" fmla="*/ 1210561 h 6479439"/>
              <a:gd name="connsiteX7388" fmla="*/ 7189209 w 9586368"/>
              <a:gd name="connsiteY7388" fmla="*/ 1214600 h 6479439"/>
              <a:gd name="connsiteX7389" fmla="*/ 7179298 w 9586368"/>
              <a:gd name="connsiteY7389" fmla="*/ 1214600 h 6479439"/>
              <a:gd name="connsiteX7390" fmla="*/ 7175279 w 9586368"/>
              <a:gd name="connsiteY7390" fmla="*/ 1210561 h 6479439"/>
              <a:gd name="connsiteX7391" fmla="*/ 7175279 w 9586368"/>
              <a:gd name="connsiteY7391" fmla="*/ 1200690 h 6479439"/>
              <a:gd name="connsiteX7392" fmla="*/ 8136553 w 9586368"/>
              <a:gd name="connsiteY7392" fmla="*/ 1196651 h 6479439"/>
              <a:gd name="connsiteX7393" fmla="*/ 8146464 w 9586368"/>
              <a:gd name="connsiteY7393" fmla="*/ 1196651 h 6479439"/>
              <a:gd name="connsiteX7394" fmla="*/ 8150483 w 9586368"/>
              <a:gd name="connsiteY7394" fmla="*/ 1200689 h 6479439"/>
              <a:gd name="connsiteX7395" fmla="*/ 8150483 w 9586368"/>
              <a:gd name="connsiteY7395" fmla="*/ 1210561 h 6479439"/>
              <a:gd name="connsiteX7396" fmla="*/ 8146464 w 9586368"/>
              <a:gd name="connsiteY7396" fmla="*/ 1214600 h 6479439"/>
              <a:gd name="connsiteX7397" fmla="*/ 8136553 w 9586368"/>
              <a:gd name="connsiteY7397" fmla="*/ 1214600 h 6479439"/>
              <a:gd name="connsiteX7398" fmla="*/ 8132534 w 9586368"/>
              <a:gd name="connsiteY7398" fmla="*/ 1210561 h 6479439"/>
              <a:gd name="connsiteX7399" fmla="*/ 8132534 w 9586368"/>
              <a:gd name="connsiteY7399" fmla="*/ 1200689 h 6479439"/>
              <a:gd name="connsiteX7400" fmla="*/ 7897241 w 9586368"/>
              <a:gd name="connsiteY7400" fmla="*/ 1196651 h 6479439"/>
              <a:gd name="connsiteX7401" fmla="*/ 7907151 w 9586368"/>
              <a:gd name="connsiteY7401" fmla="*/ 1196651 h 6479439"/>
              <a:gd name="connsiteX7402" fmla="*/ 7911170 w 9586368"/>
              <a:gd name="connsiteY7402" fmla="*/ 1200689 h 6479439"/>
              <a:gd name="connsiteX7403" fmla="*/ 7911170 w 9586368"/>
              <a:gd name="connsiteY7403" fmla="*/ 1210561 h 6479439"/>
              <a:gd name="connsiteX7404" fmla="*/ 7907151 w 9586368"/>
              <a:gd name="connsiteY7404" fmla="*/ 1214600 h 6479439"/>
              <a:gd name="connsiteX7405" fmla="*/ 7897241 w 9586368"/>
              <a:gd name="connsiteY7405" fmla="*/ 1214600 h 6479439"/>
              <a:gd name="connsiteX7406" fmla="*/ 7893222 w 9586368"/>
              <a:gd name="connsiteY7406" fmla="*/ 1210561 h 6479439"/>
              <a:gd name="connsiteX7407" fmla="*/ 7893222 w 9586368"/>
              <a:gd name="connsiteY7407" fmla="*/ 1200689 h 6479439"/>
              <a:gd name="connsiteX7408" fmla="*/ 7657926 w 9586368"/>
              <a:gd name="connsiteY7408" fmla="*/ 1196651 h 6479439"/>
              <a:gd name="connsiteX7409" fmla="*/ 7667836 w 9586368"/>
              <a:gd name="connsiteY7409" fmla="*/ 1196651 h 6479439"/>
              <a:gd name="connsiteX7410" fmla="*/ 7671855 w 9586368"/>
              <a:gd name="connsiteY7410" fmla="*/ 1200689 h 6479439"/>
              <a:gd name="connsiteX7411" fmla="*/ 7671855 w 9586368"/>
              <a:gd name="connsiteY7411" fmla="*/ 1210561 h 6479439"/>
              <a:gd name="connsiteX7412" fmla="*/ 7667836 w 9586368"/>
              <a:gd name="connsiteY7412" fmla="*/ 1214600 h 6479439"/>
              <a:gd name="connsiteX7413" fmla="*/ 7657926 w 9586368"/>
              <a:gd name="connsiteY7413" fmla="*/ 1214600 h 6479439"/>
              <a:gd name="connsiteX7414" fmla="*/ 7653906 w 9586368"/>
              <a:gd name="connsiteY7414" fmla="*/ 1210561 h 6479439"/>
              <a:gd name="connsiteX7415" fmla="*/ 7653906 w 9586368"/>
              <a:gd name="connsiteY7415" fmla="*/ 1200689 h 6479439"/>
              <a:gd name="connsiteX7416" fmla="*/ 8615184 w 9586368"/>
              <a:gd name="connsiteY7416" fmla="*/ 1196639 h 6479439"/>
              <a:gd name="connsiteX7417" fmla="*/ 8625095 w 9586368"/>
              <a:gd name="connsiteY7417" fmla="*/ 1196639 h 6479439"/>
              <a:gd name="connsiteX7418" fmla="*/ 8629114 w 9586368"/>
              <a:gd name="connsiteY7418" fmla="*/ 1200678 h 6479439"/>
              <a:gd name="connsiteX7419" fmla="*/ 8629114 w 9586368"/>
              <a:gd name="connsiteY7419" fmla="*/ 1210548 h 6479439"/>
              <a:gd name="connsiteX7420" fmla="*/ 8625095 w 9586368"/>
              <a:gd name="connsiteY7420" fmla="*/ 1214587 h 6479439"/>
              <a:gd name="connsiteX7421" fmla="*/ 8615184 w 9586368"/>
              <a:gd name="connsiteY7421" fmla="*/ 1214587 h 6479439"/>
              <a:gd name="connsiteX7422" fmla="*/ 8611165 w 9586368"/>
              <a:gd name="connsiteY7422" fmla="*/ 1210548 h 6479439"/>
              <a:gd name="connsiteX7423" fmla="*/ 8611165 w 9586368"/>
              <a:gd name="connsiteY7423" fmla="*/ 1200678 h 6479439"/>
              <a:gd name="connsiteX7424" fmla="*/ 8375869 w 9586368"/>
              <a:gd name="connsiteY7424" fmla="*/ 1196639 h 6479439"/>
              <a:gd name="connsiteX7425" fmla="*/ 8385779 w 9586368"/>
              <a:gd name="connsiteY7425" fmla="*/ 1196639 h 6479439"/>
              <a:gd name="connsiteX7426" fmla="*/ 8389799 w 9586368"/>
              <a:gd name="connsiteY7426" fmla="*/ 1200678 h 6479439"/>
              <a:gd name="connsiteX7427" fmla="*/ 8389799 w 9586368"/>
              <a:gd name="connsiteY7427" fmla="*/ 1210549 h 6479439"/>
              <a:gd name="connsiteX7428" fmla="*/ 8385779 w 9586368"/>
              <a:gd name="connsiteY7428" fmla="*/ 1214587 h 6479439"/>
              <a:gd name="connsiteX7429" fmla="*/ 8375869 w 9586368"/>
              <a:gd name="connsiteY7429" fmla="*/ 1214587 h 6479439"/>
              <a:gd name="connsiteX7430" fmla="*/ 8371850 w 9586368"/>
              <a:gd name="connsiteY7430" fmla="*/ 1210549 h 6479439"/>
              <a:gd name="connsiteX7431" fmla="*/ 8371850 w 9586368"/>
              <a:gd name="connsiteY7431" fmla="*/ 1200678 h 6479439"/>
              <a:gd name="connsiteX7432" fmla="*/ 9333125 w 9586368"/>
              <a:gd name="connsiteY7432" fmla="*/ 1196639 h 6479439"/>
              <a:gd name="connsiteX7433" fmla="*/ 9343036 w 9586368"/>
              <a:gd name="connsiteY7433" fmla="*/ 1196639 h 6479439"/>
              <a:gd name="connsiteX7434" fmla="*/ 9347055 w 9586368"/>
              <a:gd name="connsiteY7434" fmla="*/ 1200677 h 6479439"/>
              <a:gd name="connsiteX7435" fmla="*/ 9347055 w 9586368"/>
              <a:gd name="connsiteY7435" fmla="*/ 1210548 h 6479439"/>
              <a:gd name="connsiteX7436" fmla="*/ 9343036 w 9586368"/>
              <a:gd name="connsiteY7436" fmla="*/ 1214587 h 6479439"/>
              <a:gd name="connsiteX7437" fmla="*/ 9333125 w 9586368"/>
              <a:gd name="connsiteY7437" fmla="*/ 1214587 h 6479439"/>
              <a:gd name="connsiteX7438" fmla="*/ 9329106 w 9586368"/>
              <a:gd name="connsiteY7438" fmla="*/ 1210548 h 6479439"/>
              <a:gd name="connsiteX7439" fmla="*/ 9329106 w 9586368"/>
              <a:gd name="connsiteY7439" fmla="*/ 1200677 h 6479439"/>
              <a:gd name="connsiteX7440" fmla="*/ 9093811 w 9586368"/>
              <a:gd name="connsiteY7440" fmla="*/ 1196639 h 6479439"/>
              <a:gd name="connsiteX7441" fmla="*/ 9103722 w 9586368"/>
              <a:gd name="connsiteY7441" fmla="*/ 1196639 h 6479439"/>
              <a:gd name="connsiteX7442" fmla="*/ 9107741 w 9586368"/>
              <a:gd name="connsiteY7442" fmla="*/ 1200677 h 6479439"/>
              <a:gd name="connsiteX7443" fmla="*/ 9107741 w 9586368"/>
              <a:gd name="connsiteY7443" fmla="*/ 1210548 h 6479439"/>
              <a:gd name="connsiteX7444" fmla="*/ 9103722 w 9586368"/>
              <a:gd name="connsiteY7444" fmla="*/ 1214587 h 6479439"/>
              <a:gd name="connsiteX7445" fmla="*/ 9093811 w 9586368"/>
              <a:gd name="connsiteY7445" fmla="*/ 1214587 h 6479439"/>
              <a:gd name="connsiteX7446" fmla="*/ 9089792 w 9586368"/>
              <a:gd name="connsiteY7446" fmla="*/ 1210548 h 6479439"/>
              <a:gd name="connsiteX7447" fmla="*/ 9089792 w 9586368"/>
              <a:gd name="connsiteY7447" fmla="*/ 1200677 h 6479439"/>
              <a:gd name="connsiteX7448" fmla="*/ 8854496 w 9586368"/>
              <a:gd name="connsiteY7448" fmla="*/ 1196639 h 6479439"/>
              <a:gd name="connsiteX7449" fmla="*/ 8864407 w 9586368"/>
              <a:gd name="connsiteY7449" fmla="*/ 1196639 h 6479439"/>
              <a:gd name="connsiteX7450" fmla="*/ 8868426 w 9586368"/>
              <a:gd name="connsiteY7450" fmla="*/ 1200677 h 6479439"/>
              <a:gd name="connsiteX7451" fmla="*/ 8868426 w 9586368"/>
              <a:gd name="connsiteY7451" fmla="*/ 1210548 h 6479439"/>
              <a:gd name="connsiteX7452" fmla="*/ 8864407 w 9586368"/>
              <a:gd name="connsiteY7452" fmla="*/ 1214587 h 6479439"/>
              <a:gd name="connsiteX7453" fmla="*/ 8854496 w 9586368"/>
              <a:gd name="connsiteY7453" fmla="*/ 1214587 h 6479439"/>
              <a:gd name="connsiteX7454" fmla="*/ 8850477 w 9586368"/>
              <a:gd name="connsiteY7454" fmla="*/ 1210548 h 6479439"/>
              <a:gd name="connsiteX7455" fmla="*/ 8850477 w 9586368"/>
              <a:gd name="connsiteY7455" fmla="*/ 1200677 h 6479439"/>
              <a:gd name="connsiteX7456" fmla="*/ 9572438 w 9586368"/>
              <a:gd name="connsiteY7456" fmla="*/ 1196627 h 6479439"/>
              <a:gd name="connsiteX7457" fmla="*/ 9582349 w 9586368"/>
              <a:gd name="connsiteY7457" fmla="*/ 1196627 h 6479439"/>
              <a:gd name="connsiteX7458" fmla="*/ 9586368 w 9586368"/>
              <a:gd name="connsiteY7458" fmla="*/ 1200665 h 6479439"/>
              <a:gd name="connsiteX7459" fmla="*/ 9586368 w 9586368"/>
              <a:gd name="connsiteY7459" fmla="*/ 1210536 h 6479439"/>
              <a:gd name="connsiteX7460" fmla="*/ 9582349 w 9586368"/>
              <a:gd name="connsiteY7460" fmla="*/ 1214575 h 6479439"/>
              <a:gd name="connsiteX7461" fmla="*/ 9572438 w 9586368"/>
              <a:gd name="connsiteY7461" fmla="*/ 1214575 h 6479439"/>
              <a:gd name="connsiteX7462" fmla="*/ 9568419 w 9586368"/>
              <a:gd name="connsiteY7462" fmla="*/ 1210536 h 6479439"/>
              <a:gd name="connsiteX7463" fmla="*/ 9568419 w 9586368"/>
              <a:gd name="connsiteY7463" fmla="*/ 1200665 h 6479439"/>
              <a:gd name="connsiteX7464" fmla="*/ 4035 w 9586368"/>
              <a:gd name="connsiteY7464" fmla="*/ 1196600 h 6479439"/>
              <a:gd name="connsiteX7465" fmla="*/ 13945 w 9586368"/>
              <a:gd name="connsiteY7465" fmla="*/ 1196600 h 6479439"/>
              <a:gd name="connsiteX7466" fmla="*/ 17964 w 9586368"/>
              <a:gd name="connsiteY7466" fmla="*/ 1200638 h 6479439"/>
              <a:gd name="connsiteX7467" fmla="*/ 17964 w 9586368"/>
              <a:gd name="connsiteY7467" fmla="*/ 1210509 h 6479439"/>
              <a:gd name="connsiteX7468" fmla="*/ 13945 w 9586368"/>
              <a:gd name="connsiteY7468" fmla="*/ 1214548 h 6479439"/>
              <a:gd name="connsiteX7469" fmla="*/ 4035 w 9586368"/>
              <a:gd name="connsiteY7469" fmla="*/ 1214548 h 6479439"/>
              <a:gd name="connsiteX7470" fmla="*/ 16 w 9586368"/>
              <a:gd name="connsiteY7470" fmla="*/ 1210509 h 6479439"/>
              <a:gd name="connsiteX7471" fmla="*/ 16 w 9586368"/>
              <a:gd name="connsiteY7471" fmla="*/ 1200638 h 6479439"/>
              <a:gd name="connsiteX7472" fmla="*/ 721974 w 9586368"/>
              <a:gd name="connsiteY7472" fmla="*/ 1196599 h 6479439"/>
              <a:gd name="connsiteX7473" fmla="*/ 731884 w 9586368"/>
              <a:gd name="connsiteY7473" fmla="*/ 1196599 h 6479439"/>
              <a:gd name="connsiteX7474" fmla="*/ 735903 w 9586368"/>
              <a:gd name="connsiteY7474" fmla="*/ 1200638 h 6479439"/>
              <a:gd name="connsiteX7475" fmla="*/ 735903 w 9586368"/>
              <a:gd name="connsiteY7475" fmla="*/ 1210509 h 6479439"/>
              <a:gd name="connsiteX7476" fmla="*/ 731884 w 9586368"/>
              <a:gd name="connsiteY7476" fmla="*/ 1214547 h 6479439"/>
              <a:gd name="connsiteX7477" fmla="*/ 721974 w 9586368"/>
              <a:gd name="connsiteY7477" fmla="*/ 1214547 h 6479439"/>
              <a:gd name="connsiteX7478" fmla="*/ 717955 w 9586368"/>
              <a:gd name="connsiteY7478" fmla="*/ 1210509 h 6479439"/>
              <a:gd name="connsiteX7479" fmla="*/ 717955 w 9586368"/>
              <a:gd name="connsiteY7479" fmla="*/ 1200638 h 6479439"/>
              <a:gd name="connsiteX7480" fmla="*/ 482661 w 9586368"/>
              <a:gd name="connsiteY7480" fmla="*/ 1196599 h 6479439"/>
              <a:gd name="connsiteX7481" fmla="*/ 492572 w 9586368"/>
              <a:gd name="connsiteY7481" fmla="*/ 1196599 h 6479439"/>
              <a:gd name="connsiteX7482" fmla="*/ 496591 w 9586368"/>
              <a:gd name="connsiteY7482" fmla="*/ 1200638 h 6479439"/>
              <a:gd name="connsiteX7483" fmla="*/ 496591 w 9586368"/>
              <a:gd name="connsiteY7483" fmla="*/ 1210509 h 6479439"/>
              <a:gd name="connsiteX7484" fmla="*/ 492572 w 9586368"/>
              <a:gd name="connsiteY7484" fmla="*/ 1214548 h 6479439"/>
              <a:gd name="connsiteX7485" fmla="*/ 482661 w 9586368"/>
              <a:gd name="connsiteY7485" fmla="*/ 1214548 h 6479439"/>
              <a:gd name="connsiteX7486" fmla="*/ 478642 w 9586368"/>
              <a:gd name="connsiteY7486" fmla="*/ 1210509 h 6479439"/>
              <a:gd name="connsiteX7487" fmla="*/ 478642 w 9586368"/>
              <a:gd name="connsiteY7487" fmla="*/ 1200638 h 6479439"/>
              <a:gd name="connsiteX7488" fmla="*/ 243348 w 9586368"/>
              <a:gd name="connsiteY7488" fmla="*/ 1196599 h 6479439"/>
              <a:gd name="connsiteX7489" fmla="*/ 253258 w 9586368"/>
              <a:gd name="connsiteY7489" fmla="*/ 1196599 h 6479439"/>
              <a:gd name="connsiteX7490" fmla="*/ 257278 w 9586368"/>
              <a:gd name="connsiteY7490" fmla="*/ 1200638 h 6479439"/>
              <a:gd name="connsiteX7491" fmla="*/ 257278 w 9586368"/>
              <a:gd name="connsiteY7491" fmla="*/ 1210509 h 6479439"/>
              <a:gd name="connsiteX7492" fmla="*/ 253258 w 9586368"/>
              <a:gd name="connsiteY7492" fmla="*/ 1214548 h 6479439"/>
              <a:gd name="connsiteX7493" fmla="*/ 243348 w 9586368"/>
              <a:gd name="connsiteY7493" fmla="*/ 1214548 h 6479439"/>
              <a:gd name="connsiteX7494" fmla="*/ 239329 w 9586368"/>
              <a:gd name="connsiteY7494" fmla="*/ 1210509 h 6479439"/>
              <a:gd name="connsiteX7495" fmla="*/ 239329 w 9586368"/>
              <a:gd name="connsiteY7495" fmla="*/ 1200638 h 6479439"/>
              <a:gd name="connsiteX7496" fmla="*/ 1439900 w 9586368"/>
              <a:gd name="connsiteY7496" fmla="*/ 1196589 h 6479439"/>
              <a:gd name="connsiteX7497" fmla="*/ 1449810 w 9586368"/>
              <a:gd name="connsiteY7497" fmla="*/ 1196589 h 6479439"/>
              <a:gd name="connsiteX7498" fmla="*/ 1453829 w 9586368"/>
              <a:gd name="connsiteY7498" fmla="*/ 1200628 h 6479439"/>
              <a:gd name="connsiteX7499" fmla="*/ 1453829 w 9586368"/>
              <a:gd name="connsiteY7499" fmla="*/ 1210498 h 6479439"/>
              <a:gd name="connsiteX7500" fmla="*/ 1449810 w 9586368"/>
              <a:gd name="connsiteY7500" fmla="*/ 1214537 h 6479439"/>
              <a:gd name="connsiteX7501" fmla="*/ 1439900 w 9586368"/>
              <a:gd name="connsiteY7501" fmla="*/ 1214537 h 6479439"/>
              <a:gd name="connsiteX7502" fmla="*/ 1435881 w 9586368"/>
              <a:gd name="connsiteY7502" fmla="*/ 1210498 h 6479439"/>
              <a:gd name="connsiteX7503" fmla="*/ 1435881 w 9586368"/>
              <a:gd name="connsiteY7503" fmla="*/ 1200628 h 6479439"/>
              <a:gd name="connsiteX7504" fmla="*/ 1200584 w 9586368"/>
              <a:gd name="connsiteY7504" fmla="*/ 1196589 h 6479439"/>
              <a:gd name="connsiteX7505" fmla="*/ 1210494 w 9586368"/>
              <a:gd name="connsiteY7505" fmla="*/ 1196589 h 6479439"/>
              <a:gd name="connsiteX7506" fmla="*/ 1214512 w 9586368"/>
              <a:gd name="connsiteY7506" fmla="*/ 1200628 h 6479439"/>
              <a:gd name="connsiteX7507" fmla="*/ 1214512 w 9586368"/>
              <a:gd name="connsiteY7507" fmla="*/ 1210498 h 6479439"/>
              <a:gd name="connsiteX7508" fmla="*/ 1210494 w 9586368"/>
              <a:gd name="connsiteY7508" fmla="*/ 1214537 h 6479439"/>
              <a:gd name="connsiteX7509" fmla="*/ 1200584 w 9586368"/>
              <a:gd name="connsiteY7509" fmla="*/ 1214537 h 6479439"/>
              <a:gd name="connsiteX7510" fmla="*/ 1196565 w 9586368"/>
              <a:gd name="connsiteY7510" fmla="*/ 1210498 h 6479439"/>
              <a:gd name="connsiteX7511" fmla="*/ 1196565 w 9586368"/>
              <a:gd name="connsiteY7511" fmla="*/ 1200628 h 6479439"/>
              <a:gd name="connsiteX7512" fmla="*/ 961271 w 9586368"/>
              <a:gd name="connsiteY7512" fmla="*/ 1196589 h 6479439"/>
              <a:gd name="connsiteX7513" fmla="*/ 971181 w 9586368"/>
              <a:gd name="connsiteY7513" fmla="*/ 1196589 h 6479439"/>
              <a:gd name="connsiteX7514" fmla="*/ 975200 w 9586368"/>
              <a:gd name="connsiteY7514" fmla="*/ 1200628 h 6479439"/>
              <a:gd name="connsiteX7515" fmla="*/ 975200 w 9586368"/>
              <a:gd name="connsiteY7515" fmla="*/ 1210499 h 6479439"/>
              <a:gd name="connsiteX7516" fmla="*/ 971181 w 9586368"/>
              <a:gd name="connsiteY7516" fmla="*/ 1214537 h 6479439"/>
              <a:gd name="connsiteX7517" fmla="*/ 961271 w 9586368"/>
              <a:gd name="connsiteY7517" fmla="*/ 1214537 h 6479439"/>
              <a:gd name="connsiteX7518" fmla="*/ 957253 w 9586368"/>
              <a:gd name="connsiteY7518" fmla="*/ 1210499 h 6479439"/>
              <a:gd name="connsiteX7519" fmla="*/ 957253 w 9586368"/>
              <a:gd name="connsiteY7519" fmla="*/ 1200628 h 6479439"/>
              <a:gd name="connsiteX7520" fmla="*/ 1679217 w 9586368"/>
              <a:gd name="connsiteY7520" fmla="*/ 1196589 h 6479439"/>
              <a:gd name="connsiteX7521" fmla="*/ 1689127 w 9586368"/>
              <a:gd name="connsiteY7521" fmla="*/ 1196589 h 6479439"/>
              <a:gd name="connsiteX7522" fmla="*/ 1693146 w 9586368"/>
              <a:gd name="connsiteY7522" fmla="*/ 1200627 h 6479439"/>
              <a:gd name="connsiteX7523" fmla="*/ 1693146 w 9586368"/>
              <a:gd name="connsiteY7523" fmla="*/ 1210498 h 6479439"/>
              <a:gd name="connsiteX7524" fmla="*/ 1689127 w 9586368"/>
              <a:gd name="connsiteY7524" fmla="*/ 1214537 h 6479439"/>
              <a:gd name="connsiteX7525" fmla="*/ 1679217 w 9586368"/>
              <a:gd name="connsiteY7525" fmla="*/ 1214537 h 6479439"/>
              <a:gd name="connsiteX7526" fmla="*/ 1675198 w 9586368"/>
              <a:gd name="connsiteY7526" fmla="*/ 1210498 h 6479439"/>
              <a:gd name="connsiteX7527" fmla="*/ 1675198 w 9586368"/>
              <a:gd name="connsiteY7527" fmla="*/ 1200627 h 6479439"/>
              <a:gd name="connsiteX7528" fmla="*/ 1918514 w 9586368"/>
              <a:gd name="connsiteY7528" fmla="*/ 1196581 h 6479439"/>
              <a:gd name="connsiteX7529" fmla="*/ 1928424 w 9586368"/>
              <a:gd name="connsiteY7529" fmla="*/ 1196581 h 6479439"/>
              <a:gd name="connsiteX7530" fmla="*/ 1932443 w 9586368"/>
              <a:gd name="connsiteY7530" fmla="*/ 1200619 h 6479439"/>
              <a:gd name="connsiteX7531" fmla="*/ 1932443 w 9586368"/>
              <a:gd name="connsiteY7531" fmla="*/ 1210489 h 6479439"/>
              <a:gd name="connsiteX7532" fmla="*/ 1928424 w 9586368"/>
              <a:gd name="connsiteY7532" fmla="*/ 1214528 h 6479439"/>
              <a:gd name="connsiteX7533" fmla="*/ 1918514 w 9586368"/>
              <a:gd name="connsiteY7533" fmla="*/ 1214528 h 6479439"/>
              <a:gd name="connsiteX7534" fmla="*/ 1914495 w 9586368"/>
              <a:gd name="connsiteY7534" fmla="*/ 1210489 h 6479439"/>
              <a:gd name="connsiteX7535" fmla="*/ 1914495 w 9586368"/>
              <a:gd name="connsiteY7535" fmla="*/ 1200619 h 6479439"/>
              <a:gd name="connsiteX7536" fmla="*/ 2157823 w 9586368"/>
              <a:gd name="connsiteY7536" fmla="*/ 1196578 h 6479439"/>
              <a:gd name="connsiteX7537" fmla="*/ 2167733 w 9586368"/>
              <a:gd name="connsiteY7537" fmla="*/ 1196578 h 6479439"/>
              <a:gd name="connsiteX7538" fmla="*/ 2171751 w 9586368"/>
              <a:gd name="connsiteY7538" fmla="*/ 1200617 h 6479439"/>
              <a:gd name="connsiteX7539" fmla="*/ 2171751 w 9586368"/>
              <a:gd name="connsiteY7539" fmla="*/ 1210488 h 6479439"/>
              <a:gd name="connsiteX7540" fmla="*/ 2167733 w 9586368"/>
              <a:gd name="connsiteY7540" fmla="*/ 1214526 h 6479439"/>
              <a:gd name="connsiteX7541" fmla="*/ 2157823 w 9586368"/>
              <a:gd name="connsiteY7541" fmla="*/ 1214526 h 6479439"/>
              <a:gd name="connsiteX7542" fmla="*/ 2153803 w 9586368"/>
              <a:gd name="connsiteY7542" fmla="*/ 1210488 h 6479439"/>
              <a:gd name="connsiteX7543" fmla="*/ 2153803 w 9586368"/>
              <a:gd name="connsiteY7543" fmla="*/ 1200617 h 6479439"/>
              <a:gd name="connsiteX7544" fmla="*/ 3350359 w 9586368"/>
              <a:gd name="connsiteY7544" fmla="*/ 957358 h 6479439"/>
              <a:gd name="connsiteX7545" fmla="*/ 3360268 w 9586368"/>
              <a:gd name="connsiteY7545" fmla="*/ 957358 h 6479439"/>
              <a:gd name="connsiteX7546" fmla="*/ 3364287 w 9586368"/>
              <a:gd name="connsiteY7546" fmla="*/ 961396 h 6479439"/>
              <a:gd name="connsiteX7547" fmla="*/ 3364287 w 9586368"/>
              <a:gd name="connsiteY7547" fmla="*/ 971266 h 6479439"/>
              <a:gd name="connsiteX7548" fmla="*/ 3360268 w 9586368"/>
              <a:gd name="connsiteY7548" fmla="*/ 975304 h 6479439"/>
              <a:gd name="connsiteX7549" fmla="*/ 3350359 w 9586368"/>
              <a:gd name="connsiteY7549" fmla="*/ 975304 h 6479439"/>
              <a:gd name="connsiteX7550" fmla="*/ 3346340 w 9586368"/>
              <a:gd name="connsiteY7550" fmla="*/ 971266 h 6479439"/>
              <a:gd name="connsiteX7551" fmla="*/ 3346340 w 9586368"/>
              <a:gd name="connsiteY7551" fmla="*/ 961396 h 6479439"/>
              <a:gd name="connsiteX7552" fmla="*/ 3111048 w 9586368"/>
              <a:gd name="connsiteY7552" fmla="*/ 957358 h 6479439"/>
              <a:gd name="connsiteX7553" fmla="*/ 3120959 w 9586368"/>
              <a:gd name="connsiteY7553" fmla="*/ 957358 h 6479439"/>
              <a:gd name="connsiteX7554" fmla="*/ 3124977 w 9586368"/>
              <a:gd name="connsiteY7554" fmla="*/ 961396 h 6479439"/>
              <a:gd name="connsiteX7555" fmla="*/ 3124977 w 9586368"/>
              <a:gd name="connsiteY7555" fmla="*/ 971266 h 6479439"/>
              <a:gd name="connsiteX7556" fmla="*/ 3120959 w 9586368"/>
              <a:gd name="connsiteY7556" fmla="*/ 975304 h 6479439"/>
              <a:gd name="connsiteX7557" fmla="*/ 3111048 w 9586368"/>
              <a:gd name="connsiteY7557" fmla="*/ 975304 h 6479439"/>
              <a:gd name="connsiteX7558" fmla="*/ 3107029 w 9586368"/>
              <a:gd name="connsiteY7558" fmla="*/ 971266 h 6479439"/>
              <a:gd name="connsiteX7559" fmla="*/ 3107029 w 9586368"/>
              <a:gd name="connsiteY7559" fmla="*/ 961396 h 6479439"/>
              <a:gd name="connsiteX7560" fmla="*/ 2871737 w 9586368"/>
              <a:gd name="connsiteY7560" fmla="*/ 957358 h 6479439"/>
              <a:gd name="connsiteX7561" fmla="*/ 2881646 w 9586368"/>
              <a:gd name="connsiteY7561" fmla="*/ 957358 h 6479439"/>
              <a:gd name="connsiteX7562" fmla="*/ 2885666 w 9586368"/>
              <a:gd name="connsiteY7562" fmla="*/ 961396 h 6479439"/>
              <a:gd name="connsiteX7563" fmla="*/ 2885666 w 9586368"/>
              <a:gd name="connsiteY7563" fmla="*/ 971266 h 6479439"/>
              <a:gd name="connsiteX7564" fmla="*/ 2881646 w 9586368"/>
              <a:gd name="connsiteY7564" fmla="*/ 975304 h 6479439"/>
              <a:gd name="connsiteX7565" fmla="*/ 2871737 w 9586368"/>
              <a:gd name="connsiteY7565" fmla="*/ 975304 h 6479439"/>
              <a:gd name="connsiteX7566" fmla="*/ 2867717 w 9586368"/>
              <a:gd name="connsiteY7566" fmla="*/ 971266 h 6479439"/>
              <a:gd name="connsiteX7567" fmla="*/ 2867717 w 9586368"/>
              <a:gd name="connsiteY7567" fmla="*/ 961396 h 6479439"/>
              <a:gd name="connsiteX7568" fmla="*/ 2632423 w 9586368"/>
              <a:gd name="connsiteY7568" fmla="*/ 957358 h 6479439"/>
              <a:gd name="connsiteX7569" fmla="*/ 2642334 w 9586368"/>
              <a:gd name="connsiteY7569" fmla="*/ 957358 h 6479439"/>
              <a:gd name="connsiteX7570" fmla="*/ 2646352 w 9586368"/>
              <a:gd name="connsiteY7570" fmla="*/ 961396 h 6479439"/>
              <a:gd name="connsiteX7571" fmla="*/ 2646352 w 9586368"/>
              <a:gd name="connsiteY7571" fmla="*/ 971266 h 6479439"/>
              <a:gd name="connsiteX7572" fmla="*/ 2642334 w 9586368"/>
              <a:gd name="connsiteY7572" fmla="*/ 975305 h 6479439"/>
              <a:gd name="connsiteX7573" fmla="*/ 2632423 w 9586368"/>
              <a:gd name="connsiteY7573" fmla="*/ 975305 h 6479439"/>
              <a:gd name="connsiteX7574" fmla="*/ 2628404 w 9586368"/>
              <a:gd name="connsiteY7574" fmla="*/ 971266 h 6479439"/>
              <a:gd name="connsiteX7575" fmla="*/ 2628404 w 9586368"/>
              <a:gd name="connsiteY7575" fmla="*/ 961396 h 6479439"/>
              <a:gd name="connsiteX7576" fmla="*/ 2393104 w 9586368"/>
              <a:gd name="connsiteY7576" fmla="*/ 957358 h 6479439"/>
              <a:gd name="connsiteX7577" fmla="*/ 2403015 w 9586368"/>
              <a:gd name="connsiteY7577" fmla="*/ 957358 h 6479439"/>
              <a:gd name="connsiteX7578" fmla="*/ 2407034 w 9586368"/>
              <a:gd name="connsiteY7578" fmla="*/ 961396 h 6479439"/>
              <a:gd name="connsiteX7579" fmla="*/ 2407034 w 9586368"/>
              <a:gd name="connsiteY7579" fmla="*/ 971266 h 6479439"/>
              <a:gd name="connsiteX7580" fmla="*/ 2403015 w 9586368"/>
              <a:gd name="connsiteY7580" fmla="*/ 975305 h 6479439"/>
              <a:gd name="connsiteX7581" fmla="*/ 2393104 w 9586368"/>
              <a:gd name="connsiteY7581" fmla="*/ 975305 h 6479439"/>
              <a:gd name="connsiteX7582" fmla="*/ 2389087 w 9586368"/>
              <a:gd name="connsiteY7582" fmla="*/ 971266 h 6479439"/>
              <a:gd name="connsiteX7583" fmla="*/ 2389087 w 9586368"/>
              <a:gd name="connsiteY7583" fmla="*/ 961396 h 6479439"/>
              <a:gd name="connsiteX7584" fmla="*/ 4546929 w 9586368"/>
              <a:gd name="connsiteY7584" fmla="*/ 957347 h 6479439"/>
              <a:gd name="connsiteX7585" fmla="*/ 4556840 w 9586368"/>
              <a:gd name="connsiteY7585" fmla="*/ 957347 h 6479439"/>
              <a:gd name="connsiteX7586" fmla="*/ 4560859 w 9586368"/>
              <a:gd name="connsiteY7586" fmla="*/ 961385 h 6479439"/>
              <a:gd name="connsiteX7587" fmla="*/ 4560859 w 9586368"/>
              <a:gd name="connsiteY7587" fmla="*/ 971255 h 6479439"/>
              <a:gd name="connsiteX7588" fmla="*/ 4556840 w 9586368"/>
              <a:gd name="connsiteY7588" fmla="*/ 975293 h 6479439"/>
              <a:gd name="connsiteX7589" fmla="*/ 4546929 w 9586368"/>
              <a:gd name="connsiteY7589" fmla="*/ 975293 h 6479439"/>
              <a:gd name="connsiteX7590" fmla="*/ 4542910 w 9586368"/>
              <a:gd name="connsiteY7590" fmla="*/ 971255 h 6479439"/>
              <a:gd name="connsiteX7591" fmla="*/ 4542910 w 9586368"/>
              <a:gd name="connsiteY7591" fmla="*/ 961385 h 6479439"/>
              <a:gd name="connsiteX7592" fmla="*/ 4307612 w 9586368"/>
              <a:gd name="connsiteY7592" fmla="*/ 957347 h 6479439"/>
              <a:gd name="connsiteX7593" fmla="*/ 4317523 w 9586368"/>
              <a:gd name="connsiteY7593" fmla="*/ 957347 h 6479439"/>
              <a:gd name="connsiteX7594" fmla="*/ 4321543 w 9586368"/>
              <a:gd name="connsiteY7594" fmla="*/ 961385 h 6479439"/>
              <a:gd name="connsiteX7595" fmla="*/ 4321543 w 9586368"/>
              <a:gd name="connsiteY7595" fmla="*/ 971255 h 6479439"/>
              <a:gd name="connsiteX7596" fmla="*/ 4317523 w 9586368"/>
              <a:gd name="connsiteY7596" fmla="*/ 975293 h 6479439"/>
              <a:gd name="connsiteX7597" fmla="*/ 4307612 w 9586368"/>
              <a:gd name="connsiteY7597" fmla="*/ 975293 h 6479439"/>
              <a:gd name="connsiteX7598" fmla="*/ 4303595 w 9586368"/>
              <a:gd name="connsiteY7598" fmla="*/ 971255 h 6479439"/>
              <a:gd name="connsiteX7599" fmla="*/ 4303595 w 9586368"/>
              <a:gd name="connsiteY7599" fmla="*/ 961385 h 6479439"/>
              <a:gd name="connsiteX7600" fmla="*/ 4068297 w 9586368"/>
              <a:gd name="connsiteY7600" fmla="*/ 957347 h 6479439"/>
              <a:gd name="connsiteX7601" fmla="*/ 4078210 w 9586368"/>
              <a:gd name="connsiteY7601" fmla="*/ 957347 h 6479439"/>
              <a:gd name="connsiteX7602" fmla="*/ 4082229 w 9586368"/>
              <a:gd name="connsiteY7602" fmla="*/ 961385 h 6479439"/>
              <a:gd name="connsiteX7603" fmla="*/ 4082229 w 9586368"/>
              <a:gd name="connsiteY7603" fmla="*/ 971255 h 6479439"/>
              <a:gd name="connsiteX7604" fmla="*/ 4078210 w 9586368"/>
              <a:gd name="connsiteY7604" fmla="*/ 975293 h 6479439"/>
              <a:gd name="connsiteX7605" fmla="*/ 4068297 w 9586368"/>
              <a:gd name="connsiteY7605" fmla="*/ 975293 h 6479439"/>
              <a:gd name="connsiteX7606" fmla="*/ 4064278 w 9586368"/>
              <a:gd name="connsiteY7606" fmla="*/ 971255 h 6479439"/>
              <a:gd name="connsiteX7607" fmla="*/ 4064278 w 9586368"/>
              <a:gd name="connsiteY7607" fmla="*/ 961385 h 6479439"/>
              <a:gd name="connsiteX7608" fmla="*/ 3828990 w 9586368"/>
              <a:gd name="connsiteY7608" fmla="*/ 957347 h 6479439"/>
              <a:gd name="connsiteX7609" fmla="*/ 3838899 w 9586368"/>
              <a:gd name="connsiteY7609" fmla="*/ 957347 h 6479439"/>
              <a:gd name="connsiteX7610" fmla="*/ 3842917 w 9586368"/>
              <a:gd name="connsiteY7610" fmla="*/ 961385 h 6479439"/>
              <a:gd name="connsiteX7611" fmla="*/ 3842917 w 9586368"/>
              <a:gd name="connsiteY7611" fmla="*/ 971255 h 6479439"/>
              <a:gd name="connsiteX7612" fmla="*/ 3838899 w 9586368"/>
              <a:gd name="connsiteY7612" fmla="*/ 975293 h 6479439"/>
              <a:gd name="connsiteX7613" fmla="*/ 3828990 w 9586368"/>
              <a:gd name="connsiteY7613" fmla="*/ 975293 h 6479439"/>
              <a:gd name="connsiteX7614" fmla="*/ 3824971 w 9586368"/>
              <a:gd name="connsiteY7614" fmla="*/ 971255 h 6479439"/>
              <a:gd name="connsiteX7615" fmla="*/ 3824971 w 9586368"/>
              <a:gd name="connsiteY7615" fmla="*/ 961385 h 6479439"/>
              <a:gd name="connsiteX7616" fmla="*/ 3589676 w 9586368"/>
              <a:gd name="connsiteY7616" fmla="*/ 957347 h 6479439"/>
              <a:gd name="connsiteX7617" fmla="*/ 3599585 w 9586368"/>
              <a:gd name="connsiteY7617" fmla="*/ 957347 h 6479439"/>
              <a:gd name="connsiteX7618" fmla="*/ 3603604 w 9586368"/>
              <a:gd name="connsiteY7618" fmla="*/ 961385 h 6479439"/>
              <a:gd name="connsiteX7619" fmla="*/ 3603604 w 9586368"/>
              <a:gd name="connsiteY7619" fmla="*/ 971255 h 6479439"/>
              <a:gd name="connsiteX7620" fmla="*/ 3599585 w 9586368"/>
              <a:gd name="connsiteY7620" fmla="*/ 975293 h 6479439"/>
              <a:gd name="connsiteX7621" fmla="*/ 3589676 w 9586368"/>
              <a:gd name="connsiteY7621" fmla="*/ 975293 h 6479439"/>
              <a:gd name="connsiteX7622" fmla="*/ 3585657 w 9586368"/>
              <a:gd name="connsiteY7622" fmla="*/ 971255 h 6479439"/>
              <a:gd name="connsiteX7623" fmla="*/ 3585657 w 9586368"/>
              <a:gd name="connsiteY7623" fmla="*/ 961385 h 6479439"/>
              <a:gd name="connsiteX7624" fmla="*/ 5743412 w 9586368"/>
              <a:gd name="connsiteY7624" fmla="*/ 957335 h 6479439"/>
              <a:gd name="connsiteX7625" fmla="*/ 5753323 w 9586368"/>
              <a:gd name="connsiteY7625" fmla="*/ 957335 h 6479439"/>
              <a:gd name="connsiteX7626" fmla="*/ 5757342 w 9586368"/>
              <a:gd name="connsiteY7626" fmla="*/ 961373 h 6479439"/>
              <a:gd name="connsiteX7627" fmla="*/ 5757342 w 9586368"/>
              <a:gd name="connsiteY7627" fmla="*/ 971244 h 6479439"/>
              <a:gd name="connsiteX7628" fmla="*/ 5753323 w 9586368"/>
              <a:gd name="connsiteY7628" fmla="*/ 975282 h 6479439"/>
              <a:gd name="connsiteX7629" fmla="*/ 5743412 w 9586368"/>
              <a:gd name="connsiteY7629" fmla="*/ 975282 h 6479439"/>
              <a:gd name="connsiteX7630" fmla="*/ 5739393 w 9586368"/>
              <a:gd name="connsiteY7630" fmla="*/ 971244 h 6479439"/>
              <a:gd name="connsiteX7631" fmla="*/ 5739393 w 9586368"/>
              <a:gd name="connsiteY7631" fmla="*/ 961373 h 6479439"/>
              <a:gd name="connsiteX7632" fmla="*/ 5504099 w 9586368"/>
              <a:gd name="connsiteY7632" fmla="*/ 957335 h 6479439"/>
              <a:gd name="connsiteX7633" fmla="*/ 5514010 w 9586368"/>
              <a:gd name="connsiteY7633" fmla="*/ 957335 h 6479439"/>
              <a:gd name="connsiteX7634" fmla="*/ 5518029 w 9586368"/>
              <a:gd name="connsiteY7634" fmla="*/ 961373 h 6479439"/>
              <a:gd name="connsiteX7635" fmla="*/ 5518029 w 9586368"/>
              <a:gd name="connsiteY7635" fmla="*/ 971244 h 6479439"/>
              <a:gd name="connsiteX7636" fmla="*/ 5514010 w 9586368"/>
              <a:gd name="connsiteY7636" fmla="*/ 975282 h 6479439"/>
              <a:gd name="connsiteX7637" fmla="*/ 5504099 w 9586368"/>
              <a:gd name="connsiteY7637" fmla="*/ 975282 h 6479439"/>
              <a:gd name="connsiteX7638" fmla="*/ 5500080 w 9586368"/>
              <a:gd name="connsiteY7638" fmla="*/ 971244 h 6479439"/>
              <a:gd name="connsiteX7639" fmla="*/ 5500080 w 9586368"/>
              <a:gd name="connsiteY7639" fmla="*/ 961373 h 6479439"/>
              <a:gd name="connsiteX7640" fmla="*/ 5264784 w 9586368"/>
              <a:gd name="connsiteY7640" fmla="*/ 957335 h 6479439"/>
              <a:gd name="connsiteX7641" fmla="*/ 5274694 w 9586368"/>
              <a:gd name="connsiteY7641" fmla="*/ 957335 h 6479439"/>
              <a:gd name="connsiteX7642" fmla="*/ 5278713 w 9586368"/>
              <a:gd name="connsiteY7642" fmla="*/ 961373 h 6479439"/>
              <a:gd name="connsiteX7643" fmla="*/ 5278713 w 9586368"/>
              <a:gd name="connsiteY7643" fmla="*/ 971244 h 6479439"/>
              <a:gd name="connsiteX7644" fmla="*/ 5274694 w 9586368"/>
              <a:gd name="connsiteY7644" fmla="*/ 975282 h 6479439"/>
              <a:gd name="connsiteX7645" fmla="*/ 5264784 w 9586368"/>
              <a:gd name="connsiteY7645" fmla="*/ 975282 h 6479439"/>
              <a:gd name="connsiteX7646" fmla="*/ 5260765 w 9586368"/>
              <a:gd name="connsiteY7646" fmla="*/ 971244 h 6479439"/>
              <a:gd name="connsiteX7647" fmla="*/ 5260765 w 9586368"/>
              <a:gd name="connsiteY7647" fmla="*/ 961373 h 6479439"/>
              <a:gd name="connsiteX7648" fmla="*/ 5025470 w 9586368"/>
              <a:gd name="connsiteY7648" fmla="*/ 957335 h 6479439"/>
              <a:gd name="connsiteX7649" fmla="*/ 5035381 w 9586368"/>
              <a:gd name="connsiteY7649" fmla="*/ 957335 h 6479439"/>
              <a:gd name="connsiteX7650" fmla="*/ 5039400 w 9586368"/>
              <a:gd name="connsiteY7650" fmla="*/ 961373 h 6479439"/>
              <a:gd name="connsiteX7651" fmla="*/ 5039400 w 9586368"/>
              <a:gd name="connsiteY7651" fmla="*/ 971244 h 6479439"/>
              <a:gd name="connsiteX7652" fmla="*/ 5035381 w 9586368"/>
              <a:gd name="connsiteY7652" fmla="*/ 975283 h 6479439"/>
              <a:gd name="connsiteX7653" fmla="*/ 5025470 w 9586368"/>
              <a:gd name="connsiteY7653" fmla="*/ 975283 h 6479439"/>
              <a:gd name="connsiteX7654" fmla="*/ 5021451 w 9586368"/>
              <a:gd name="connsiteY7654" fmla="*/ 971244 h 6479439"/>
              <a:gd name="connsiteX7655" fmla="*/ 5021451 w 9586368"/>
              <a:gd name="connsiteY7655" fmla="*/ 961373 h 6479439"/>
              <a:gd name="connsiteX7656" fmla="*/ 4786241 w 9586368"/>
              <a:gd name="connsiteY7656" fmla="*/ 957335 h 6479439"/>
              <a:gd name="connsiteX7657" fmla="*/ 4796152 w 9586368"/>
              <a:gd name="connsiteY7657" fmla="*/ 957335 h 6479439"/>
              <a:gd name="connsiteX7658" fmla="*/ 4800171 w 9586368"/>
              <a:gd name="connsiteY7658" fmla="*/ 961374 h 6479439"/>
              <a:gd name="connsiteX7659" fmla="*/ 4800171 w 9586368"/>
              <a:gd name="connsiteY7659" fmla="*/ 971244 h 6479439"/>
              <a:gd name="connsiteX7660" fmla="*/ 4796152 w 9586368"/>
              <a:gd name="connsiteY7660" fmla="*/ 975283 h 6479439"/>
              <a:gd name="connsiteX7661" fmla="*/ 4786241 w 9586368"/>
              <a:gd name="connsiteY7661" fmla="*/ 975283 h 6479439"/>
              <a:gd name="connsiteX7662" fmla="*/ 4782224 w 9586368"/>
              <a:gd name="connsiteY7662" fmla="*/ 971244 h 6479439"/>
              <a:gd name="connsiteX7663" fmla="*/ 4782224 w 9586368"/>
              <a:gd name="connsiteY7663" fmla="*/ 961374 h 6479439"/>
              <a:gd name="connsiteX7664" fmla="*/ 6939983 w 9586368"/>
              <a:gd name="connsiteY7664" fmla="*/ 957324 h 6479439"/>
              <a:gd name="connsiteX7665" fmla="*/ 6949894 w 9586368"/>
              <a:gd name="connsiteY7665" fmla="*/ 957324 h 6479439"/>
              <a:gd name="connsiteX7666" fmla="*/ 6953913 w 9586368"/>
              <a:gd name="connsiteY7666" fmla="*/ 961363 h 6479439"/>
              <a:gd name="connsiteX7667" fmla="*/ 6953913 w 9586368"/>
              <a:gd name="connsiteY7667" fmla="*/ 971232 h 6479439"/>
              <a:gd name="connsiteX7668" fmla="*/ 6949894 w 9586368"/>
              <a:gd name="connsiteY7668" fmla="*/ 975271 h 6479439"/>
              <a:gd name="connsiteX7669" fmla="*/ 6939983 w 9586368"/>
              <a:gd name="connsiteY7669" fmla="*/ 975271 h 6479439"/>
              <a:gd name="connsiteX7670" fmla="*/ 6935964 w 9586368"/>
              <a:gd name="connsiteY7670" fmla="*/ 971232 h 6479439"/>
              <a:gd name="connsiteX7671" fmla="*/ 6935964 w 9586368"/>
              <a:gd name="connsiteY7671" fmla="*/ 961363 h 6479439"/>
              <a:gd name="connsiteX7672" fmla="*/ 6700670 w 9586368"/>
              <a:gd name="connsiteY7672" fmla="*/ 957324 h 6479439"/>
              <a:gd name="connsiteX7673" fmla="*/ 6710581 w 9586368"/>
              <a:gd name="connsiteY7673" fmla="*/ 957324 h 6479439"/>
              <a:gd name="connsiteX7674" fmla="*/ 6714600 w 9586368"/>
              <a:gd name="connsiteY7674" fmla="*/ 961363 h 6479439"/>
              <a:gd name="connsiteX7675" fmla="*/ 6714600 w 9586368"/>
              <a:gd name="connsiteY7675" fmla="*/ 971232 h 6479439"/>
              <a:gd name="connsiteX7676" fmla="*/ 6710581 w 9586368"/>
              <a:gd name="connsiteY7676" fmla="*/ 975271 h 6479439"/>
              <a:gd name="connsiteX7677" fmla="*/ 6700670 w 9586368"/>
              <a:gd name="connsiteY7677" fmla="*/ 975271 h 6479439"/>
              <a:gd name="connsiteX7678" fmla="*/ 6696651 w 9586368"/>
              <a:gd name="connsiteY7678" fmla="*/ 971232 h 6479439"/>
              <a:gd name="connsiteX7679" fmla="*/ 6696651 w 9586368"/>
              <a:gd name="connsiteY7679" fmla="*/ 961363 h 6479439"/>
              <a:gd name="connsiteX7680" fmla="*/ 6461356 w 9586368"/>
              <a:gd name="connsiteY7680" fmla="*/ 957324 h 6479439"/>
              <a:gd name="connsiteX7681" fmla="*/ 6471266 w 9586368"/>
              <a:gd name="connsiteY7681" fmla="*/ 957324 h 6479439"/>
              <a:gd name="connsiteX7682" fmla="*/ 6475285 w 9586368"/>
              <a:gd name="connsiteY7682" fmla="*/ 961363 h 6479439"/>
              <a:gd name="connsiteX7683" fmla="*/ 6475285 w 9586368"/>
              <a:gd name="connsiteY7683" fmla="*/ 971232 h 6479439"/>
              <a:gd name="connsiteX7684" fmla="*/ 6471266 w 9586368"/>
              <a:gd name="connsiteY7684" fmla="*/ 975271 h 6479439"/>
              <a:gd name="connsiteX7685" fmla="*/ 6461356 w 9586368"/>
              <a:gd name="connsiteY7685" fmla="*/ 975271 h 6479439"/>
              <a:gd name="connsiteX7686" fmla="*/ 6457337 w 9586368"/>
              <a:gd name="connsiteY7686" fmla="*/ 971232 h 6479439"/>
              <a:gd name="connsiteX7687" fmla="*/ 6457337 w 9586368"/>
              <a:gd name="connsiteY7687" fmla="*/ 961363 h 6479439"/>
              <a:gd name="connsiteX7688" fmla="*/ 6222042 w 9586368"/>
              <a:gd name="connsiteY7688" fmla="*/ 957324 h 6479439"/>
              <a:gd name="connsiteX7689" fmla="*/ 6231952 w 9586368"/>
              <a:gd name="connsiteY7689" fmla="*/ 957324 h 6479439"/>
              <a:gd name="connsiteX7690" fmla="*/ 6235971 w 9586368"/>
              <a:gd name="connsiteY7690" fmla="*/ 961363 h 6479439"/>
              <a:gd name="connsiteX7691" fmla="*/ 6235971 w 9586368"/>
              <a:gd name="connsiteY7691" fmla="*/ 971232 h 6479439"/>
              <a:gd name="connsiteX7692" fmla="*/ 6231952 w 9586368"/>
              <a:gd name="connsiteY7692" fmla="*/ 975271 h 6479439"/>
              <a:gd name="connsiteX7693" fmla="*/ 6222042 w 9586368"/>
              <a:gd name="connsiteY7693" fmla="*/ 975271 h 6479439"/>
              <a:gd name="connsiteX7694" fmla="*/ 6218023 w 9586368"/>
              <a:gd name="connsiteY7694" fmla="*/ 971232 h 6479439"/>
              <a:gd name="connsiteX7695" fmla="*/ 6218023 w 9586368"/>
              <a:gd name="connsiteY7695" fmla="*/ 961363 h 6479439"/>
              <a:gd name="connsiteX7696" fmla="*/ 5982729 w 9586368"/>
              <a:gd name="connsiteY7696" fmla="*/ 957324 h 6479439"/>
              <a:gd name="connsiteX7697" fmla="*/ 5992639 w 9586368"/>
              <a:gd name="connsiteY7697" fmla="*/ 957324 h 6479439"/>
              <a:gd name="connsiteX7698" fmla="*/ 5996658 w 9586368"/>
              <a:gd name="connsiteY7698" fmla="*/ 961363 h 6479439"/>
              <a:gd name="connsiteX7699" fmla="*/ 5996658 w 9586368"/>
              <a:gd name="connsiteY7699" fmla="*/ 971232 h 6479439"/>
              <a:gd name="connsiteX7700" fmla="*/ 5992639 w 9586368"/>
              <a:gd name="connsiteY7700" fmla="*/ 975271 h 6479439"/>
              <a:gd name="connsiteX7701" fmla="*/ 5982729 w 9586368"/>
              <a:gd name="connsiteY7701" fmla="*/ 975271 h 6479439"/>
              <a:gd name="connsiteX7702" fmla="*/ 5978710 w 9586368"/>
              <a:gd name="connsiteY7702" fmla="*/ 971232 h 6479439"/>
              <a:gd name="connsiteX7703" fmla="*/ 5978710 w 9586368"/>
              <a:gd name="connsiteY7703" fmla="*/ 961363 h 6479439"/>
              <a:gd name="connsiteX7704" fmla="*/ 8136553 w 9586368"/>
              <a:gd name="connsiteY7704" fmla="*/ 957313 h 6479439"/>
              <a:gd name="connsiteX7705" fmla="*/ 8146464 w 9586368"/>
              <a:gd name="connsiteY7705" fmla="*/ 957313 h 6479439"/>
              <a:gd name="connsiteX7706" fmla="*/ 8150483 w 9586368"/>
              <a:gd name="connsiteY7706" fmla="*/ 961351 h 6479439"/>
              <a:gd name="connsiteX7707" fmla="*/ 8150483 w 9586368"/>
              <a:gd name="connsiteY7707" fmla="*/ 971222 h 6479439"/>
              <a:gd name="connsiteX7708" fmla="*/ 8146464 w 9586368"/>
              <a:gd name="connsiteY7708" fmla="*/ 975260 h 6479439"/>
              <a:gd name="connsiteX7709" fmla="*/ 8136553 w 9586368"/>
              <a:gd name="connsiteY7709" fmla="*/ 975260 h 6479439"/>
              <a:gd name="connsiteX7710" fmla="*/ 8132534 w 9586368"/>
              <a:gd name="connsiteY7710" fmla="*/ 971222 h 6479439"/>
              <a:gd name="connsiteX7711" fmla="*/ 8132534 w 9586368"/>
              <a:gd name="connsiteY7711" fmla="*/ 961351 h 6479439"/>
              <a:gd name="connsiteX7712" fmla="*/ 7897241 w 9586368"/>
              <a:gd name="connsiteY7712" fmla="*/ 957313 h 6479439"/>
              <a:gd name="connsiteX7713" fmla="*/ 7907151 w 9586368"/>
              <a:gd name="connsiteY7713" fmla="*/ 957313 h 6479439"/>
              <a:gd name="connsiteX7714" fmla="*/ 7911170 w 9586368"/>
              <a:gd name="connsiteY7714" fmla="*/ 961351 h 6479439"/>
              <a:gd name="connsiteX7715" fmla="*/ 7911170 w 9586368"/>
              <a:gd name="connsiteY7715" fmla="*/ 971222 h 6479439"/>
              <a:gd name="connsiteX7716" fmla="*/ 7907151 w 9586368"/>
              <a:gd name="connsiteY7716" fmla="*/ 975260 h 6479439"/>
              <a:gd name="connsiteX7717" fmla="*/ 7897241 w 9586368"/>
              <a:gd name="connsiteY7717" fmla="*/ 975260 h 6479439"/>
              <a:gd name="connsiteX7718" fmla="*/ 7893222 w 9586368"/>
              <a:gd name="connsiteY7718" fmla="*/ 971222 h 6479439"/>
              <a:gd name="connsiteX7719" fmla="*/ 7893222 w 9586368"/>
              <a:gd name="connsiteY7719" fmla="*/ 961351 h 6479439"/>
              <a:gd name="connsiteX7720" fmla="*/ 7657926 w 9586368"/>
              <a:gd name="connsiteY7720" fmla="*/ 957313 h 6479439"/>
              <a:gd name="connsiteX7721" fmla="*/ 7667836 w 9586368"/>
              <a:gd name="connsiteY7721" fmla="*/ 957313 h 6479439"/>
              <a:gd name="connsiteX7722" fmla="*/ 7671855 w 9586368"/>
              <a:gd name="connsiteY7722" fmla="*/ 961351 h 6479439"/>
              <a:gd name="connsiteX7723" fmla="*/ 7671855 w 9586368"/>
              <a:gd name="connsiteY7723" fmla="*/ 971222 h 6479439"/>
              <a:gd name="connsiteX7724" fmla="*/ 7667836 w 9586368"/>
              <a:gd name="connsiteY7724" fmla="*/ 975260 h 6479439"/>
              <a:gd name="connsiteX7725" fmla="*/ 7657926 w 9586368"/>
              <a:gd name="connsiteY7725" fmla="*/ 975260 h 6479439"/>
              <a:gd name="connsiteX7726" fmla="*/ 7653906 w 9586368"/>
              <a:gd name="connsiteY7726" fmla="*/ 971222 h 6479439"/>
              <a:gd name="connsiteX7727" fmla="*/ 7653906 w 9586368"/>
              <a:gd name="connsiteY7727" fmla="*/ 961351 h 6479439"/>
              <a:gd name="connsiteX7728" fmla="*/ 7418611 w 9586368"/>
              <a:gd name="connsiteY7728" fmla="*/ 957313 h 6479439"/>
              <a:gd name="connsiteX7729" fmla="*/ 7428521 w 9586368"/>
              <a:gd name="connsiteY7729" fmla="*/ 957313 h 6479439"/>
              <a:gd name="connsiteX7730" fmla="*/ 7432540 w 9586368"/>
              <a:gd name="connsiteY7730" fmla="*/ 961351 h 6479439"/>
              <a:gd name="connsiteX7731" fmla="*/ 7432540 w 9586368"/>
              <a:gd name="connsiteY7731" fmla="*/ 971222 h 6479439"/>
              <a:gd name="connsiteX7732" fmla="*/ 7428521 w 9586368"/>
              <a:gd name="connsiteY7732" fmla="*/ 975260 h 6479439"/>
              <a:gd name="connsiteX7733" fmla="*/ 7418611 w 9586368"/>
              <a:gd name="connsiteY7733" fmla="*/ 975260 h 6479439"/>
              <a:gd name="connsiteX7734" fmla="*/ 7414592 w 9586368"/>
              <a:gd name="connsiteY7734" fmla="*/ 971222 h 6479439"/>
              <a:gd name="connsiteX7735" fmla="*/ 7414592 w 9586368"/>
              <a:gd name="connsiteY7735" fmla="*/ 961351 h 6479439"/>
              <a:gd name="connsiteX7736" fmla="*/ 7179298 w 9586368"/>
              <a:gd name="connsiteY7736" fmla="*/ 957313 h 6479439"/>
              <a:gd name="connsiteX7737" fmla="*/ 7189209 w 9586368"/>
              <a:gd name="connsiteY7737" fmla="*/ 957313 h 6479439"/>
              <a:gd name="connsiteX7738" fmla="*/ 7193228 w 9586368"/>
              <a:gd name="connsiteY7738" fmla="*/ 961351 h 6479439"/>
              <a:gd name="connsiteX7739" fmla="*/ 7193228 w 9586368"/>
              <a:gd name="connsiteY7739" fmla="*/ 971222 h 6479439"/>
              <a:gd name="connsiteX7740" fmla="*/ 7189209 w 9586368"/>
              <a:gd name="connsiteY7740" fmla="*/ 975260 h 6479439"/>
              <a:gd name="connsiteX7741" fmla="*/ 7179298 w 9586368"/>
              <a:gd name="connsiteY7741" fmla="*/ 975260 h 6479439"/>
              <a:gd name="connsiteX7742" fmla="*/ 7175279 w 9586368"/>
              <a:gd name="connsiteY7742" fmla="*/ 971222 h 6479439"/>
              <a:gd name="connsiteX7743" fmla="*/ 7175279 w 9586368"/>
              <a:gd name="connsiteY7743" fmla="*/ 961351 h 6479439"/>
              <a:gd name="connsiteX7744" fmla="*/ 1679217 w 9586368"/>
              <a:gd name="connsiteY7744" fmla="*/ 957309 h 6479439"/>
              <a:gd name="connsiteX7745" fmla="*/ 1689128 w 9586368"/>
              <a:gd name="connsiteY7745" fmla="*/ 957309 h 6479439"/>
              <a:gd name="connsiteX7746" fmla="*/ 1693147 w 9586368"/>
              <a:gd name="connsiteY7746" fmla="*/ 961347 h 6479439"/>
              <a:gd name="connsiteX7747" fmla="*/ 1693147 w 9586368"/>
              <a:gd name="connsiteY7747" fmla="*/ 971217 h 6479439"/>
              <a:gd name="connsiteX7748" fmla="*/ 1689128 w 9586368"/>
              <a:gd name="connsiteY7748" fmla="*/ 975256 h 6479439"/>
              <a:gd name="connsiteX7749" fmla="*/ 1679217 w 9586368"/>
              <a:gd name="connsiteY7749" fmla="*/ 975256 h 6479439"/>
              <a:gd name="connsiteX7750" fmla="*/ 1675199 w 9586368"/>
              <a:gd name="connsiteY7750" fmla="*/ 971217 h 6479439"/>
              <a:gd name="connsiteX7751" fmla="*/ 1675199 w 9586368"/>
              <a:gd name="connsiteY7751" fmla="*/ 961347 h 6479439"/>
              <a:gd name="connsiteX7752" fmla="*/ 1439901 w 9586368"/>
              <a:gd name="connsiteY7752" fmla="*/ 957309 h 6479439"/>
              <a:gd name="connsiteX7753" fmla="*/ 1449811 w 9586368"/>
              <a:gd name="connsiteY7753" fmla="*/ 957309 h 6479439"/>
              <a:gd name="connsiteX7754" fmla="*/ 1453829 w 9586368"/>
              <a:gd name="connsiteY7754" fmla="*/ 961347 h 6479439"/>
              <a:gd name="connsiteX7755" fmla="*/ 1453829 w 9586368"/>
              <a:gd name="connsiteY7755" fmla="*/ 971217 h 6479439"/>
              <a:gd name="connsiteX7756" fmla="*/ 1449811 w 9586368"/>
              <a:gd name="connsiteY7756" fmla="*/ 975256 h 6479439"/>
              <a:gd name="connsiteX7757" fmla="*/ 1439901 w 9586368"/>
              <a:gd name="connsiteY7757" fmla="*/ 975256 h 6479439"/>
              <a:gd name="connsiteX7758" fmla="*/ 1435881 w 9586368"/>
              <a:gd name="connsiteY7758" fmla="*/ 971217 h 6479439"/>
              <a:gd name="connsiteX7759" fmla="*/ 1435881 w 9586368"/>
              <a:gd name="connsiteY7759" fmla="*/ 961347 h 6479439"/>
              <a:gd name="connsiteX7760" fmla="*/ 1200584 w 9586368"/>
              <a:gd name="connsiteY7760" fmla="*/ 957309 h 6479439"/>
              <a:gd name="connsiteX7761" fmla="*/ 1210495 w 9586368"/>
              <a:gd name="connsiteY7761" fmla="*/ 957309 h 6479439"/>
              <a:gd name="connsiteX7762" fmla="*/ 1214513 w 9586368"/>
              <a:gd name="connsiteY7762" fmla="*/ 961347 h 6479439"/>
              <a:gd name="connsiteX7763" fmla="*/ 1214513 w 9586368"/>
              <a:gd name="connsiteY7763" fmla="*/ 971217 h 6479439"/>
              <a:gd name="connsiteX7764" fmla="*/ 1210495 w 9586368"/>
              <a:gd name="connsiteY7764" fmla="*/ 975256 h 6479439"/>
              <a:gd name="connsiteX7765" fmla="*/ 1200584 w 9586368"/>
              <a:gd name="connsiteY7765" fmla="*/ 975256 h 6479439"/>
              <a:gd name="connsiteX7766" fmla="*/ 1196566 w 9586368"/>
              <a:gd name="connsiteY7766" fmla="*/ 971217 h 6479439"/>
              <a:gd name="connsiteX7767" fmla="*/ 1196566 w 9586368"/>
              <a:gd name="connsiteY7767" fmla="*/ 961347 h 6479439"/>
              <a:gd name="connsiteX7768" fmla="*/ 961271 w 9586368"/>
              <a:gd name="connsiteY7768" fmla="*/ 957309 h 6479439"/>
              <a:gd name="connsiteX7769" fmla="*/ 971182 w 9586368"/>
              <a:gd name="connsiteY7769" fmla="*/ 957309 h 6479439"/>
              <a:gd name="connsiteX7770" fmla="*/ 975201 w 9586368"/>
              <a:gd name="connsiteY7770" fmla="*/ 961347 h 6479439"/>
              <a:gd name="connsiteX7771" fmla="*/ 975201 w 9586368"/>
              <a:gd name="connsiteY7771" fmla="*/ 971218 h 6479439"/>
              <a:gd name="connsiteX7772" fmla="*/ 971182 w 9586368"/>
              <a:gd name="connsiteY7772" fmla="*/ 975256 h 6479439"/>
              <a:gd name="connsiteX7773" fmla="*/ 961271 w 9586368"/>
              <a:gd name="connsiteY7773" fmla="*/ 975256 h 6479439"/>
              <a:gd name="connsiteX7774" fmla="*/ 957253 w 9586368"/>
              <a:gd name="connsiteY7774" fmla="*/ 971218 h 6479439"/>
              <a:gd name="connsiteX7775" fmla="*/ 957253 w 9586368"/>
              <a:gd name="connsiteY7775" fmla="*/ 961347 h 6479439"/>
              <a:gd name="connsiteX7776" fmla="*/ 9333125 w 9586368"/>
              <a:gd name="connsiteY7776" fmla="*/ 957302 h 6479439"/>
              <a:gd name="connsiteX7777" fmla="*/ 9343036 w 9586368"/>
              <a:gd name="connsiteY7777" fmla="*/ 957302 h 6479439"/>
              <a:gd name="connsiteX7778" fmla="*/ 9347055 w 9586368"/>
              <a:gd name="connsiteY7778" fmla="*/ 961340 h 6479439"/>
              <a:gd name="connsiteX7779" fmla="*/ 9347055 w 9586368"/>
              <a:gd name="connsiteY7779" fmla="*/ 971210 h 6479439"/>
              <a:gd name="connsiteX7780" fmla="*/ 9343036 w 9586368"/>
              <a:gd name="connsiteY7780" fmla="*/ 975249 h 6479439"/>
              <a:gd name="connsiteX7781" fmla="*/ 9333125 w 9586368"/>
              <a:gd name="connsiteY7781" fmla="*/ 975249 h 6479439"/>
              <a:gd name="connsiteX7782" fmla="*/ 9329106 w 9586368"/>
              <a:gd name="connsiteY7782" fmla="*/ 971210 h 6479439"/>
              <a:gd name="connsiteX7783" fmla="*/ 9329106 w 9586368"/>
              <a:gd name="connsiteY7783" fmla="*/ 961340 h 6479439"/>
              <a:gd name="connsiteX7784" fmla="*/ 9093811 w 9586368"/>
              <a:gd name="connsiteY7784" fmla="*/ 957302 h 6479439"/>
              <a:gd name="connsiteX7785" fmla="*/ 9103722 w 9586368"/>
              <a:gd name="connsiteY7785" fmla="*/ 957302 h 6479439"/>
              <a:gd name="connsiteX7786" fmla="*/ 9107741 w 9586368"/>
              <a:gd name="connsiteY7786" fmla="*/ 961340 h 6479439"/>
              <a:gd name="connsiteX7787" fmla="*/ 9107741 w 9586368"/>
              <a:gd name="connsiteY7787" fmla="*/ 971210 h 6479439"/>
              <a:gd name="connsiteX7788" fmla="*/ 9103722 w 9586368"/>
              <a:gd name="connsiteY7788" fmla="*/ 975249 h 6479439"/>
              <a:gd name="connsiteX7789" fmla="*/ 9093811 w 9586368"/>
              <a:gd name="connsiteY7789" fmla="*/ 975249 h 6479439"/>
              <a:gd name="connsiteX7790" fmla="*/ 9089792 w 9586368"/>
              <a:gd name="connsiteY7790" fmla="*/ 971210 h 6479439"/>
              <a:gd name="connsiteX7791" fmla="*/ 9089792 w 9586368"/>
              <a:gd name="connsiteY7791" fmla="*/ 961340 h 6479439"/>
              <a:gd name="connsiteX7792" fmla="*/ 8854496 w 9586368"/>
              <a:gd name="connsiteY7792" fmla="*/ 957302 h 6479439"/>
              <a:gd name="connsiteX7793" fmla="*/ 8864407 w 9586368"/>
              <a:gd name="connsiteY7793" fmla="*/ 957302 h 6479439"/>
              <a:gd name="connsiteX7794" fmla="*/ 8868426 w 9586368"/>
              <a:gd name="connsiteY7794" fmla="*/ 961340 h 6479439"/>
              <a:gd name="connsiteX7795" fmla="*/ 8868426 w 9586368"/>
              <a:gd name="connsiteY7795" fmla="*/ 971210 h 6479439"/>
              <a:gd name="connsiteX7796" fmla="*/ 8864407 w 9586368"/>
              <a:gd name="connsiteY7796" fmla="*/ 975249 h 6479439"/>
              <a:gd name="connsiteX7797" fmla="*/ 8854496 w 9586368"/>
              <a:gd name="connsiteY7797" fmla="*/ 975249 h 6479439"/>
              <a:gd name="connsiteX7798" fmla="*/ 8850477 w 9586368"/>
              <a:gd name="connsiteY7798" fmla="*/ 971210 h 6479439"/>
              <a:gd name="connsiteX7799" fmla="*/ 8850477 w 9586368"/>
              <a:gd name="connsiteY7799" fmla="*/ 961340 h 6479439"/>
              <a:gd name="connsiteX7800" fmla="*/ 8615184 w 9586368"/>
              <a:gd name="connsiteY7800" fmla="*/ 957302 h 6479439"/>
              <a:gd name="connsiteX7801" fmla="*/ 8625095 w 9586368"/>
              <a:gd name="connsiteY7801" fmla="*/ 957302 h 6479439"/>
              <a:gd name="connsiteX7802" fmla="*/ 8629114 w 9586368"/>
              <a:gd name="connsiteY7802" fmla="*/ 961340 h 6479439"/>
              <a:gd name="connsiteX7803" fmla="*/ 8629114 w 9586368"/>
              <a:gd name="connsiteY7803" fmla="*/ 971210 h 6479439"/>
              <a:gd name="connsiteX7804" fmla="*/ 8625095 w 9586368"/>
              <a:gd name="connsiteY7804" fmla="*/ 975249 h 6479439"/>
              <a:gd name="connsiteX7805" fmla="*/ 8615184 w 9586368"/>
              <a:gd name="connsiteY7805" fmla="*/ 975249 h 6479439"/>
              <a:gd name="connsiteX7806" fmla="*/ 8611165 w 9586368"/>
              <a:gd name="connsiteY7806" fmla="*/ 971210 h 6479439"/>
              <a:gd name="connsiteX7807" fmla="*/ 8611165 w 9586368"/>
              <a:gd name="connsiteY7807" fmla="*/ 961340 h 6479439"/>
              <a:gd name="connsiteX7808" fmla="*/ 8375869 w 9586368"/>
              <a:gd name="connsiteY7808" fmla="*/ 957302 h 6479439"/>
              <a:gd name="connsiteX7809" fmla="*/ 8385779 w 9586368"/>
              <a:gd name="connsiteY7809" fmla="*/ 957302 h 6479439"/>
              <a:gd name="connsiteX7810" fmla="*/ 8389799 w 9586368"/>
              <a:gd name="connsiteY7810" fmla="*/ 961340 h 6479439"/>
              <a:gd name="connsiteX7811" fmla="*/ 8389799 w 9586368"/>
              <a:gd name="connsiteY7811" fmla="*/ 971210 h 6479439"/>
              <a:gd name="connsiteX7812" fmla="*/ 8385779 w 9586368"/>
              <a:gd name="connsiteY7812" fmla="*/ 975249 h 6479439"/>
              <a:gd name="connsiteX7813" fmla="*/ 8375869 w 9586368"/>
              <a:gd name="connsiteY7813" fmla="*/ 975249 h 6479439"/>
              <a:gd name="connsiteX7814" fmla="*/ 8371850 w 9586368"/>
              <a:gd name="connsiteY7814" fmla="*/ 971210 h 6479439"/>
              <a:gd name="connsiteX7815" fmla="*/ 8371850 w 9586368"/>
              <a:gd name="connsiteY7815" fmla="*/ 961340 h 6479439"/>
              <a:gd name="connsiteX7816" fmla="*/ 1918514 w 9586368"/>
              <a:gd name="connsiteY7816" fmla="*/ 957301 h 6479439"/>
              <a:gd name="connsiteX7817" fmla="*/ 1928424 w 9586368"/>
              <a:gd name="connsiteY7817" fmla="*/ 957301 h 6479439"/>
              <a:gd name="connsiteX7818" fmla="*/ 1932444 w 9586368"/>
              <a:gd name="connsiteY7818" fmla="*/ 961339 h 6479439"/>
              <a:gd name="connsiteX7819" fmla="*/ 1932444 w 9586368"/>
              <a:gd name="connsiteY7819" fmla="*/ 971210 h 6479439"/>
              <a:gd name="connsiteX7820" fmla="*/ 1928424 w 9586368"/>
              <a:gd name="connsiteY7820" fmla="*/ 975249 h 6479439"/>
              <a:gd name="connsiteX7821" fmla="*/ 1918514 w 9586368"/>
              <a:gd name="connsiteY7821" fmla="*/ 975249 h 6479439"/>
              <a:gd name="connsiteX7822" fmla="*/ 1914495 w 9586368"/>
              <a:gd name="connsiteY7822" fmla="*/ 971210 h 6479439"/>
              <a:gd name="connsiteX7823" fmla="*/ 1914495 w 9586368"/>
              <a:gd name="connsiteY7823" fmla="*/ 961339 h 6479439"/>
              <a:gd name="connsiteX7824" fmla="*/ 2157823 w 9586368"/>
              <a:gd name="connsiteY7824" fmla="*/ 957299 h 6479439"/>
              <a:gd name="connsiteX7825" fmla="*/ 2167733 w 9586368"/>
              <a:gd name="connsiteY7825" fmla="*/ 957299 h 6479439"/>
              <a:gd name="connsiteX7826" fmla="*/ 2171751 w 9586368"/>
              <a:gd name="connsiteY7826" fmla="*/ 961337 h 6479439"/>
              <a:gd name="connsiteX7827" fmla="*/ 2171751 w 9586368"/>
              <a:gd name="connsiteY7827" fmla="*/ 971207 h 6479439"/>
              <a:gd name="connsiteX7828" fmla="*/ 2167733 w 9586368"/>
              <a:gd name="connsiteY7828" fmla="*/ 975246 h 6479439"/>
              <a:gd name="connsiteX7829" fmla="*/ 2157823 w 9586368"/>
              <a:gd name="connsiteY7829" fmla="*/ 975246 h 6479439"/>
              <a:gd name="connsiteX7830" fmla="*/ 2153804 w 9586368"/>
              <a:gd name="connsiteY7830" fmla="*/ 971207 h 6479439"/>
              <a:gd name="connsiteX7831" fmla="*/ 2153804 w 9586368"/>
              <a:gd name="connsiteY7831" fmla="*/ 961337 h 6479439"/>
              <a:gd name="connsiteX7832" fmla="*/ 9572438 w 9586368"/>
              <a:gd name="connsiteY7832" fmla="*/ 957291 h 6479439"/>
              <a:gd name="connsiteX7833" fmla="*/ 9582349 w 9586368"/>
              <a:gd name="connsiteY7833" fmla="*/ 957291 h 6479439"/>
              <a:gd name="connsiteX7834" fmla="*/ 9586368 w 9586368"/>
              <a:gd name="connsiteY7834" fmla="*/ 961329 h 6479439"/>
              <a:gd name="connsiteX7835" fmla="*/ 9586368 w 9586368"/>
              <a:gd name="connsiteY7835" fmla="*/ 971199 h 6479439"/>
              <a:gd name="connsiteX7836" fmla="*/ 9582349 w 9586368"/>
              <a:gd name="connsiteY7836" fmla="*/ 975238 h 6479439"/>
              <a:gd name="connsiteX7837" fmla="*/ 9572438 w 9586368"/>
              <a:gd name="connsiteY7837" fmla="*/ 975238 h 6479439"/>
              <a:gd name="connsiteX7838" fmla="*/ 9568419 w 9586368"/>
              <a:gd name="connsiteY7838" fmla="*/ 971199 h 6479439"/>
              <a:gd name="connsiteX7839" fmla="*/ 9568419 w 9586368"/>
              <a:gd name="connsiteY7839" fmla="*/ 961329 h 6479439"/>
              <a:gd name="connsiteX7840" fmla="*/ 721974 w 9586368"/>
              <a:gd name="connsiteY7840" fmla="*/ 957266 h 6479439"/>
              <a:gd name="connsiteX7841" fmla="*/ 731884 w 9586368"/>
              <a:gd name="connsiteY7841" fmla="*/ 957266 h 6479439"/>
              <a:gd name="connsiteX7842" fmla="*/ 735903 w 9586368"/>
              <a:gd name="connsiteY7842" fmla="*/ 961305 h 6479439"/>
              <a:gd name="connsiteX7843" fmla="*/ 735903 w 9586368"/>
              <a:gd name="connsiteY7843" fmla="*/ 971175 h 6479439"/>
              <a:gd name="connsiteX7844" fmla="*/ 731884 w 9586368"/>
              <a:gd name="connsiteY7844" fmla="*/ 975214 h 6479439"/>
              <a:gd name="connsiteX7845" fmla="*/ 721974 w 9586368"/>
              <a:gd name="connsiteY7845" fmla="*/ 975214 h 6479439"/>
              <a:gd name="connsiteX7846" fmla="*/ 717956 w 9586368"/>
              <a:gd name="connsiteY7846" fmla="*/ 971175 h 6479439"/>
              <a:gd name="connsiteX7847" fmla="*/ 717956 w 9586368"/>
              <a:gd name="connsiteY7847" fmla="*/ 961305 h 6479439"/>
              <a:gd name="connsiteX7848" fmla="*/ 482662 w 9586368"/>
              <a:gd name="connsiteY7848" fmla="*/ 957266 h 6479439"/>
              <a:gd name="connsiteX7849" fmla="*/ 492572 w 9586368"/>
              <a:gd name="connsiteY7849" fmla="*/ 957266 h 6479439"/>
              <a:gd name="connsiteX7850" fmla="*/ 496591 w 9586368"/>
              <a:gd name="connsiteY7850" fmla="*/ 961305 h 6479439"/>
              <a:gd name="connsiteX7851" fmla="*/ 496591 w 9586368"/>
              <a:gd name="connsiteY7851" fmla="*/ 971175 h 6479439"/>
              <a:gd name="connsiteX7852" fmla="*/ 492572 w 9586368"/>
              <a:gd name="connsiteY7852" fmla="*/ 975214 h 6479439"/>
              <a:gd name="connsiteX7853" fmla="*/ 482662 w 9586368"/>
              <a:gd name="connsiteY7853" fmla="*/ 975214 h 6479439"/>
              <a:gd name="connsiteX7854" fmla="*/ 478643 w 9586368"/>
              <a:gd name="connsiteY7854" fmla="*/ 971175 h 6479439"/>
              <a:gd name="connsiteX7855" fmla="*/ 478643 w 9586368"/>
              <a:gd name="connsiteY7855" fmla="*/ 961305 h 6479439"/>
              <a:gd name="connsiteX7856" fmla="*/ 243349 w 9586368"/>
              <a:gd name="connsiteY7856" fmla="*/ 957266 h 6479439"/>
              <a:gd name="connsiteX7857" fmla="*/ 253259 w 9586368"/>
              <a:gd name="connsiteY7857" fmla="*/ 957266 h 6479439"/>
              <a:gd name="connsiteX7858" fmla="*/ 257278 w 9586368"/>
              <a:gd name="connsiteY7858" fmla="*/ 961305 h 6479439"/>
              <a:gd name="connsiteX7859" fmla="*/ 257278 w 9586368"/>
              <a:gd name="connsiteY7859" fmla="*/ 971175 h 6479439"/>
              <a:gd name="connsiteX7860" fmla="*/ 253259 w 9586368"/>
              <a:gd name="connsiteY7860" fmla="*/ 975214 h 6479439"/>
              <a:gd name="connsiteX7861" fmla="*/ 243349 w 9586368"/>
              <a:gd name="connsiteY7861" fmla="*/ 975214 h 6479439"/>
              <a:gd name="connsiteX7862" fmla="*/ 239330 w 9586368"/>
              <a:gd name="connsiteY7862" fmla="*/ 971175 h 6479439"/>
              <a:gd name="connsiteX7863" fmla="*/ 239330 w 9586368"/>
              <a:gd name="connsiteY7863" fmla="*/ 961305 h 6479439"/>
              <a:gd name="connsiteX7864" fmla="*/ 4036 w 9586368"/>
              <a:gd name="connsiteY7864" fmla="*/ 957266 h 6479439"/>
              <a:gd name="connsiteX7865" fmla="*/ 13946 w 9586368"/>
              <a:gd name="connsiteY7865" fmla="*/ 957266 h 6479439"/>
              <a:gd name="connsiteX7866" fmla="*/ 17965 w 9586368"/>
              <a:gd name="connsiteY7866" fmla="*/ 961305 h 6479439"/>
              <a:gd name="connsiteX7867" fmla="*/ 17965 w 9586368"/>
              <a:gd name="connsiteY7867" fmla="*/ 971176 h 6479439"/>
              <a:gd name="connsiteX7868" fmla="*/ 13946 w 9586368"/>
              <a:gd name="connsiteY7868" fmla="*/ 975214 h 6479439"/>
              <a:gd name="connsiteX7869" fmla="*/ 4036 w 9586368"/>
              <a:gd name="connsiteY7869" fmla="*/ 975214 h 6479439"/>
              <a:gd name="connsiteX7870" fmla="*/ 16 w 9586368"/>
              <a:gd name="connsiteY7870" fmla="*/ 971176 h 6479439"/>
              <a:gd name="connsiteX7871" fmla="*/ 16 w 9586368"/>
              <a:gd name="connsiteY7871" fmla="*/ 961305 h 6479439"/>
              <a:gd name="connsiteX7872" fmla="*/ 3350359 w 9586368"/>
              <a:gd name="connsiteY7872" fmla="*/ 718040 h 6479439"/>
              <a:gd name="connsiteX7873" fmla="*/ 3360268 w 9586368"/>
              <a:gd name="connsiteY7873" fmla="*/ 718040 h 6479439"/>
              <a:gd name="connsiteX7874" fmla="*/ 3364287 w 9586368"/>
              <a:gd name="connsiteY7874" fmla="*/ 722078 h 6479439"/>
              <a:gd name="connsiteX7875" fmla="*/ 3364287 w 9586368"/>
              <a:gd name="connsiteY7875" fmla="*/ 731948 h 6479439"/>
              <a:gd name="connsiteX7876" fmla="*/ 3360268 w 9586368"/>
              <a:gd name="connsiteY7876" fmla="*/ 735987 h 6479439"/>
              <a:gd name="connsiteX7877" fmla="*/ 3350359 w 9586368"/>
              <a:gd name="connsiteY7877" fmla="*/ 735987 h 6479439"/>
              <a:gd name="connsiteX7878" fmla="*/ 3346340 w 9586368"/>
              <a:gd name="connsiteY7878" fmla="*/ 731948 h 6479439"/>
              <a:gd name="connsiteX7879" fmla="*/ 3346340 w 9586368"/>
              <a:gd name="connsiteY7879" fmla="*/ 722078 h 6479439"/>
              <a:gd name="connsiteX7880" fmla="*/ 3111048 w 9586368"/>
              <a:gd name="connsiteY7880" fmla="*/ 718040 h 6479439"/>
              <a:gd name="connsiteX7881" fmla="*/ 3120959 w 9586368"/>
              <a:gd name="connsiteY7881" fmla="*/ 718040 h 6479439"/>
              <a:gd name="connsiteX7882" fmla="*/ 3124977 w 9586368"/>
              <a:gd name="connsiteY7882" fmla="*/ 722078 h 6479439"/>
              <a:gd name="connsiteX7883" fmla="*/ 3124977 w 9586368"/>
              <a:gd name="connsiteY7883" fmla="*/ 731949 h 6479439"/>
              <a:gd name="connsiteX7884" fmla="*/ 3120959 w 9586368"/>
              <a:gd name="connsiteY7884" fmla="*/ 735987 h 6479439"/>
              <a:gd name="connsiteX7885" fmla="*/ 3111048 w 9586368"/>
              <a:gd name="connsiteY7885" fmla="*/ 735987 h 6479439"/>
              <a:gd name="connsiteX7886" fmla="*/ 3107029 w 9586368"/>
              <a:gd name="connsiteY7886" fmla="*/ 731949 h 6479439"/>
              <a:gd name="connsiteX7887" fmla="*/ 3107029 w 9586368"/>
              <a:gd name="connsiteY7887" fmla="*/ 722078 h 6479439"/>
              <a:gd name="connsiteX7888" fmla="*/ 2871737 w 9586368"/>
              <a:gd name="connsiteY7888" fmla="*/ 718040 h 6479439"/>
              <a:gd name="connsiteX7889" fmla="*/ 2881646 w 9586368"/>
              <a:gd name="connsiteY7889" fmla="*/ 718040 h 6479439"/>
              <a:gd name="connsiteX7890" fmla="*/ 2885666 w 9586368"/>
              <a:gd name="connsiteY7890" fmla="*/ 722078 h 6479439"/>
              <a:gd name="connsiteX7891" fmla="*/ 2885666 w 9586368"/>
              <a:gd name="connsiteY7891" fmla="*/ 731949 h 6479439"/>
              <a:gd name="connsiteX7892" fmla="*/ 2881646 w 9586368"/>
              <a:gd name="connsiteY7892" fmla="*/ 735987 h 6479439"/>
              <a:gd name="connsiteX7893" fmla="*/ 2871737 w 9586368"/>
              <a:gd name="connsiteY7893" fmla="*/ 735987 h 6479439"/>
              <a:gd name="connsiteX7894" fmla="*/ 2867717 w 9586368"/>
              <a:gd name="connsiteY7894" fmla="*/ 731949 h 6479439"/>
              <a:gd name="connsiteX7895" fmla="*/ 2867717 w 9586368"/>
              <a:gd name="connsiteY7895" fmla="*/ 722078 h 6479439"/>
              <a:gd name="connsiteX7896" fmla="*/ 2632423 w 9586368"/>
              <a:gd name="connsiteY7896" fmla="*/ 718040 h 6479439"/>
              <a:gd name="connsiteX7897" fmla="*/ 2642334 w 9586368"/>
              <a:gd name="connsiteY7897" fmla="*/ 718040 h 6479439"/>
              <a:gd name="connsiteX7898" fmla="*/ 2646352 w 9586368"/>
              <a:gd name="connsiteY7898" fmla="*/ 722078 h 6479439"/>
              <a:gd name="connsiteX7899" fmla="*/ 2646352 w 9586368"/>
              <a:gd name="connsiteY7899" fmla="*/ 731949 h 6479439"/>
              <a:gd name="connsiteX7900" fmla="*/ 2642334 w 9586368"/>
              <a:gd name="connsiteY7900" fmla="*/ 735988 h 6479439"/>
              <a:gd name="connsiteX7901" fmla="*/ 2632423 w 9586368"/>
              <a:gd name="connsiteY7901" fmla="*/ 735988 h 6479439"/>
              <a:gd name="connsiteX7902" fmla="*/ 2628404 w 9586368"/>
              <a:gd name="connsiteY7902" fmla="*/ 731949 h 6479439"/>
              <a:gd name="connsiteX7903" fmla="*/ 2628404 w 9586368"/>
              <a:gd name="connsiteY7903" fmla="*/ 722078 h 6479439"/>
              <a:gd name="connsiteX7904" fmla="*/ 2393104 w 9586368"/>
              <a:gd name="connsiteY7904" fmla="*/ 718040 h 6479439"/>
              <a:gd name="connsiteX7905" fmla="*/ 2403015 w 9586368"/>
              <a:gd name="connsiteY7905" fmla="*/ 718040 h 6479439"/>
              <a:gd name="connsiteX7906" fmla="*/ 2407034 w 9586368"/>
              <a:gd name="connsiteY7906" fmla="*/ 722078 h 6479439"/>
              <a:gd name="connsiteX7907" fmla="*/ 2407034 w 9586368"/>
              <a:gd name="connsiteY7907" fmla="*/ 731949 h 6479439"/>
              <a:gd name="connsiteX7908" fmla="*/ 2403015 w 9586368"/>
              <a:gd name="connsiteY7908" fmla="*/ 735988 h 6479439"/>
              <a:gd name="connsiteX7909" fmla="*/ 2393104 w 9586368"/>
              <a:gd name="connsiteY7909" fmla="*/ 735988 h 6479439"/>
              <a:gd name="connsiteX7910" fmla="*/ 2389087 w 9586368"/>
              <a:gd name="connsiteY7910" fmla="*/ 731949 h 6479439"/>
              <a:gd name="connsiteX7911" fmla="*/ 2389087 w 9586368"/>
              <a:gd name="connsiteY7911" fmla="*/ 722078 h 6479439"/>
              <a:gd name="connsiteX7912" fmla="*/ 4546929 w 9586368"/>
              <a:gd name="connsiteY7912" fmla="*/ 718028 h 6479439"/>
              <a:gd name="connsiteX7913" fmla="*/ 4556840 w 9586368"/>
              <a:gd name="connsiteY7913" fmla="*/ 718028 h 6479439"/>
              <a:gd name="connsiteX7914" fmla="*/ 4560859 w 9586368"/>
              <a:gd name="connsiteY7914" fmla="*/ 722066 h 6479439"/>
              <a:gd name="connsiteX7915" fmla="*/ 4560859 w 9586368"/>
              <a:gd name="connsiteY7915" fmla="*/ 731935 h 6479439"/>
              <a:gd name="connsiteX7916" fmla="*/ 4556840 w 9586368"/>
              <a:gd name="connsiteY7916" fmla="*/ 735975 h 6479439"/>
              <a:gd name="connsiteX7917" fmla="*/ 4546929 w 9586368"/>
              <a:gd name="connsiteY7917" fmla="*/ 735975 h 6479439"/>
              <a:gd name="connsiteX7918" fmla="*/ 4542910 w 9586368"/>
              <a:gd name="connsiteY7918" fmla="*/ 731935 h 6479439"/>
              <a:gd name="connsiteX7919" fmla="*/ 4542910 w 9586368"/>
              <a:gd name="connsiteY7919" fmla="*/ 722066 h 6479439"/>
              <a:gd name="connsiteX7920" fmla="*/ 4307612 w 9586368"/>
              <a:gd name="connsiteY7920" fmla="*/ 718028 h 6479439"/>
              <a:gd name="connsiteX7921" fmla="*/ 4317523 w 9586368"/>
              <a:gd name="connsiteY7921" fmla="*/ 718028 h 6479439"/>
              <a:gd name="connsiteX7922" fmla="*/ 4321543 w 9586368"/>
              <a:gd name="connsiteY7922" fmla="*/ 722066 h 6479439"/>
              <a:gd name="connsiteX7923" fmla="*/ 4321543 w 9586368"/>
              <a:gd name="connsiteY7923" fmla="*/ 731936 h 6479439"/>
              <a:gd name="connsiteX7924" fmla="*/ 4317523 w 9586368"/>
              <a:gd name="connsiteY7924" fmla="*/ 735975 h 6479439"/>
              <a:gd name="connsiteX7925" fmla="*/ 4307612 w 9586368"/>
              <a:gd name="connsiteY7925" fmla="*/ 735975 h 6479439"/>
              <a:gd name="connsiteX7926" fmla="*/ 4303595 w 9586368"/>
              <a:gd name="connsiteY7926" fmla="*/ 731936 h 6479439"/>
              <a:gd name="connsiteX7927" fmla="*/ 4303595 w 9586368"/>
              <a:gd name="connsiteY7927" fmla="*/ 722066 h 6479439"/>
              <a:gd name="connsiteX7928" fmla="*/ 4068297 w 9586368"/>
              <a:gd name="connsiteY7928" fmla="*/ 718028 h 6479439"/>
              <a:gd name="connsiteX7929" fmla="*/ 4078210 w 9586368"/>
              <a:gd name="connsiteY7929" fmla="*/ 718028 h 6479439"/>
              <a:gd name="connsiteX7930" fmla="*/ 4082229 w 9586368"/>
              <a:gd name="connsiteY7930" fmla="*/ 722066 h 6479439"/>
              <a:gd name="connsiteX7931" fmla="*/ 4082229 w 9586368"/>
              <a:gd name="connsiteY7931" fmla="*/ 731936 h 6479439"/>
              <a:gd name="connsiteX7932" fmla="*/ 4078210 w 9586368"/>
              <a:gd name="connsiteY7932" fmla="*/ 735975 h 6479439"/>
              <a:gd name="connsiteX7933" fmla="*/ 4068297 w 9586368"/>
              <a:gd name="connsiteY7933" fmla="*/ 735975 h 6479439"/>
              <a:gd name="connsiteX7934" fmla="*/ 4064278 w 9586368"/>
              <a:gd name="connsiteY7934" fmla="*/ 731936 h 6479439"/>
              <a:gd name="connsiteX7935" fmla="*/ 4064278 w 9586368"/>
              <a:gd name="connsiteY7935" fmla="*/ 722066 h 6479439"/>
              <a:gd name="connsiteX7936" fmla="*/ 3828990 w 9586368"/>
              <a:gd name="connsiteY7936" fmla="*/ 718028 h 6479439"/>
              <a:gd name="connsiteX7937" fmla="*/ 3838899 w 9586368"/>
              <a:gd name="connsiteY7937" fmla="*/ 718028 h 6479439"/>
              <a:gd name="connsiteX7938" fmla="*/ 3842917 w 9586368"/>
              <a:gd name="connsiteY7938" fmla="*/ 722066 h 6479439"/>
              <a:gd name="connsiteX7939" fmla="*/ 3842917 w 9586368"/>
              <a:gd name="connsiteY7939" fmla="*/ 731936 h 6479439"/>
              <a:gd name="connsiteX7940" fmla="*/ 3838899 w 9586368"/>
              <a:gd name="connsiteY7940" fmla="*/ 735975 h 6479439"/>
              <a:gd name="connsiteX7941" fmla="*/ 3828990 w 9586368"/>
              <a:gd name="connsiteY7941" fmla="*/ 735975 h 6479439"/>
              <a:gd name="connsiteX7942" fmla="*/ 3824971 w 9586368"/>
              <a:gd name="connsiteY7942" fmla="*/ 731936 h 6479439"/>
              <a:gd name="connsiteX7943" fmla="*/ 3824971 w 9586368"/>
              <a:gd name="connsiteY7943" fmla="*/ 722066 h 6479439"/>
              <a:gd name="connsiteX7944" fmla="*/ 3589676 w 9586368"/>
              <a:gd name="connsiteY7944" fmla="*/ 718028 h 6479439"/>
              <a:gd name="connsiteX7945" fmla="*/ 3599585 w 9586368"/>
              <a:gd name="connsiteY7945" fmla="*/ 718028 h 6479439"/>
              <a:gd name="connsiteX7946" fmla="*/ 3603604 w 9586368"/>
              <a:gd name="connsiteY7946" fmla="*/ 722066 h 6479439"/>
              <a:gd name="connsiteX7947" fmla="*/ 3603604 w 9586368"/>
              <a:gd name="connsiteY7947" fmla="*/ 731936 h 6479439"/>
              <a:gd name="connsiteX7948" fmla="*/ 3599585 w 9586368"/>
              <a:gd name="connsiteY7948" fmla="*/ 735975 h 6479439"/>
              <a:gd name="connsiteX7949" fmla="*/ 3589676 w 9586368"/>
              <a:gd name="connsiteY7949" fmla="*/ 735975 h 6479439"/>
              <a:gd name="connsiteX7950" fmla="*/ 3585657 w 9586368"/>
              <a:gd name="connsiteY7950" fmla="*/ 731936 h 6479439"/>
              <a:gd name="connsiteX7951" fmla="*/ 3585657 w 9586368"/>
              <a:gd name="connsiteY7951" fmla="*/ 722066 h 6479439"/>
              <a:gd name="connsiteX7952" fmla="*/ 5743412 w 9586368"/>
              <a:gd name="connsiteY7952" fmla="*/ 718015 h 6479439"/>
              <a:gd name="connsiteX7953" fmla="*/ 5753323 w 9586368"/>
              <a:gd name="connsiteY7953" fmla="*/ 718015 h 6479439"/>
              <a:gd name="connsiteX7954" fmla="*/ 5757342 w 9586368"/>
              <a:gd name="connsiteY7954" fmla="*/ 722053 h 6479439"/>
              <a:gd name="connsiteX7955" fmla="*/ 5757342 w 9586368"/>
              <a:gd name="connsiteY7955" fmla="*/ 731924 h 6479439"/>
              <a:gd name="connsiteX7956" fmla="*/ 5753323 w 9586368"/>
              <a:gd name="connsiteY7956" fmla="*/ 735963 h 6479439"/>
              <a:gd name="connsiteX7957" fmla="*/ 5743412 w 9586368"/>
              <a:gd name="connsiteY7957" fmla="*/ 735963 h 6479439"/>
              <a:gd name="connsiteX7958" fmla="*/ 5739393 w 9586368"/>
              <a:gd name="connsiteY7958" fmla="*/ 731924 h 6479439"/>
              <a:gd name="connsiteX7959" fmla="*/ 5739393 w 9586368"/>
              <a:gd name="connsiteY7959" fmla="*/ 722053 h 6479439"/>
              <a:gd name="connsiteX7960" fmla="*/ 5504099 w 9586368"/>
              <a:gd name="connsiteY7960" fmla="*/ 718015 h 6479439"/>
              <a:gd name="connsiteX7961" fmla="*/ 5514010 w 9586368"/>
              <a:gd name="connsiteY7961" fmla="*/ 718015 h 6479439"/>
              <a:gd name="connsiteX7962" fmla="*/ 5518029 w 9586368"/>
              <a:gd name="connsiteY7962" fmla="*/ 722053 h 6479439"/>
              <a:gd name="connsiteX7963" fmla="*/ 5518029 w 9586368"/>
              <a:gd name="connsiteY7963" fmla="*/ 731924 h 6479439"/>
              <a:gd name="connsiteX7964" fmla="*/ 5514010 w 9586368"/>
              <a:gd name="connsiteY7964" fmla="*/ 735963 h 6479439"/>
              <a:gd name="connsiteX7965" fmla="*/ 5504099 w 9586368"/>
              <a:gd name="connsiteY7965" fmla="*/ 735963 h 6479439"/>
              <a:gd name="connsiteX7966" fmla="*/ 5500080 w 9586368"/>
              <a:gd name="connsiteY7966" fmla="*/ 731924 h 6479439"/>
              <a:gd name="connsiteX7967" fmla="*/ 5500080 w 9586368"/>
              <a:gd name="connsiteY7967" fmla="*/ 722053 h 6479439"/>
              <a:gd name="connsiteX7968" fmla="*/ 5264784 w 9586368"/>
              <a:gd name="connsiteY7968" fmla="*/ 718015 h 6479439"/>
              <a:gd name="connsiteX7969" fmla="*/ 5274694 w 9586368"/>
              <a:gd name="connsiteY7969" fmla="*/ 718015 h 6479439"/>
              <a:gd name="connsiteX7970" fmla="*/ 5278713 w 9586368"/>
              <a:gd name="connsiteY7970" fmla="*/ 722053 h 6479439"/>
              <a:gd name="connsiteX7971" fmla="*/ 5278713 w 9586368"/>
              <a:gd name="connsiteY7971" fmla="*/ 731924 h 6479439"/>
              <a:gd name="connsiteX7972" fmla="*/ 5274694 w 9586368"/>
              <a:gd name="connsiteY7972" fmla="*/ 735963 h 6479439"/>
              <a:gd name="connsiteX7973" fmla="*/ 5264784 w 9586368"/>
              <a:gd name="connsiteY7973" fmla="*/ 735963 h 6479439"/>
              <a:gd name="connsiteX7974" fmla="*/ 5260765 w 9586368"/>
              <a:gd name="connsiteY7974" fmla="*/ 731924 h 6479439"/>
              <a:gd name="connsiteX7975" fmla="*/ 5260765 w 9586368"/>
              <a:gd name="connsiteY7975" fmla="*/ 722053 h 6479439"/>
              <a:gd name="connsiteX7976" fmla="*/ 5025470 w 9586368"/>
              <a:gd name="connsiteY7976" fmla="*/ 718015 h 6479439"/>
              <a:gd name="connsiteX7977" fmla="*/ 5035381 w 9586368"/>
              <a:gd name="connsiteY7977" fmla="*/ 718015 h 6479439"/>
              <a:gd name="connsiteX7978" fmla="*/ 5039400 w 9586368"/>
              <a:gd name="connsiteY7978" fmla="*/ 722053 h 6479439"/>
              <a:gd name="connsiteX7979" fmla="*/ 5039400 w 9586368"/>
              <a:gd name="connsiteY7979" fmla="*/ 731924 h 6479439"/>
              <a:gd name="connsiteX7980" fmla="*/ 5035381 w 9586368"/>
              <a:gd name="connsiteY7980" fmla="*/ 735963 h 6479439"/>
              <a:gd name="connsiteX7981" fmla="*/ 5025470 w 9586368"/>
              <a:gd name="connsiteY7981" fmla="*/ 735963 h 6479439"/>
              <a:gd name="connsiteX7982" fmla="*/ 5021451 w 9586368"/>
              <a:gd name="connsiteY7982" fmla="*/ 731924 h 6479439"/>
              <a:gd name="connsiteX7983" fmla="*/ 5021451 w 9586368"/>
              <a:gd name="connsiteY7983" fmla="*/ 722053 h 6479439"/>
              <a:gd name="connsiteX7984" fmla="*/ 4786241 w 9586368"/>
              <a:gd name="connsiteY7984" fmla="*/ 718015 h 6479439"/>
              <a:gd name="connsiteX7985" fmla="*/ 4796152 w 9586368"/>
              <a:gd name="connsiteY7985" fmla="*/ 718015 h 6479439"/>
              <a:gd name="connsiteX7986" fmla="*/ 4800171 w 9586368"/>
              <a:gd name="connsiteY7986" fmla="*/ 722053 h 6479439"/>
              <a:gd name="connsiteX7987" fmla="*/ 4800171 w 9586368"/>
              <a:gd name="connsiteY7987" fmla="*/ 731924 h 6479439"/>
              <a:gd name="connsiteX7988" fmla="*/ 4796152 w 9586368"/>
              <a:gd name="connsiteY7988" fmla="*/ 735963 h 6479439"/>
              <a:gd name="connsiteX7989" fmla="*/ 4786241 w 9586368"/>
              <a:gd name="connsiteY7989" fmla="*/ 735963 h 6479439"/>
              <a:gd name="connsiteX7990" fmla="*/ 4782224 w 9586368"/>
              <a:gd name="connsiteY7990" fmla="*/ 731924 h 6479439"/>
              <a:gd name="connsiteX7991" fmla="*/ 4782224 w 9586368"/>
              <a:gd name="connsiteY7991" fmla="*/ 722053 h 6479439"/>
              <a:gd name="connsiteX7992" fmla="*/ 6939983 w 9586368"/>
              <a:gd name="connsiteY7992" fmla="*/ 718003 h 6479439"/>
              <a:gd name="connsiteX7993" fmla="*/ 6949894 w 9586368"/>
              <a:gd name="connsiteY7993" fmla="*/ 718003 h 6479439"/>
              <a:gd name="connsiteX7994" fmla="*/ 6953913 w 9586368"/>
              <a:gd name="connsiteY7994" fmla="*/ 722041 h 6479439"/>
              <a:gd name="connsiteX7995" fmla="*/ 6953913 w 9586368"/>
              <a:gd name="connsiteY7995" fmla="*/ 731911 h 6479439"/>
              <a:gd name="connsiteX7996" fmla="*/ 6949894 w 9586368"/>
              <a:gd name="connsiteY7996" fmla="*/ 735950 h 6479439"/>
              <a:gd name="connsiteX7997" fmla="*/ 6939983 w 9586368"/>
              <a:gd name="connsiteY7997" fmla="*/ 735950 h 6479439"/>
              <a:gd name="connsiteX7998" fmla="*/ 6935964 w 9586368"/>
              <a:gd name="connsiteY7998" fmla="*/ 731911 h 6479439"/>
              <a:gd name="connsiteX7999" fmla="*/ 6935964 w 9586368"/>
              <a:gd name="connsiteY7999" fmla="*/ 722041 h 6479439"/>
              <a:gd name="connsiteX8000" fmla="*/ 6700670 w 9586368"/>
              <a:gd name="connsiteY8000" fmla="*/ 718003 h 6479439"/>
              <a:gd name="connsiteX8001" fmla="*/ 6710581 w 9586368"/>
              <a:gd name="connsiteY8001" fmla="*/ 718003 h 6479439"/>
              <a:gd name="connsiteX8002" fmla="*/ 6714600 w 9586368"/>
              <a:gd name="connsiteY8002" fmla="*/ 722041 h 6479439"/>
              <a:gd name="connsiteX8003" fmla="*/ 6714600 w 9586368"/>
              <a:gd name="connsiteY8003" fmla="*/ 731912 h 6479439"/>
              <a:gd name="connsiteX8004" fmla="*/ 6710581 w 9586368"/>
              <a:gd name="connsiteY8004" fmla="*/ 735950 h 6479439"/>
              <a:gd name="connsiteX8005" fmla="*/ 6700670 w 9586368"/>
              <a:gd name="connsiteY8005" fmla="*/ 735950 h 6479439"/>
              <a:gd name="connsiteX8006" fmla="*/ 6696651 w 9586368"/>
              <a:gd name="connsiteY8006" fmla="*/ 731912 h 6479439"/>
              <a:gd name="connsiteX8007" fmla="*/ 6696651 w 9586368"/>
              <a:gd name="connsiteY8007" fmla="*/ 722041 h 6479439"/>
              <a:gd name="connsiteX8008" fmla="*/ 6461356 w 9586368"/>
              <a:gd name="connsiteY8008" fmla="*/ 718003 h 6479439"/>
              <a:gd name="connsiteX8009" fmla="*/ 6471266 w 9586368"/>
              <a:gd name="connsiteY8009" fmla="*/ 718003 h 6479439"/>
              <a:gd name="connsiteX8010" fmla="*/ 6475285 w 9586368"/>
              <a:gd name="connsiteY8010" fmla="*/ 722041 h 6479439"/>
              <a:gd name="connsiteX8011" fmla="*/ 6475285 w 9586368"/>
              <a:gd name="connsiteY8011" fmla="*/ 731912 h 6479439"/>
              <a:gd name="connsiteX8012" fmla="*/ 6471266 w 9586368"/>
              <a:gd name="connsiteY8012" fmla="*/ 735950 h 6479439"/>
              <a:gd name="connsiteX8013" fmla="*/ 6461356 w 9586368"/>
              <a:gd name="connsiteY8013" fmla="*/ 735950 h 6479439"/>
              <a:gd name="connsiteX8014" fmla="*/ 6457337 w 9586368"/>
              <a:gd name="connsiteY8014" fmla="*/ 731912 h 6479439"/>
              <a:gd name="connsiteX8015" fmla="*/ 6457337 w 9586368"/>
              <a:gd name="connsiteY8015" fmla="*/ 722041 h 6479439"/>
              <a:gd name="connsiteX8016" fmla="*/ 6222042 w 9586368"/>
              <a:gd name="connsiteY8016" fmla="*/ 718003 h 6479439"/>
              <a:gd name="connsiteX8017" fmla="*/ 6231952 w 9586368"/>
              <a:gd name="connsiteY8017" fmla="*/ 718003 h 6479439"/>
              <a:gd name="connsiteX8018" fmla="*/ 6235971 w 9586368"/>
              <a:gd name="connsiteY8018" fmla="*/ 722041 h 6479439"/>
              <a:gd name="connsiteX8019" fmla="*/ 6235971 w 9586368"/>
              <a:gd name="connsiteY8019" fmla="*/ 731912 h 6479439"/>
              <a:gd name="connsiteX8020" fmla="*/ 6231952 w 9586368"/>
              <a:gd name="connsiteY8020" fmla="*/ 735951 h 6479439"/>
              <a:gd name="connsiteX8021" fmla="*/ 6222042 w 9586368"/>
              <a:gd name="connsiteY8021" fmla="*/ 735951 h 6479439"/>
              <a:gd name="connsiteX8022" fmla="*/ 6218023 w 9586368"/>
              <a:gd name="connsiteY8022" fmla="*/ 731912 h 6479439"/>
              <a:gd name="connsiteX8023" fmla="*/ 6218023 w 9586368"/>
              <a:gd name="connsiteY8023" fmla="*/ 722041 h 6479439"/>
              <a:gd name="connsiteX8024" fmla="*/ 5982729 w 9586368"/>
              <a:gd name="connsiteY8024" fmla="*/ 718003 h 6479439"/>
              <a:gd name="connsiteX8025" fmla="*/ 5992639 w 9586368"/>
              <a:gd name="connsiteY8025" fmla="*/ 718003 h 6479439"/>
              <a:gd name="connsiteX8026" fmla="*/ 5996658 w 9586368"/>
              <a:gd name="connsiteY8026" fmla="*/ 722041 h 6479439"/>
              <a:gd name="connsiteX8027" fmla="*/ 5996658 w 9586368"/>
              <a:gd name="connsiteY8027" fmla="*/ 731912 h 6479439"/>
              <a:gd name="connsiteX8028" fmla="*/ 5992639 w 9586368"/>
              <a:gd name="connsiteY8028" fmla="*/ 735951 h 6479439"/>
              <a:gd name="connsiteX8029" fmla="*/ 5982729 w 9586368"/>
              <a:gd name="connsiteY8029" fmla="*/ 735951 h 6479439"/>
              <a:gd name="connsiteX8030" fmla="*/ 5978710 w 9586368"/>
              <a:gd name="connsiteY8030" fmla="*/ 731912 h 6479439"/>
              <a:gd name="connsiteX8031" fmla="*/ 5978710 w 9586368"/>
              <a:gd name="connsiteY8031" fmla="*/ 722041 h 6479439"/>
              <a:gd name="connsiteX8032" fmla="*/ 8136553 w 9586368"/>
              <a:gd name="connsiteY8032" fmla="*/ 717990 h 6479439"/>
              <a:gd name="connsiteX8033" fmla="*/ 8146464 w 9586368"/>
              <a:gd name="connsiteY8033" fmla="*/ 717990 h 6479439"/>
              <a:gd name="connsiteX8034" fmla="*/ 8150483 w 9586368"/>
              <a:gd name="connsiteY8034" fmla="*/ 722028 h 6479439"/>
              <a:gd name="connsiteX8035" fmla="*/ 8150483 w 9586368"/>
              <a:gd name="connsiteY8035" fmla="*/ 731899 h 6479439"/>
              <a:gd name="connsiteX8036" fmla="*/ 8146464 w 9586368"/>
              <a:gd name="connsiteY8036" fmla="*/ 735938 h 6479439"/>
              <a:gd name="connsiteX8037" fmla="*/ 8136553 w 9586368"/>
              <a:gd name="connsiteY8037" fmla="*/ 735938 h 6479439"/>
              <a:gd name="connsiteX8038" fmla="*/ 8132534 w 9586368"/>
              <a:gd name="connsiteY8038" fmla="*/ 731899 h 6479439"/>
              <a:gd name="connsiteX8039" fmla="*/ 8132534 w 9586368"/>
              <a:gd name="connsiteY8039" fmla="*/ 722028 h 6479439"/>
              <a:gd name="connsiteX8040" fmla="*/ 7897241 w 9586368"/>
              <a:gd name="connsiteY8040" fmla="*/ 717990 h 6479439"/>
              <a:gd name="connsiteX8041" fmla="*/ 7907151 w 9586368"/>
              <a:gd name="connsiteY8041" fmla="*/ 717990 h 6479439"/>
              <a:gd name="connsiteX8042" fmla="*/ 7911170 w 9586368"/>
              <a:gd name="connsiteY8042" fmla="*/ 722029 h 6479439"/>
              <a:gd name="connsiteX8043" fmla="*/ 7911170 w 9586368"/>
              <a:gd name="connsiteY8043" fmla="*/ 731899 h 6479439"/>
              <a:gd name="connsiteX8044" fmla="*/ 7907151 w 9586368"/>
              <a:gd name="connsiteY8044" fmla="*/ 735938 h 6479439"/>
              <a:gd name="connsiteX8045" fmla="*/ 7897241 w 9586368"/>
              <a:gd name="connsiteY8045" fmla="*/ 735938 h 6479439"/>
              <a:gd name="connsiteX8046" fmla="*/ 7893222 w 9586368"/>
              <a:gd name="connsiteY8046" fmla="*/ 731899 h 6479439"/>
              <a:gd name="connsiteX8047" fmla="*/ 7893222 w 9586368"/>
              <a:gd name="connsiteY8047" fmla="*/ 722029 h 6479439"/>
              <a:gd name="connsiteX8048" fmla="*/ 7657926 w 9586368"/>
              <a:gd name="connsiteY8048" fmla="*/ 717990 h 6479439"/>
              <a:gd name="connsiteX8049" fmla="*/ 7667836 w 9586368"/>
              <a:gd name="connsiteY8049" fmla="*/ 717990 h 6479439"/>
              <a:gd name="connsiteX8050" fmla="*/ 7671855 w 9586368"/>
              <a:gd name="connsiteY8050" fmla="*/ 722029 h 6479439"/>
              <a:gd name="connsiteX8051" fmla="*/ 7671855 w 9586368"/>
              <a:gd name="connsiteY8051" fmla="*/ 731899 h 6479439"/>
              <a:gd name="connsiteX8052" fmla="*/ 7667836 w 9586368"/>
              <a:gd name="connsiteY8052" fmla="*/ 735938 h 6479439"/>
              <a:gd name="connsiteX8053" fmla="*/ 7657926 w 9586368"/>
              <a:gd name="connsiteY8053" fmla="*/ 735938 h 6479439"/>
              <a:gd name="connsiteX8054" fmla="*/ 7653906 w 9586368"/>
              <a:gd name="connsiteY8054" fmla="*/ 731899 h 6479439"/>
              <a:gd name="connsiteX8055" fmla="*/ 7653906 w 9586368"/>
              <a:gd name="connsiteY8055" fmla="*/ 722029 h 6479439"/>
              <a:gd name="connsiteX8056" fmla="*/ 7418611 w 9586368"/>
              <a:gd name="connsiteY8056" fmla="*/ 717990 h 6479439"/>
              <a:gd name="connsiteX8057" fmla="*/ 7428521 w 9586368"/>
              <a:gd name="connsiteY8057" fmla="*/ 717990 h 6479439"/>
              <a:gd name="connsiteX8058" fmla="*/ 7432540 w 9586368"/>
              <a:gd name="connsiteY8058" fmla="*/ 722029 h 6479439"/>
              <a:gd name="connsiteX8059" fmla="*/ 7432540 w 9586368"/>
              <a:gd name="connsiteY8059" fmla="*/ 731899 h 6479439"/>
              <a:gd name="connsiteX8060" fmla="*/ 7428521 w 9586368"/>
              <a:gd name="connsiteY8060" fmla="*/ 735938 h 6479439"/>
              <a:gd name="connsiteX8061" fmla="*/ 7418611 w 9586368"/>
              <a:gd name="connsiteY8061" fmla="*/ 735938 h 6479439"/>
              <a:gd name="connsiteX8062" fmla="*/ 7414592 w 9586368"/>
              <a:gd name="connsiteY8062" fmla="*/ 731899 h 6479439"/>
              <a:gd name="connsiteX8063" fmla="*/ 7414592 w 9586368"/>
              <a:gd name="connsiteY8063" fmla="*/ 722029 h 6479439"/>
              <a:gd name="connsiteX8064" fmla="*/ 7179298 w 9586368"/>
              <a:gd name="connsiteY8064" fmla="*/ 717990 h 6479439"/>
              <a:gd name="connsiteX8065" fmla="*/ 7189209 w 9586368"/>
              <a:gd name="connsiteY8065" fmla="*/ 717990 h 6479439"/>
              <a:gd name="connsiteX8066" fmla="*/ 7193228 w 9586368"/>
              <a:gd name="connsiteY8066" fmla="*/ 722029 h 6479439"/>
              <a:gd name="connsiteX8067" fmla="*/ 7193228 w 9586368"/>
              <a:gd name="connsiteY8067" fmla="*/ 731899 h 6479439"/>
              <a:gd name="connsiteX8068" fmla="*/ 7189209 w 9586368"/>
              <a:gd name="connsiteY8068" fmla="*/ 735938 h 6479439"/>
              <a:gd name="connsiteX8069" fmla="*/ 7179298 w 9586368"/>
              <a:gd name="connsiteY8069" fmla="*/ 735938 h 6479439"/>
              <a:gd name="connsiteX8070" fmla="*/ 7175279 w 9586368"/>
              <a:gd name="connsiteY8070" fmla="*/ 731899 h 6479439"/>
              <a:gd name="connsiteX8071" fmla="*/ 7175279 w 9586368"/>
              <a:gd name="connsiteY8071" fmla="*/ 722029 h 6479439"/>
              <a:gd name="connsiteX8072" fmla="*/ 961272 w 9586368"/>
              <a:gd name="connsiteY8072" fmla="*/ 717980 h 6479439"/>
              <a:gd name="connsiteX8073" fmla="*/ 971182 w 9586368"/>
              <a:gd name="connsiteY8073" fmla="*/ 717980 h 6479439"/>
              <a:gd name="connsiteX8074" fmla="*/ 975202 w 9586368"/>
              <a:gd name="connsiteY8074" fmla="*/ 722018 h 6479439"/>
              <a:gd name="connsiteX8075" fmla="*/ 975202 w 9586368"/>
              <a:gd name="connsiteY8075" fmla="*/ 731889 h 6479439"/>
              <a:gd name="connsiteX8076" fmla="*/ 971182 w 9586368"/>
              <a:gd name="connsiteY8076" fmla="*/ 735928 h 6479439"/>
              <a:gd name="connsiteX8077" fmla="*/ 961272 w 9586368"/>
              <a:gd name="connsiteY8077" fmla="*/ 735928 h 6479439"/>
              <a:gd name="connsiteX8078" fmla="*/ 957254 w 9586368"/>
              <a:gd name="connsiteY8078" fmla="*/ 731889 h 6479439"/>
              <a:gd name="connsiteX8079" fmla="*/ 957254 w 9586368"/>
              <a:gd name="connsiteY8079" fmla="*/ 722018 h 6479439"/>
              <a:gd name="connsiteX8080" fmla="*/ 1679219 w 9586368"/>
              <a:gd name="connsiteY8080" fmla="*/ 717979 h 6479439"/>
              <a:gd name="connsiteX8081" fmla="*/ 1689128 w 9586368"/>
              <a:gd name="connsiteY8081" fmla="*/ 717979 h 6479439"/>
              <a:gd name="connsiteX8082" fmla="*/ 1693149 w 9586368"/>
              <a:gd name="connsiteY8082" fmla="*/ 722018 h 6479439"/>
              <a:gd name="connsiteX8083" fmla="*/ 1693149 w 9586368"/>
              <a:gd name="connsiteY8083" fmla="*/ 731889 h 6479439"/>
              <a:gd name="connsiteX8084" fmla="*/ 1689128 w 9586368"/>
              <a:gd name="connsiteY8084" fmla="*/ 735927 h 6479439"/>
              <a:gd name="connsiteX8085" fmla="*/ 1679219 w 9586368"/>
              <a:gd name="connsiteY8085" fmla="*/ 735927 h 6479439"/>
              <a:gd name="connsiteX8086" fmla="*/ 1675200 w 9586368"/>
              <a:gd name="connsiteY8086" fmla="*/ 731889 h 6479439"/>
              <a:gd name="connsiteX8087" fmla="*/ 1675200 w 9586368"/>
              <a:gd name="connsiteY8087" fmla="*/ 722018 h 6479439"/>
              <a:gd name="connsiteX8088" fmla="*/ 1439901 w 9586368"/>
              <a:gd name="connsiteY8088" fmla="*/ 717979 h 6479439"/>
              <a:gd name="connsiteX8089" fmla="*/ 1449811 w 9586368"/>
              <a:gd name="connsiteY8089" fmla="*/ 717979 h 6479439"/>
              <a:gd name="connsiteX8090" fmla="*/ 1453831 w 9586368"/>
              <a:gd name="connsiteY8090" fmla="*/ 722018 h 6479439"/>
              <a:gd name="connsiteX8091" fmla="*/ 1453831 w 9586368"/>
              <a:gd name="connsiteY8091" fmla="*/ 731889 h 6479439"/>
              <a:gd name="connsiteX8092" fmla="*/ 1449811 w 9586368"/>
              <a:gd name="connsiteY8092" fmla="*/ 735927 h 6479439"/>
              <a:gd name="connsiteX8093" fmla="*/ 1439901 w 9586368"/>
              <a:gd name="connsiteY8093" fmla="*/ 735927 h 6479439"/>
              <a:gd name="connsiteX8094" fmla="*/ 1435883 w 9586368"/>
              <a:gd name="connsiteY8094" fmla="*/ 731889 h 6479439"/>
              <a:gd name="connsiteX8095" fmla="*/ 1435883 w 9586368"/>
              <a:gd name="connsiteY8095" fmla="*/ 722018 h 6479439"/>
              <a:gd name="connsiteX8096" fmla="*/ 1200585 w 9586368"/>
              <a:gd name="connsiteY8096" fmla="*/ 717979 h 6479439"/>
              <a:gd name="connsiteX8097" fmla="*/ 1210495 w 9586368"/>
              <a:gd name="connsiteY8097" fmla="*/ 717979 h 6479439"/>
              <a:gd name="connsiteX8098" fmla="*/ 1214513 w 9586368"/>
              <a:gd name="connsiteY8098" fmla="*/ 722018 h 6479439"/>
              <a:gd name="connsiteX8099" fmla="*/ 1214513 w 9586368"/>
              <a:gd name="connsiteY8099" fmla="*/ 731889 h 6479439"/>
              <a:gd name="connsiteX8100" fmla="*/ 1210495 w 9586368"/>
              <a:gd name="connsiteY8100" fmla="*/ 735927 h 6479439"/>
              <a:gd name="connsiteX8101" fmla="*/ 1200585 w 9586368"/>
              <a:gd name="connsiteY8101" fmla="*/ 735927 h 6479439"/>
              <a:gd name="connsiteX8102" fmla="*/ 1196566 w 9586368"/>
              <a:gd name="connsiteY8102" fmla="*/ 731889 h 6479439"/>
              <a:gd name="connsiteX8103" fmla="*/ 1196566 w 9586368"/>
              <a:gd name="connsiteY8103" fmla="*/ 722018 h 6479439"/>
              <a:gd name="connsiteX8104" fmla="*/ 9333125 w 9586368"/>
              <a:gd name="connsiteY8104" fmla="*/ 717978 h 6479439"/>
              <a:gd name="connsiteX8105" fmla="*/ 9343036 w 9586368"/>
              <a:gd name="connsiteY8105" fmla="*/ 717978 h 6479439"/>
              <a:gd name="connsiteX8106" fmla="*/ 9347055 w 9586368"/>
              <a:gd name="connsiteY8106" fmla="*/ 722016 h 6479439"/>
              <a:gd name="connsiteX8107" fmla="*/ 9347055 w 9586368"/>
              <a:gd name="connsiteY8107" fmla="*/ 731887 h 6479439"/>
              <a:gd name="connsiteX8108" fmla="*/ 9343036 w 9586368"/>
              <a:gd name="connsiteY8108" fmla="*/ 735926 h 6479439"/>
              <a:gd name="connsiteX8109" fmla="*/ 9333125 w 9586368"/>
              <a:gd name="connsiteY8109" fmla="*/ 735926 h 6479439"/>
              <a:gd name="connsiteX8110" fmla="*/ 9329106 w 9586368"/>
              <a:gd name="connsiteY8110" fmla="*/ 731887 h 6479439"/>
              <a:gd name="connsiteX8111" fmla="*/ 9329106 w 9586368"/>
              <a:gd name="connsiteY8111" fmla="*/ 722016 h 6479439"/>
              <a:gd name="connsiteX8112" fmla="*/ 9093811 w 9586368"/>
              <a:gd name="connsiteY8112" fmla="*/ 717978 h 6479439"/>
              <a:gd name="connsiteX8113" fmla="*/ 9103722 w 9586368"/>
              <a:gd name="connsiteY8113" fmla="*/ 717978 h 6479439"/>
              <a:gd name="connsiteX8114" fmla="*/ 9107741 w 9586368"/>
              <a:gd name="connsiteY8114" fmla="*/ 722016 h 6479439"/>
              <a:gd name="connsiteX8115" fmla="*/ 9107741 w 9586368"/>
              <a:gd name="connsiteY8115" fmla="*/ 731887 h 6479439"/>
              <a:gd name="connsiteX8116" fmla="*/ 9103722 w 9586368"/>
              <a:gd name="connsiteY8116" fmla="*/ 735926 h 6479439"/>
              <a:gd name="connsiteX8117" fmla="*/ 9093811 w 9586368"/>
              <a:gd name="connsiteY8117" fmla="*/ 735926 h 6479439"/>
              <a:gd name="connsiteX8118" fmla="*/ 9089792 w 9586368"/>
              <a:gd name="connsiteY8118" fmla="*/ 731887 h 6479439"/>
              <a:gd name="connsiteX8119" fmla="*/ 9089792 w 9586368"/>
              <a:gd name="connsiteY8119" fmla="*/ 722016 h 6479439"/>
              <a:gd name="connsiteX8120" fmla="*/ 8854496 w 9586368"/>
              <a:gd name="connsiteY8120" fmla="*/ 717978 h 6479439"/>
              <a:gd name="connsiteX8121" fmla="*/ 8864407 w 9586368"/>
              <a:gd name="connsiteY8121" fmla="*/ 717978 h 6479439"/>
              <a:gd name="connsiteX8122" fmla="*/ 8868426 w 9586368"/>
              <a:gd name="connsiteY8122" fmla="*/ 722016 h 6479439"/>
              <a:gd name="connsiteX8123" fmla="*/ 8868426 w 9586368"/>
              <a:gd name="connsiteY8123" fmla="*/ 731887 h 6479439"/>
              <a:gd name="connsiteX8124" fmla="*/ 8864407 w 9586368"/>
              <a:gd name="connsiteY8124" fmla="*/ 735926 h 6479439"/>
              <a:gd name="connsiteX8125" fmla="*/ 8854496 w 9586368"/>
              <a:gd name="connsiteY8125" fmla="*/ 735926 h 6479439"/>
              <a:gd name="connsiteX8126" fmla="*/ 8850477 w 9586368"/>
              <a:gd name="connsiteY8126" fmla="*/ 731887 h 6479439"/>
              <a:gd name="connsiteX8127" fmla="*/ 8850477 w 9586368"/>
              <a:gd name="connsiteY8127" fmla="*/ 722016 h 6479439"/>
              <a:gd name="connsiteX8128" fmla="*/ 8615184 w 9586368"/>
              <a:gd name="connsiteY8128" fmla="*/ 717978 h 6479439"/>
              <a:gd name="connsiteX8129" fmla="*/ 8625095 w 9586368"/>
              <a:gd name="connsiteY8129" fmla="*/ 717978 h 6479439"/>
              <a:gd name="connsiteX8130" fmla="*/ 8629114 w 9586368"/>
              <a:gd name="connsiteY8130" fmla="*/ 722016 h 6479439"/>
              <a:gd name="connsiteX8131" fmla="*/ 8629114 w 9586368"/>
              <a:gd name="connsiteY8131" fmla="*/ 731887 h 6479439"/>
              <a:gd name="connsiteX8132" fmla="*/ 8625095 w 9586368"/>
              <a:gd name="connsiteY8132" fmla="*/ 735926 h 6479439"/>
              <a:gd name="connsiteX8133" fmla="*/ 8615184 w 9586368"/>
              <a:gd name="connsiteY8133" fmla="*/ 735926 h 6479439"/>
              <a:gd name="connsiteX8134" fmla="*/ 8611165 w 9586368"/>
              <a:gd name="connsiteY8134" fmla="*/ 731887 h 6479439"/>
              <a:gd name="connsiteX8135" fmla="*/ 8611165 w 9586368"/>
              <a:gd name="connsiteY8135" fmla="*/ 722016 h 6479439"/>
              <a:gd name="connsiteX8136" fmla="*/ 8375869 w 9586368"/>
              <a:gd name="connsiteY8136" fmla="*/ 717978 h 6479439"/>
              <a:gd name="connsiteX8137" fmla="*/ 8385779 w 9586368"/>
              <a:gd name="connsiteY8137" fmla="*/ 717978 h 6479439"/>
              <a:gd name="connsiteX8138" fmla="*/ 8389799 w 9586368"/>
              <a:gd name="connsiteY8138" fmla="*/ 722016 h 6479439"/>
              <a:gd name="connsiteX8139" fmla="*/ 8389799 w 9586368"/>
              <a:gd name="connsiteY8139" fmla="*/ 731887 h 6479439"/>
              <a:gd name="connsiteX8140" fmla="*/ 8385779 w 9586368"/>
              <a:gd name="connsiteY8140" fmla="*/ 735926 h 6479439"/>
              <a:gd name="connsiteX8141" fmla="*/ 8375869 w 9586368"/>
              <a:gd name="connsiteY8141" fmla="*/ 735926 h 6479439"/>
              <a:gd name="connsiteX8142" fmla="*/ 8371850 w 9586368"/>
              <a:gd name="connsiteY8142" fmla="*/ 731887 h 6479439"/>
              <a:gd name="connsiteX8143" fmla="*/ 8371850 w 9586368"/>
              <a:gd name="connsiteY8143" fmla="*/ 722016 h 6479439"/>
              <a:gd name="connsiteX8144" fmla="*/ 1918514 w 9586368"/>
              <a:gd name="connsiteY8144" fmla="*/ 717970 h 6479439"/>
              <a:gd name="connsiteX8145" fmla="*/ 1928424 w 9586368"/>
              <a:gd name="connsiteY8145" fmla="*/ 717970 h 6479439"/>
              <a:gd name="connsiteX8146" fmla="*/ 1932444 w 9586368"/>
              <a:gd name="connsiteY8146" fmla="*/ 722009 h 6479439"/>
              <a:gd name="connsiteX8147" fmla="*/ 1932444 w 9586368"/>
              <a:gd name="connsiteY8147" fmla="*/ 731879 h 6479439"/>
              <a:gd name="connsiteX8148" fmla="*/ 1928424 w 9586368"/>
              <a:gd name="connsiteY8148" fmla="*/ 735918 h 6479439"/>
              <a:gd name="connsiteX8149" fmla="*/ 1918514 w 9586368"/>
              <a:gd name="connsiteY8149" fmla="*/ 735918 h 6479439"/>
              <a:gd name="connsiteX8150" fmla="*/ 1914495 w 9586368"/>
              <a:gd name="connsiteY8150" fmla="*/ 731879 h 6479439"/>
              <a:gd name="connsiteX8151" fmla="*/ 1914495 w 9586368"/>
              <a:gd name="connsiteY8151" fmla="*/ 722009 h 6479439"/>
              <a:gd name="connsiteX8152" fmla="*/ 2157823 w 9586368"/>
              <a:gd name="connsiteY8152" fmla="*/ 717968 h 6479439"/>
              <a:gd name="connsiteX8153" fmla="*/ 2167733 w 9586368"/>
              <a:gd name="connsiteY8153" fmla="*/ 717968 h 6479439"/>
              <a:gd name="connsiteX8154" fmla="*/ 2171753 w 9586368"/>
              <a:gd name="connsiteY8154" fmla="*/ 722006 h 6479439"/>
              <a:gd name="connsiteX8155" fmla="*/ 2171753 w 9586368"/>
              <a:gd name="connsiteY8155" fmla="*/ 731877 h 6479439"/>
              <a:gd name="connsiteX8156" fmla="*/ 2167733 w 9586368"/>
              <a:gd name="connsiteY8156" fmla="*/ 735916 h 6479439"/>
              <a:gd name="connsiteX8157" fmla="*/ 2157823 w 9586368"/>
              <a:gd name="connsiteY8157" fmla="*/ 735916 h 6479439"/>
              <a:gd name="connsiteX8158" fmla="*/ 2153804 w 9586368"/>
              <a:gd name="connsiteY8158" fmla="*/ 731877 h 6479439"/>
              <a:gd name="connsiteX8159" fmla="*/ 2153804 w 9586368"/>
              <a:gd name="connsiteY8159" fmla="*/ 722006 h 6479439"/>
              <a:gd name="connsiteX8160" fmla="*/ 9572438 w 9586368"/>
              <a:gd name="connsiteY8160" fmla="*/ 717966 h 6479439"/>
              <a:gd name="connsiteX8161" fmla="*/ 9582349 w 9586368"/>
              <a:gd name="connsiteY8161" fmla="*/ 717966 h 6479439"/>
              <a:gd name="connsiteX8162" fmla="*/ 9586368 w 9586368"/>
              <a:gd name="connsiteY8162" fmla="*/ 722004 h 6479439"/>
              <a:gd name="connsiteX8163" fmla="*/ 9586368 w 9586368"/>
              <a:gd name="connsiteY8163" fmla="*/ 731875 h 6479439"/>
              <a:gd name="connsiteX8164" fmla="*/ 9582349 w 9586368"/>
              <a:gd name="connsiteY8164" fmla="*/ 735914 h 6479439"/>
              <a:gd name="connsiteX8165" fmla="*/ 9572438 w 9586368"/>
              <a:gd name="connsiteY8165" fmla="*/ 735914 h 6479439"/>
              <a:gd name="connsiteX8166" fmla="*/ 9568419 w 9586368"/>
              <a:gd name="connsiteY8166" fmla="*/ 731875 h 6479439"/>
              <a:gd name="connsiteX8167" fmla="*/ 9568419 w 9586368"/>
              <a:gd name="connsiteY8167" fmla="*/ 722004 h 6479439"/>
              <a:gd name="connsiteX8168" fmla="*/ 243349 w 9586368"/>
              <a:gd name="connsiteY8168" fmla="*/ 717939 h 6479439"/>
              <a:gd name="connsiteX8169" fmla="*/ 253260 w 9586368"/>
              <a:gd name="connsiteY8169" fmla="*/ 717939 h 6479439"/>
              <a:gd name="connsiteX8170" fmla="*/ 257279 w 9586368"/>
              <a:gd name="connsiteY8170" fmla="*/ 721977 h 6479439"/>
              <a:gd name="connsiteX8171" fmla="*/ 257279 w 9586368"/>
              <a:gd name="connsiteY8171" fmla="*/ 731847 h 6479439"/>
              <a:gd name="connsiteX8172" fmla="*/ 253260 w 9586368"/>
              <a:gd name="connsiteY8172" fmla="*/ 735886 h 6479439"/>
              <a:gd name="connsiteX8173" fmla="*/ 243349 w 9586368"/>
              <a:gd name="connsiteY8173" fmla="*/ 735886 h 6479439"/>
              <a:gd name="connsiteX8174" fmla="*/ 239330 w 9586368"/>
              <a:gd name="connsiteY8174" fmla="*/ 731847 h 6479439"/>
              <a:gd name="connsiteX8175" fmla="*/ 239330 w 9586368"/>
              <a:gd name="connsiteY8175" fmla="*/ 721977 h 6479439"/>
              <a:gd name="connsiteX8176" fmla="*/ 4036 w 9586368"/>
              <a:gd name="connsiteY8176" fmla="*/ 717939 h 6479439"/>
              <a:gd name="connsiteX8177" fmla="*/ 13947 w 9586368"/>
              <a:gd name="connsiteY8177" fmla="*/ 717939 h 6479439"/>
              <a:gd name="connsiteX8178" fmla="*/ 17965 w 9586368"/>
              <a:gd name="connsiteY8178" fmla="*/ 721978 h 6479439"/>
              <a:gd name="connsiteX8179" fmla="*/ 17965 w 9586368"/>
              <a:gd name="connsiteY8179" fmla="*/ 731848 h 6479439"/>
              <a:gd name="connsiteX8180" fmla="*/ 13947 w 9586368"/>
              <a:gd name="connsiteY8180" fmla="*/ 735886 h 6479439"/>
              <a:gd name="connsiteX8181" fmla="*/ 4036 w 9586368"/>
              <a:gd name="connsiteY8181" fmla="*/ 735886 h 6479439"/>
              <a:gd name="connsiteX8182" fmla="*/ 17 w 9586368"/>
              <a:gd name="connsiteY8182" fmla="*/ 731848 h 6479439"/>
              <a:gd name="connsiteX8183" fmla="*/ 17 w 9586368"/>
              <a:gd name="connsiteY8183" fmla="*/ 721978 h 6479439"/>
              <a:gd name="connsiteX8184" fmla="*/ 721975 w 9586368"/>
              <a:gd name="connsiteY8184" fmla="*/ 717939 h 6479439"/>
              <a:gd name="connsiteX8185" fmla="*/ 731885 w 9586368"/>
              <a:gd name="connsiteY8185" fmla="*/ 717939 h 6479439"/>
              <a:gd name="connsiteX8186" fmla="*/ 735904 w 9586368"/>
              <a:gd name="connsiteY8186" fmla="*/ 721977 h 6479439"/>
              <a:gd name="connsiteX8187" fmla="*/ 735904 w 9586368"/>
              <a:gd name="connsiteY8187" fmla="*/ 731847 h 6479439"/>
              <a:gd name="connsiteX8188" fmla="*/ 731885 w 9586368"/>
              <a:gd name="connsiteY8188" fmla="*/ 735886 h 6479439"/>
              <a:gd name="connsiteX8189" fmla="*/ 721975 w 9586368"/>
              <a:gd name="connsiteY8189" fmla="*/ 735886 h 6479439"/>
              <a:gd name="connsiteX8190" fmla="*/ 717956 w 9586368"/>
              <a:gd name="connsiteY8190" fmla="*/ 731847 h 6479439"/>
              <a:gd name="connsiteX8191" fmla="*/ 717956 w 9586368"/>
              <a:gd name="connsiteY8191" fmla="*/ 721977 h 6479439"/>
              <a:gd name="connsiteX8192" fmla="*/ 482663 w 9586368"/>
              <a:gd name="connsiteY8192" fmla="*/ 717939 h 6479439"/>
              <a:gd name="connsiteX8193" fmla="*/ 492573 w 9586368"/>
              <a:gd name="connsiteY8193" fmla="*/ 717939 h 6479439"/>
              <a:gd name="connsiteX8194" fmla="*/ 496593 w 9586368"/>
              <a:gd name="connsiteY8194" fmla="*/ 721977 h 6479439"/>
              <a:gd name="connsiteX8195" fmla="*/ 496593 w 9586368"/>
              <a:gd name="connsiteY8195" fmla="*/ 731847 h 6479439"/>
              <a:gd name="connsiteX8196" fmla="*/ 492573 w 9586368"/>
              <a:gd name="connsiteY8196" fmla="*/ 735886 h 6479439"/>
              <a:gd name="connsiteX8197" fmla="*/ 482663 w 9586368"/>
              <a:gd name="connsiteY8197" fmla="*/ 735886 h 6479439"/>
              <a:gd name="connsiteX8198" fmla="*/ 478643 w 9586368"/>
              <a:gd name="connsiteY8198" fmla="*/ 731847 h 6479439"/>
              <a:gd name="connsiteX8199" fmla="*/ 478643 w 9586368"/>
              <a:gd name="connsiteY8199" fmla="*/ 721977 h 6479439"/>
              <a:gd name="connsiteX8200" fmla="*/ 3350359 w 9586368"/>
              <a:gd name="connsiteY8200" fmla="*/ 478760 h 6479439"/>
              <a:gd name="connsiteX8201" fmla="*/ 3360268 w 9586368"/>
              <a:gd name="connsiteY8201" fmla="*/ 478760 h 6479439"/>
              <a:gd name="connsiteX8202" fmla="*/ 3364287 w 9586368"/>
              <a:gd name="connsiteY8202" fmla="*/ 482801 h 6479439"/>
              <a:gd name="connsiteX8203" fmla="*/ 3364287 w 9586368"/>
              <a:gd name="connsiteY8203" fmla="*/ 492670 h 6479439"/>
              <a:gd name="connsiteX8204" fmla="*/ 3360268 w 9586368"/>
              <a:gd name="connsiteY8204" fmla="*/ 496707 h 6479439"/>
              <a:gd name="connsiteX8205" fmla="*/ 3350359 w 9586368"/>
              <a:gd name="connsiteY8205" fmla="*/ 496707 h 6479439"/>
              <a:gd name="connsiteX8206" fmla="*/ 3346340 w 9586368"/>
              <a:gd name="connsiteY8206" fmla="*/ 492670 h 6479439"/>
              <a:gd name="connsiteX8207" fmla="*/ 3346340 w 9586368"/>
              <a:gd name="connsiteY8207" fmla="*/ 482801 h 6479439"/>
              <a:gd name="connsiteX8208" fmla="*/ 3111048 w 9586368"/>
              <a:gd name="connsiteY8208" fmla="*/ 478760 h 6479439"/>
              <a:gd name="connsiteX8209" fmla="*/ 3120959 w 9586368"/>
              <a:gd name="connsiteY8209" fmla="*/ 478760 h 6479439"/>
              <a:gd name="connsiteX8210" fmla="*/ 3124977 w 9586368"/>
              <a:gd name="connsiteY8210" fmla="*/ 482801 h 6479439"/>
              <a:gd name="connsiteX8211" fmla="*/ 3124977 w 9586368"/>
              <a:gd name="connsiteY8211" fmla="*/ 492670 h 6479439"/>
              <a:gd name="connsiteX8212" fmla="*/ 3120959 w 9586368"/>
              <a:gd name="connsiteY8212" fmla="*/ 496707 h 6479439"/>
              <a:gd name="connsiteX8213" fmla="*/ 3111048 w 9586368"/>
              <a:gd name="connsiteY8213" fmla="*/ 496707 h 6479439"/>
              <a:gd name="connsiteX8214" fmla="*/ 3107029 w 9586368"/>
              <a:gd name="connsiteY8214" fmla="*/ 492670 h 6479439"/>
              <a:gd name="connsiteX8215" fmla="*/ 3107029 w 9586368"/>
              <a:gd name="connsiteY8215" fmla="*/ 482801 h 6479439"/>
              <a:gd name="connsiteX8216" fmla="*/ 2871737 w 9586368"/>
              <a:gd name="connsiteY8216" fmla="*/ 478760 h 6479439"/>
              <a:gd name="connsiteX8217" fmla="*/ 2881646 w 9586368"/>
              <a:gd name="connsiteY8217" fmla="*/ 478760 h 6479439"/>
              <a:gd name="connsiteX8218" fmla="*/ 2885666 w 9586368"/>
              <a:gd name="connsiteY8218" fmla="*/ 482801 h 6479439"/>
              <a:gd name="connsiteX8219" fmla="*/ 2885666 w 9586368"/>
              <a:gd name="connsiteY8219" fmla="*/ 492670 h 6479439"/>
              <a:gd name="connsiteX8220" fmla="*/ 2881646 w 9586368"/>
              <a:gd name="connsiteY8220" fmla="*/ 496707 h 6479439"/>
              <a:gd name="connsiteX8221" fmla="*/ 2871737 w 9586368"/>
              <a:gd name="connsiteY8221" fmla="*/ 496707 h 6479439"/>
              <a:gd name="connsiteX8222" fmla="*/ 2867717 w 9586368"/>
              <a:gd name="connsiteY8222" fmla="*/ 492670 h 6479439"/>
              <a:gd name="connsiteX8223" fmla="*/ 2867717 w 9586368"/>
              <a:gd name="connsiteY8223" fmla="*/ 482801 h 6479439"/>
              <a:gd name="connsiteX8224" fmla="*/ 2632423 w 9586368"/>
              <a:gd name="connsiteY8224" fmla="*/ 478760 h 6479439"/>
              <a:gd name="connsiteX8225" fmla="*/ 2642334 w 9586368"/>
              <a:gd name="connsiteY8225" fmla="*/ 478760 h 6479439"/>
              <a:gd name="connsiteX8226" fmla="*/ 2646352 w 9586368"/>
              <a:gd name="connsiteY8226" fmla="*/ 482801 h 6479439"/>
              <a:gd name="connsiteX8227" fmla="*/ 2646352 w 9586368"/>
              <a:gd name="connsiteY8227" fmla="*/ 492670 h 6479439"/>
              <a:gd name="connsiteX8228" fmla="*/ 2642334 w 9586368"/>
              <a:gd name="connsiteY8228" fmla="*/ 496707 h 6479439"/>
              <a:gd name="connsiteX8229" fmla="*/ 2632423 w 9586368"/>
              <a:gd name="connsiteY8229" fmla="*/ 496707 h 6479439"/>
              <a:gd name="connsiteX8230" fmla="*/ 2628404 w 9586368"/>
              <a:gd name="connsiteY8230" fmla="*/ 492670 h 6479439"/>
              <a:gd name="connsiteX8231" fmla="*/ 2628404 w 9586368"/>
              <a:gd name="connsiteY8231" fmla="*/ 482801 h 6479439"/>
              <a:gd name="connsiteX8232" fmla="*/ 2393104 w 9586368"/>
              <a:gd name="connsiteY8232" fmla="*/ 478760 h 6479439"/>
              <a:gd name="connsiteX8233" fmla="*/ 2403015 w 9586368"/>
              <a:gd name="connsiteY8233" fmla="*/ 478760 h 6479439"/>
              <a:gd name="connsiteX8234" fmla="*/ 2407034 w 9586368"/>
              <a:gd name="connsiteY8234" fmla="*/ 482801 h 6479439"/>
              <a:gd name="connsiteX8235" fmla="*/ 2407034 w 9586368"/>
              <a:gd name="connsiteY8235" fmla="*/ 492670 h 6479439"/>
              <a:gd name="connsiteX8236" fmla="*/ 2403015 w 9586368"/>
              <a:gd name="connsiteY8236" fmla="*/ 496707 h 6479439"/>
              <a:gd name="connsiteX8237" fmla="*/ 2393104 w 9586368"/>
              <a:gd name="connsiteY8237" fmla="*/ 496707 h 6479439"/>
              <a:gd name="connsiteX8238" fmla="*/ 2389087 w 9586368"/>
              <a:gd name="connsiteY8238" fmla="*/ 492670 h 6479439"/>
              <a:gd name="connsiteX8239" fmla="*/ 2389087 w 9586368"/>
              <a:gd name="connsiteY8239" fmla="*/ 482801 h 6479439"/>
              <a:gd name="connsiteX8240" fmla="*/ 4546929 w 9586368"/>
              <a:gd name="connsiteY8240" fmla="*/ 478748 h 6479439"/>
              <a:gd name="connsiteX8241" fmla="*/ 4556840 w 9586368"/>
              <a:gd name="connsiteY8241" fmla="*/ 478748 h 6479439"/>
              <a:gd name="connsiteX8242" fmla="*/ 4560859 w 9586368"/>
              <a:gd name="connsiteY8242" fmla="*/ 482789 h 6479439"/>
              <a:gd name="connsiteX8243" fmla="*/ 4560859 w 9586368"/>
              <a:gd name="connsiteY8243" fmla="*/ 492657 h 6479439"/>
              <a:gd name="connsiteX8244" fmla="*/ 4556840 w 9586368"/>
              <a:gd name="connsiteY8244" fmla="*/ 496695 h 6479439"/>
              <a:gd name="connsiteX8245" fmla="*/ 4546929 w 9586368"/>
              <a:gd name="connsiteY8245" fmla="*/ 496695 h 6479439"/>
              <a:gd name="connsiteX8246" fmla="*/ 4542910 w 9586368"/>
              <a:gd name="connsiteY8246" fmla="*/ 492657 h 6479439"/>
              <a:gd name="connsiteX8247" fmla="*/ 4542910 w 9586368"/>
              <a:gd name="connsiteY8247" fmla="*/ 482789 h 6479439"/>
              <a:gd name="connsiteX8248" fmla="*/ 4307612 w 9586368"/>
              <a:gd name="connsiteY8248" fmla="*/ 478748 h 6479439"/>
              <a:gd name="connsiteX8249" fmla="*/ 4317523 w 9586368"/>
              <a:gd name="connsiteY8249" fmla="*/ 478748 h 6479439"/>
              <a:gd name="connsiteX8250" fmla="*/ 4321543 w 9586368"/>
              <a:gd name="connsiteY8250" fmla="*/ 482789 h 6479439"/>
              <a:gd name="connsiteX8251" fmla="*/ 4321543 w 9586368"/>
              <a:gd name="connsiteY8251" fmla="*/ 492657 h 6479439"/>
              <a:gd name="connsiteX8252" fmla="*/ 4317523 w 9586368"/>
              <a:gd name="connsiteY8252" fmla="*/ 496695 h 6479439"/>
              <a:gd name="connsiteX8253" fmla="*/ 4307612 w 9586368"/>
              <a:gd name="connsiteY8253" fmla="*/ 496695 h 6479439"/>
              <a:gd name="connsiteX8254" fmla="*/ 4303595 w 9586368"/>
              <a:gd name="connsiteY8254" fmla="*/ 492657 h 6479439"/>
              <a:gd name="connsiteX8255" fmla="*/ 4303595 w 9586368"/>
              <a:gd name="connsiteY8255" fmla="*/ 482789 h 6479439"/>
              <a:gd name="connsiteX8256" fmla="*/ 4068297 w 9586368"/>
              <a:gd name="connsiteY8256" fmla="*/ 478748 h 6479439"/>
              <a:gd name="connsiteX8257" fmla="*/ 4078210 w 9586368"/>
              <a:gd name="connsiteY8257" fmla="*/ 478748 h 6479439"/>
              <a:gd name="connsiteX8258" fmla="*/ 4082229 w 9586368"/>
              <a:gd name="connsiteY8258" fmla="*/ 482789 h 6479439"/>
              <a:gd name="connsiteX8259" fmla="*/ 4082229 w 9586368"/>
              <a:gd name="connsiteY8259" fmla="*/ 492657 h 6479439"/>
              <a:gd name="connsiteX8260" fmla="*/ 4078210 w 9586368"/>
              <a:gd name="connsiteY8260" fmla="*/ 496695 h 6479439"/>
              <a:gd name="connsiteX8261" fmla="*/ 4068297 w 9586368"/>
              <a:gd name="connsiteY8261" fmla="*/ 496695 h 6479439"/>
              <a:gd name="connsiteX8262" fmla="*/ 4064278 w 9586368"/>
              <a:gd name="connsiteY8262" fmla="*/ 492657 h 6479439"/>
              <a:gd name="connsiteX8263" fmla="*/ 4064278 w 9586368"/>
              <a:gd name="connsiteY8263" fmla="*/ 482789 h 6479439"/>
              <a:gd name="connsiteX8264" fmla="*/ 3828990 w 9586368"/>
              <a:gd name="connsiteY8264" fmla="*/ 478748 h 6479439"/>
              <a:gd name="connsiteX8265" fmla="*/ 3838899 w 9586368"/>
              <a:gd name="connsiteY8265" fmla="*/ 478748 h 6479439"/>
              <a:gd name="connsiteX8266" fmla="*/ 3842917 w 9586368"/>
              <a:gd name="connsiteY8266" fmla="*/ 482789 h 6479439"/>
              <a:gd name="connsiteX8267" fmla="*/ 3842917 w 9586368"/>
              <a:gd name="connsiteY8267" fmla="*/ 492657 h 6479439"/>
              <a:gd name="connsiteX8268" fmla="*/ 3838899 w 9586368"/>
              <a:gd name="connsiteY8268" fmla="*/ 496695 h 6479439"/>
              <a:gd name="connsiteX8269" fmla="*/ 3828990 w 9586368"/>
              <a:gd name="connsiteY8269" fmla="*/ 496695 h 6479439"/>
              <a:gd name="connsiteX8270" fmla="*/ 3824971 w 9586368"/>
              <a:gd name="connsiteY8270" fmla="*/ 492657 h 6479439"/>
              <a:gd name="connsiteX8271" fmla="*/ 3824971 w 9586368"/>
              <a:gd name="connsiteY8271" fmla="*/ 482789 h 6479439"/>
              <a:gd name="connsiteX8272" fmla="*/ 3589676 w 9586368"/>
              <a:gd name="connsiteY8272" fmla="*/ 478748 h 6479439"/>
              <a:gd name="connsiteX8273" fmla="*/ 3599585 w 9586368"/>
              <a:gd name="connsiteY8273" fmla="*/ 478748 h 6479439"/>
              <a:gd name="connsiteX8274" fmla="*/ 3603604 w 9586368"/>
              <a:gd name="connsiteY8274" fmla="*/ 482789 h 6479439"/>
              <a:gd name="connsiteX8275" fmla="*/ 3603604 w 9586368"/>
              <a:gd name="connsiteY8275" fmla="*/ 492657 h 6479439"/>
              <a:gd name="connsiteX8276" fmla="*/ 3599585 w 9586368"/>
              <a:gd name="connsiteY8276" fmla="*/ 496695 h 6479439"/>
              <a:gd name="connsiteX8277" fmla="*/ 3589676 w 9586368"/>
              <a:gd name="connsiteY8277" fmla="*/ 496695 h 6479439"/>
              <a:gd name="connsiteX8278" fmla="*/ 3585657 w 9586368"/>
              <a:gd name="connsiteY8278" fmla="*/ 492657 h 6479439"/>
              <a:gd name="connsiteX8279" fmla="*/ 3585657 w 9586368"/>
              <a:gd name="connsiteY8279" fmla="*/ 482789 h 6479439"/>
              <a:gd name="connsiteX8280" fmla="*/ 5743412 w 9586368"/>
              <a:gd name="connsiteY8280" fmla="*/ 478736 h 6479439"/>
              <a:gd name="connsiteX8281" fmla="*/ 5753323 w 9586368"/>
              <a:gd name="connsiteY8281" fmla="*/ 478736 h 6479439"/>
              <a:gd name="connsiteX8282" fmla="*/ 5757342 w 9586368"/>
              <a:gd name="connsiteY8282" fmla="*/ 482776 h 6479439"/>
              <a:gd name="connsiteX8283" fmla="*/ 5757342 w 9586368"/>
              <a:gd name="connsiteY8283" fmla="*/ 492645 h 6479439"/>
              <a:gd name="connsiteX8284" fmla="*/ 5753323 w 9586368"/>
              <a:gd name="connsiteY8284" fmla="*/ 496683 h 6479439"/>
              <a:gd name="connsiteX8285" fmla="*/ 5743412 w 9586368"/>
              <a:gd name="connsiteY8285" fmla="*/ 496683 h 6479439"/>
              <a:gd name="connsiteX8286" fmla="*/ 5739393 w 9586368"/>
              <a:gd name="connsiteY8286" fmla="*/ 492645 h 6479439"/>
              <a:gd name="connsiteX8287" fmla="*/ 5739393 w 9586368"/>
              <a:gd name="connsiteY8287" fmla="*/ 482776 h 6479439"/>
              <a:gd name="connsiteX8288" fmla="*/ 5504099 w 9586368"/>
              <a:gd name="connsiteY8288" fmla="*/ 478736 h 6479439"/>
              <a:gd name="connsiteX8289" fmla="*/ 5514010 w 9586368"/>
              <a:gd name="connsiteY8289" fmla="*/ 478736 h 6479439"/>
              <a:gd name="connsiteX8290" fmla="*/ 5518029 w 9586368"/>
              <a:gd name="connsiteY8290" fmla="*/ 482776 h 6479439"/>
              <a:gd name="connsiteX8291" fmla="*/ 5518029 w 9586368"/>
              <a:gd name="connsiteY8291" fmla="*/ 492645 h 6479439"/>
              <a:gd name="connsiteX8292" fmla="*/ 5514010 w 9586368"/>
              <a:gd name="connsiteY8292" fmla="*/ 496683 h 6479439"/>
              <a:gd name="connsiteX8293" fmla="*/ 5504099 w 9586368"/>
              <a:gd name="connsiteY8293" fmla="*/ 496683 h 6479439"/>
              <a:gd name="connsiteX8294" fmla="*/ 5500080 w 9586368"/>
              <a:gd name="connsiteY8294" fmla="*/ 492645 h 6479439"/>
              <a:gd name="connsiteX8295" fmla="*/ 5500080 w 9586368"/>
              <a:gd name="connsiteY8295" fmla="*/ 482776 h 6479439"/>
              <a:gd name="connsiteX8296" fmla="*/ 5264784 w 9586368"/>
              <a:gd name="connsiteY8296" fmla="*/ 478736 h 6479439"/>
              <a:gd name="connsiteX8297" fmla="*/ 5274694 w 9586368"/>
              <a:gd name="connsiteY8297" fmla="*/ 478736 h 6479439"/>
              <a:gd name="connsiteX8298" fmla="*/ 5278713 w 9586368"/>
              <a:gd name="connsiteY8298" fmla="*/ 482776 h 6479439"/>
              <a:gd name="connsiteX8299" fmla="*/ 5278713 w 9586368"/>
              <a:gd name="connsiteY8299" fmla="*/ 492645 h 6479439"/>
              <a:gd name="connsiteX8300" fmla="*/ 5274694 w 9586368"/>
              <a:gd name="connsiteY8300" fmla="*/ 496683 h 6479439"/>
              <a:gd name="connsiteX8301" fmla="*/ 5264784 w 9586368"/>
              <a:gd name="connsiteY8301" fmla="*/ 496683 h 6479439"/>
              <a:gd name="connsiteX8302" fmla="*/ 5260765 w 9586368"/>
              <a:gd name="connsiteY8302" fmla="*/ 492645 h 6479439"/>
              <a:gd name="connsiteX8303" fmla="*/ 5260765 w 9586368"/>
              <a:gd name="connsiteY8303" fmla="*/ 482776 h 6479439"/>
              <a:gd name="connsiteX8304" fmla="*/ 5025470 w 9586368"/>
              <a:gd name="connsiteY8304" fmla="*/ 478736 h 6479439"/>
              <a:gd name="connsiteX8305" fmla="*/ 5035381 w 9586368"/>
              <a:gd name="connsiteY8305" fmla="*/ 478736 h 6479439"/>
              <a:gd name="connsiteX8306" fmla="*/ 5039400 w 9586368"/>
              <a:gd name="connsiteY8306" fmla="*/ 482776 h 6479439"/>
              <a:gd name="connsiteX8307" fmla="*/ 5039400 w 9586368"/>
              <a:gd name="connsiteY8307" fmla="*/ 492645 h 6479439"/>
              <a:gd name="connsiteX8308" fmla="*/ 5035381 w 9586368"/>
              <a:gd name="connsiteY8308" fmla="*/ 496683 h 6479439"/>
              <a:gd name="connsiteX8309" fmla="*/ 5025470 w 9586368"/>
              <a:gd name="connsiteY8309" fmla="*/ 496683 h 6479439"/>
              <a:gd name="connsiteX8310" fmla="*/ 5021451 w 9586368"/>
              <a:gd name="connsiteY8310" fmla="*/ 492645 h 6479439"/>
              <a:gd name="connsiteX8311" fmla="*/ 5021451 w 9586368"/>
              <a:gd name="connsiteY8311" fmla="*/ 482776 h 6479439"/>
              <a:gd name="connsiteX8312" fmla="*/ 4786241 w 9586368"/>
              <a:gd name="connsiteY8312" fmla="*/ 478736 h 6479439"/>
              <a:gd name="connsiteX8313" fmla="*/ 4796152 w 9586368"/>
              <a:gd name="connsiteY8313" fmla="*/ 478736 h 6479439"/>
              <a:gd name="connsiteX8314" fmla="*/ 4800171 w 9586368"/>
              <a:gd name="connsiteY8314" fmla="*/ 482776 h 6479439"/>
              <a:gd name="connsiteX8315" fmla="*/ 4800171 w 9586368"/>
              <a:gd name="connsiteY8315" fmla="*/ 492645 h 6479439"/>
              <a:gd name="connsiteX8316" fmla="*/ 4796152 w 9586368"/>
              <a:gd name="connsiteY8316" fmla="*/ 496683 h 6479439"/>
              <a:gd name="connsiteX8317" fmla="*/ 4786241 w 9586368"/>
              <a:gd name="connsiteY8317" fmla="*/ 496683 h 6479439"/>
              <a:gd name="connsiteX8318" fmla="*/ 4782224 w 9586368"/>
              <a:gd name="connsiteY8318" fmla="*/ 492645 h 6479439"/>
              <a:gd name="connsiteX8319" fmla="*/ 4782224 w 9586368"/>
              <a:gd name="connsiteY8319" fmla="*/ 482776 h 6479439"/>
              <a:gd name="connsiteX8320" fmla="*/ 6939983 w 9586368"/>
              <a:gd name="connsiteY8320" fmla="*/ 478724 h 6479439"/>
              <a:gd name="connsiteX8321" fmla="*/ 6949894 w 9586368"/>
              <a:gd name="connsiteY8321" fmla="*/ 478724 h 6479439"/>
              <a:gd name="connsiteX8322" fmla="*/ 6953913 w 9586368"/>
              <a:gd name="connsiteY8322" fmla="*/ 482764 h 6479439"/>
              <a:gd name="connsiteX8323" fmla="*/ 6953913 w 9586368"/>
              <a:gd name="connsiteY8323" fmla="*/ 492633 h 6479439"/>
              <a:gd name="connsiteX8324" fmla="*/ 6949894 w 9586368"/>
              <a:gd name="connsiteY8324" fmla="*/ 496671 h 6479439"/>
              <a:gd name="connsiteX8325" fmla="*/ 6939983 w 9586368"/>
              <a:gd name="connsiteY8325" fmla="*/ 496671 h 6479439"/>
              <a:gd name="connsiteX8326" fmla="*/ 6935964 w 9586368"/>
              <a:gd name="connsiteY8326" fmla="*/ 492633 h 6479439"/>
              <a:gd name="connsiteX8327" fmla="*/ 6935964 w 9586368"/>
              <a:gd name="connsiteY8327" fmla="*/ 482764 h 6479439"/>
              <a:gd name="connsiteX8328" fmla="*/ 6700670 w 9586368"/>
              <a:gd name="connsiteY8328" fmla="*/ 478724 h 6479439"/>
              <a:gd name="connsiteX8329" fmla="*/ 6710581 w 9586368"/>
              <a:gd name="connsiteY8329" fmla="*/ 478724 h 6479439"/>
              <a:gd name="connsiteX8330" fmla="*/ 6714600 w 9586368"/>
              <a:gd name="connsiteY8330" fmla="*/ 482764 h 6479439"/>
              <a:gd name="connsiteX8331" fmla="*/ 6714600 w 9586368"/>
              <a:gd name="connsiteY8331" fmla="*/ 492633 h 6479439"/>
              <a:gd name="connsiteX8332" fmla="*/ 6710581 w 9586368"/>
              <a:gd name="connsiteY8332" fmla="*/ 496671 h 6479439"/>
              <a:gd name="connsiteX8333" fmla="*/ 6700670 w 9586368"/>
              <a:gd name="connsiteY8333" fmla="*/ 496671 h 6479439"/>
              <a:gd name="connsiteX8334" fmla="*/ 6696651 w 9586368"/>
              <a:gd name="connsiteY8334" fmla="*/ 492633 h 6479439"/>
              <a:gd name="connsiteX8335" fmla="*/ 6696651 w 9586368"/>
              <a:gd name="connsiteY8335" fmla="*/ 482764 h 6479439"/>
              <a:gd name="connsiteX8336" fmla="*/ 6461356 w 9586368"/>
              <a:gd name="connsiteY8336" fmla="*/ 478724 h 6479439"/>
              <a:gd name="connsiteX8337" fmla="*/ 6471266 w 9586368"/>
              <a:gd name="connsiteY8337" fmla="*/ 478724 h 6479439"/>
              <a:gd name="connsiteX8338" fmla="*/ 6475285 w 9586368"/>
              <a:gd name="connsiteY8338" fmla="*/ 482764 h 6479439"/>
              <a:gd name="connsiteX8339" fmla="*/ 6475285 w 9586368"/>
              <a:gd name="connsiteY8339" fmla="*/ 492633 h 6479439"/>
              <a:gd name="connsiteX8340" fmla="*/ 6471266 w 9586368"/>
              <a:gd name="connsiteY8340" fmla="*/ 496671 h 6479439"/>
              <a:gd name="connsiteX8341" fmla="*/ 6461356 w 9586368"/>
              <a:gd name="connsiteY8341" fmla="*/ 496671 h 6479439"/>
              <a:gd name="connsiteX8342" fmla="*/ 6457337 w 9586368"/>
              <a:gd name="connsiteY8342" fmla="*/ 492633 h 6479439"/>
              <a:gd name="connsiteX8343" fmla="*/ 6457337 w 9586368"/>
              <a:gd name="connsiteY8343" fmla="*/ 482764 h 6479439"/>
              <a:gd name="connsiteX8344" fmla="*/ 6222042 w 9586368"/>
              <a:gd name="connsiteY8344" fmla="*/ 478724 h 6479439"/>
              <a:gd name="connsiteX8345" fmla="*/ 6231952 w 9586368"/>
              <a:gd name="connsiteY8345" fmla="*/ 478724 h 6479439"/>
              <a:gd name="connsiteX8346" fmla="*/ 6235971 w 9586368"/>
              <a:gd name="connsiteY8346" fmla="*/ 482764 h 6479439"/>
              <a:gd name="connsiteX8347" fmla="*/ 6235971 w 9586368"/>
              <a:gd name="connsiteY8347" fmla="*/ 492633 h 6479439"/>
              <a:gd name="connsiteX8348" fmla="*/ 6231952 w 9586368"/>
              <a:gd name="connsiteY8348" fmla="*/ 496671 h 6479439"/>
              <a:gd name="connsiteX8349" fmla="*/ 6222042 w 9586368"/>
              <a:gd name="connsiteY8349" fmla="*/ 496671 h 6479439"/>
              <a:gd name="connsiteX8350" fmla="*/ 6218023 w 9586368"/>
              <a:gd name="connsiteY8350" fmla="*/ 492633 h 6479439"/>
              <a:gd name="connsiteX8351" fmla="*/ 6218023 w 9586368"/>
              <a:gd name="connsiteY8351" fmla="*/ 482764 h 6479439"/>
              <a:gd name="connsiteX8352" fmla="*/ 5982729 w 9586368"/>
              <a:gd name="connsiteY8352" fmla="*/ 478724 h 6479439"/>
              <a:gd name="connsiteX8353" fmla="*/ 5992639 w 9586368"/>
              <a:gd name="connsiteY8353" fmla="*/ 478724 h 6479439"/>
              <a:gd name="connsiteX8354" fmla="*/ 5996658 w 9586368"/>
              <a:gd name="connsiteY8354" fmla="*/ 482764 h 6479439"/>
              <a:gd name="connsiteX8355" fmla="*/ 5996658 w 9586368"/>
              <a:gd name="connsiteY8355" fmla="*/ 492633 h 6479439"/>
              <a:gd name="connsiteX8356" fmla="*/ 5992639 w 9586368"/>
              <a:gd name="connsiteY8356" fmla="*/ 496671 h 6479439"/>
              <a:gd name="connsiteX8357" fmla="*/ 5982729 w 9586368"/>
              <a:gd name="connsiteY8357" fmla="*/ 496671 h 6479439"/>
              <a:gd name="connsiteX8358" fmla="*/ 5978710 w 9586368"/>
              <a:gd name="connsiteY8358" fmla="*/ 492633 h 6479439"/>
              <a:gd name="connsiteX8359" fmla="*/ 5978710 w 9586368"/>
              <a:gd name="connsiteY8359" fmla="*/ 482764 h 6479439"/>
              <a:gd name="connsiteX8360" fmla="*/ 7897241 w 9586368"/>
              <a:gd name="connsiteY8360" fmla="*/ 478712 h 6479439"/>
              <a:gd name="connsiteX8361" fmla="*/ 7907151 w 9586368"/>
              <a:gd name="connsiteY8361" fmla="*/ 478712 h 6479439"/>
              <a:gd name="connsiteX8362" fmla="*/ 7911170 w 9586368"/>
              <a:gd name="connsiteY8362" fmla="*/ 482751 h 6479439"/>
              <a:gd name="connsiteX8363" fmla="*/ 7911170 w 9586368"/>
              <a:gd name="connsiteY8363" fmla="*/ 492620 h 6479439"/>
              <a:gd name="connsiteX8364" fmla="*/ 7907151 w 9586368"/>
              <a:gd name="connsiteY8364" fmla="*/ 496658 h 6479439"/>
              <a:gd name="connsiteX8365" fmla="*/ 7897241 w 9586368"/>
              <a:gd name="connsiteY8365" fmla="*/ 496658 h 6479439"/>
              <a:gd name="connsiteX8366" fmla="*/ 7893222 w 9586368"/>
              <a:gd name="connsiteY8366" fmla="*/ 492620 h 6479439"/>
              <a:gd name="connsiteX8367" fmla="*/ 7893222 w 9586368"/>
              <a:gd name="connsiteY8367" fmla="*/ 482751 h 6479439"/>
              <a:gd name="connsiteX8368" fmla="*/ 7657926 w 9586368"/>
              <a:gd name="connsiteY8368" fmla="*/ 478712 h 6479439"/>
              <a:gd name="connsiteX8369" fmla="*/ 7667836 w 9586368"/>
              <a:gd name="connsiteY8369" fmla="*/ 478712 h 6479439"/>
              <a:gd name="connsiteX8370" fmla="*/ 7671855 w 9586368"/>
              <a:gd name="connsiteY8370" fmla="*/ 482751 h 6479439"/>
              <a:gd name="connsiteX8371" fmla="*/ 7671855 w 9586368"/>
              <a:gd name="connsiteY8371" fmla="*/ 492620 h 6479439"/>
              <a:gd name="connsiteX8372" fmla="*/ 7667836 w 9586368"/>
              <a:gd name="connsiteY8372" fmla="*/ 496659 h 6479439"/>
              <a:gd name="connsiteX8373" fmla="*/ 7657926 w 9586368"/>
              <a:gd name="connsiteY8373" fmla="*/ 496659 h 6479439"/>
              <a:gd name="connsiteX8374" fmla="*/ 7653906 w 9586368"/>
              <a:gd name="connsiteY8374" fmla="*/ 492620 h 6479439"/>
              <a:gd name="connsiteX8375" fmla="*/ 7653906 w 9586368"/>
              <a:gd name="connsiteY8375" fmla="*/ 482751 h 6479439"/>
              <a:gd name="connsiteX8376" fmla="*/ 7418611 w 9586368"/>
              <a:gd name="connsiteY8376" fmla="*/ 478712 h 6479439"/>
              <a:gd name="connsiteX8377" fmla="*/ 7428521 w 9586368"/>
              <a:gd name="connsiteY8377" fmla="*/ 478712 h 6479439"/>
              <a:gd name="connsiteX8378" fmla="*/ 7432540 w 9586368"/>
              <a:gd name="connsiteY8378" fmla="*/ 482751 h 6479439"/>
              <a:gd name="connsiteX8379" fmla="*/ 7432540 w 9586368"/>
              <a:gd name="connsiteY8379" fmla="*/ 492620 h 6479439"/>
              <a:gd name="connsiteX8380" fmla="*/ 7428521 w 9586368"/>
              <a:gd name="connsiteY8380" fmla="*/ 496659 h 6479439"/>
              <a:gd name="connsiteX8381" fmla="*/ 7418611 w 9586368"/>
              <a:gd name="connsiteY8381" fmla="*/ 496659 h 6479439"/>
              <a:gd name="connsiteX8382" fmla="*/ 7414592 w 9586368"/>
              <a:gd name="connsiteY8382" fmla="*/ 492620 h 6479439"/>
              <a:gd name="connsiteX8383" fmla="*/ 7414592 w 9586368"/>
              <a:gd name="connsiteY8383" fmla="*/ 482751 h 6479439"/>
              <a:gd name="connsiteX8384" fmla="*/ 7179298 w 9586368"/>
              <a:gd name="connsiteY8384" fmla="*/ 478712 h 6479439"/>
              <a:gd name="connsiteX8385" fmla="*/ 7189209 w 9586368"/>
              <a:gd name="connsiteY8385" fmla="*/ 478712 h 6479439"/>
              <a:gd name="connsiteX8386" fmla="*/ 7193228 w 9586368"/>
              <a:gd name="connsiteY8386" fmla="*/ 482751 h 6479439"/>
              <a:gd name="connsiteX8387" fmla="*/ 7193228 w 9586368"/>
              <a:gd name="connsiteY8387" fmla="*/ 492620 h 6479439"/>
              <a:gd name="connsiteX8388" fmla="*/ 7189209 w 9586368"/>
              <a:gd name="connsiteY8388" fmla="*/ 496659 h 6479439"/>
              <a:gd name="connsiteX8389" fmla="*/ 7179298 w 9586368"/>
              <a:gd name="connsiteY8389" fmla="*/ 496659 h 6479439"/>
              <a:gd name="connsiteX8390" fmla="*/ 7175279 w 9586368"/>
              <a:gd name="connsiteY8390" fmla="*/ 492620 h 6479439"/>
              <a:gd name="connsiteX8391" fmla="*/ 7175279 w 9586368"/>
              <a:gd name="connsiteY8391" fmla="*/ 482751 h 6479439"/>
              <a:gd name="connsiteX8392" fmla="*/ 8136553 w 9586368"/>
              <a:gd name="connsiteY8392" fmla="*/ 478711 h 6479439"/>
              <a:gd name="connsiteX8393" fmla="*/ 8146464 w 9586368"/>
              <a:gd name="connsiteY8393" fmla="*/ 478711 h 6479439"/>
              <a:gd name="connsiteX8394" fmla="*/ 8150483 w 9586368"/>
              <a:gd name="connsiteY8394" fmla="*/ 482751 h 6479439"/>
              <a:gd name="connsiteX8395" fmla="*/ 8150483 w 9586368"/>
              <a:gd name="connsiteY8395" fmla="*/ 492620 h 6479439"/>
              <a:gd name="connsiteX8396" fmla="*/ 8146464 w 9586368"/>
              <a:gd name="connsiteY8396" fmla="*/ 496658 h 6479439"/>
              <a:gd name="connsiteX8397" fmla="*/ 8136553 w 9586368"/>
              <a:gd name="connsiteY8397" fmla="*/ 496658 h 6479439"/>
              <a:gd name="connsiteX8398" fmla="*/ 8132534 w 9586368"/>
              <a:gd name="connsiteY8398" fmla="*/ 492620 h 6479439"/>
              <a:gd name="connsiteX8399" fmla="*/ 8132534 w 9586368"/>
              <a:gd name="connsiteY8399" fmla="*/ 482751 h 6479439"/>
              <a:gd name="connsiteX8400" fmla="*/ 9093811 w 9586368"/>
              <a:gd name="connsiteY8400" fmla="*/ 478699 h 6479439"/>
              <a:gd name="connsiteX8401" fmla="*/ 9103722 w 9586368"/>
              <a:gd name="connsiteY8401" fmla="*/ 478699 h 6479439"/>
              <a:gd name="connsiteX8402" fmla="*/ 9107741 w 9586368"/>
              <a:gd name="connsiteY8402" fmla="*/ 482738 h 6479439"/>
              <a:gd name="connsiteX8403" fmla="*/ 9107741 w 9586368"/>
              <a:gd name="connsiteY8403" fmla="*/ 492608 h 6479439"/>
              <a:gd name="connsiteX8404" fmla="*/ 9103722 w 9586368"/>
              <a:gd name="connsiteY8404" fmla="*/ 496646 h 6479439"/>
              <a:gd name="connsiteX8405" fmla="*/ 9093811 w 9586368"/>
              <a:gd name="connsiteY8405" fmla="*/ 496646 h 6479439"/>
              <a:gd name="connsiteX8406" fmla="*/ 9089792 w 9586368"/>
              <a:gd name="connsiteY8406" fmla="*/ 492608 h 6479439"/>
              <a:gd name="connsiteX8407" fmla="*/ 9089792 w 9586368"/>
              <a:gd name="connsiteY8407" fmla="*/ 482738 h 6479439"/>
              <a:gd name="connsiteX8408" fmla="*/ 8854496 w 9586368"/>
              <a:gd name="connsiteY8408" fmla="*/ 478699 h 6479439"/>
              <a:gd name="connsiteX8409" fmla="*/ 8864407 w 9586368"/>
              <a:gd name="connsiteY8409" fmla="*/ 478699 h 6479439"/>
              <a:gd name="connsiteX8410" fmla="*/ 8868426 w 9586368"/>
              <a:gd name="connsiteY8410" fmla="*/ 482738 h 6479439"/>
              <a:gd name="connsiteX8411" fmla="*/ 8868426 w 9586368"/>
              <a:gd name="connsiteY8411" fmla="*/ 492608 h 6479439"/>
              <a:gd name="connsiteX8412" fmla="*/ 8864407 w 9586368"/>
              <a:gd name="connsiteY8412" fmla="*/ 496647 h 6479439"/>
              <a:gd name="connsiteX8413" fmla="*/ 8854496 w 9586368"/>
              <a:gd name="connsiteY8413" fmla="*/ 496647 h 6479439"/>
              <a:gd name="connsiteX8414" fmla="*/ 8850477 w 9586368"/>
              <a:gd name="connsiteY8414" fmla="*/ 492608 h 6479439"/>
              <a:gd name="connsiteX8415" fmla="*/ 8850477 w 9586368"/>
              <a:gd name="connsiteY8415" fmla="*/ 482738 h 6479439"/>
              <a:gd name="connsiteX8416" fmla="*/ 8615184 w 9586368"/>
              <a:gd name="connsiteY8416" fmla="*/ 478699 h 6479439"/>
              <a:gd name="connsiteX8417" fmla="*/ 8625095 w 9586368"/>
              <a:gd name="connsiteY8417" fmla="*/ 478699 h 6479439"/>
              <a:gd name="connsiteX8418" fmla="*/ 8629114 w 9586368"/>
              <a:gd name="connsiteY8418" fmla="*/ 482739 h 6479439"/>
              <a:gd name="connsiteX8419" fmla="*/ 8629114 w 9586368"/>
              <a:gd name="connsiteY8419" fmla="*/ 492608 h 6479439"/>
              <a:gd name="connsiteX8420" fmla="*/ 8625095 w 9586368"/>
              <a:gd name="connsiteY8420" fmla="*/ 496647 h 6479439"/>
              <a:gd name="connsiteX8421" fmla="*/ 8615184 w 9586368"/>
              <a:gd name="connsiteY8421" fmla="*/ 496647 h 6479439"/>
              <a:gd name="connsiteX8422" fmla="*/ 8611165 w 9586368"/>
              <a:gd name="connsiteY8422" fmla="*/ 492608 h 6479439"/>
              <a:gd name="connsiteX8423" fmla="*/ 8611165 w 9586368"/>
              <a:gd name="connsiteY8423" fmla="*/ 482739 h 6479439"/>
              <a:gd name="connsiteX8424" fmla="*/ 8375869 w 9586368"/>
              <a:gd name="connsiteY8424" fmla="*/ 478699 h 6479439"/>
              <a:gd name="connsiteX8425" fmla="*/ 8385779 w 9586368"/>
              <a:gd name="connsiteY8425" fmla="*/ 478699 h 6479439"/>
              <a:gd name="connsiteX8426" fmla="*/ 8389799 w 9586368"/>
              <a:gd name="connsiteY8426" fmla="*/ 482739 h 6479439"/>
              <a:gd name="connsiteX8427" fmla="*/ 8389799 w 9586368"/>
              <a:gd name="connsiteY8427" fmla="*/ 492608 h 6479439"/>
              <a:gd name="connsiteX8428" fmla="*/ 8385779 w 9586368"/>
              <a:gd name="connsiteY8428" fmla="*/ 496647 h 6479439"/>
              <a:gd name="connsiteX8429" fmla="*/ 8375869 w 9586368"/>
              <a:gd name="connsiteY8429" fmla="*/ 496647 h 6479439"/>
              <a:gd name="connsiteX8430" fmla="*/ 8371850 w 9586368"/>
              <a:gd name="connsiteY8430" fmla="*/ 492608 h 6479439"/>
              <a:gd name="connsiteX8431" fmla="*/ 8371850 w 9586368"/>
              <a:gd name="connsiteY8431" fmla="*/ 482739 h 6479439"/>
              <a:gd name="connsiteX8432" fmla="*/ 9333125 w 9586368"/>
              <a:gd name="connsiteY8432" fmla="*/ 478698 h 6479439"/>
              <a:gd name="connsiteX8433" fmla="*/ 9343036 w 9586368"/>
              <a:gd name="connsiteY8433" fmla="*/ 478698 h 6479439"/>
              <a:gd name="connsiteX8434" fmla="*/ 9347055 w 9586368"/>
              <a:gd name="connsiteY8434" fmla="*/ 482738 h 6479439"/>
              <a:gd name="connsiteX8435" fmla="*/ 9347055 w 9586368"/>
              <a:gd name="connsiteY8435" fmla="*/ 492608 h 6479439"/>
              <a:gd name="connsiteX8436" fmla="*/ 9343036 w 9586368"/>
              <a:gd name="connsiteY8436" fmla="*/ 496646 h 6479439"/>
              <a:gd name="connsiteX8437" fmla="*/ 9333125 w 9586368"/>
              <a:gd name="connsiteY8437" fmla="*/ 496646 h 6479439"/>
              <a:gd name="connsiteX8438" fmla="*/ 9329106 w 9586368"/>
              <a:gd name="connsiteY8438" fmla="*/ 492608 h 6479439"/>
              <a:gd name="connsiteX8439" fmla="*/ 9329106 w 9586368"/>
              <a:gd name="connsiteY8439" fmla="*/ 482738 h 6479439"/>
              <a:gd name="connsiteX8440" fmla="*/ 9572438 w 9586368"/>
              <a:gd name="connsiteY8440" fmla="*/ 478687 h 6479439"/>
              <a:gd name="connsiteX8441" fmla="*/ 9582349 w 9586368"/>
              <a:gd name="connsiteY8441" fmla="*/ 478687 h 6479439"/>
              <a:gd name="connsiteX8442" fmla="*/ 9586368 w 9586368"/>
              <a:gd name="connsiteY8442" fmla="*/ 482726 h 6479439"/>
              <a:gd name="connsiteX8443" fmla="*/ 9586368 w 9586368"/>
              <a:gd name="connsiteY8443" fmla="*/ 492596 h 6479439"/>
              <a:gd name="connsiteX8444" fmla="*/ 9582349 w 9586368"/>
              <a:gd name="connsiteY8444" fmla="*/ 496634 h 6479439"/>
              <a:gd name="connsiteX8445" fmla="*/ 9572438 w 9586368"/>
              <a:gd name="connsiteY8445" fmla="*/ 496634 h 6479439"/>
              <a:gd name="connsiteX8446" fmla="*/ 9568419 w 9586368"/>
              <a:gd name="connsiteY8446" fmla="*/ 492596 h 6479439"/>
              <a:gd name="connsiteX8447" fmla="*/ 9568419 w 9586368"/>
              <a:gd name="connsiteY8447" fmla="*/ 482726 h 6479439"/>
              <a:gd name="connsiteX8448" fmla="*/ 721976 w 9586368"/>
              <a:gd name="connsiteY8448" fmla="*/ 478660 h 6479439"/>
              <a:gd name="connsiteX8449" fmla="*/ 731886 w 9586368"/>
              <a:gd name="connsiteY8449" fmla="*/ 478660 h 6479439"/>
              <a:gd name="connsiteX8450" fmla="*/ 735905 w 9586368"/>
              <a:gd name="connsiteY8450" fmla="*/ 482698 h 6479439"/>
              <a:gd name="connsiteX8451" fmla="*/ 735905 w 9586368"/>
              <a:gd name="connsiteY8451" fmla="*/ 492569 h 6479439"/>
              <a:gd name="connsiteX8452" fmla="*/ 731886 w 9586368"/>
              <a:gd name="connsiteY8452" fmla="*/ 496608 h 6479439"/>
              <a:gd name="connsiteX8453" fmla="*/ 721976 w 9586368"/>
              <a:gd name="connsiteY8453" fmla="*/ 496608 h 6479439"/>
              <a:gd name="connsiteX8454" fmla="*/ 717957 w 9586368"/>
              <a:gd name="connsiteY8454" fmla="*/ 492569 h 6479439"/>
              <a:gd name="connsiteX8455" fmla="*/ 717957 w 9586368"/>
              <a:gd name="connsiteY8455" fmla="*/ 482698 h 6479439"/>
              <a:gd name="connsiteX8456" fmla="*/ 482664 w 9586368"/>
              <a:gd name="connsiteY8456" fmla="*/ 478660 h 6479439"/>
              <a:gd name="connsiteX8457" fmla="*/ 492574 w 9586368"/>
              <a:gd name="connsiteY8457" fmla="*/ 478660 h 6479439"/>
              <a:gd name="connsiteX8458" fmla="*/ 496593 w 9586368"/>
              <a:gd name="connsiteY8458" fmla="*/ 482698 h 6479439"/>
              <a:gd name="connsiteX8459" fmla="*/ 496593 w 9586368"/>
              <a:gd name="connsiteY8459" fmla="*/ 492569 h 6479439"/>
              <a:gd name="connsiteX8460" fmla="*/ 492574 w 9586368"/>
              <a:gd name="connsiteY8460" fmla="*/ 496608 h 6479439"/>
              <a:gd name="connsiteX8461" fmla="*/ 482664 w 9586368"/>
              <a:gd name="connsiteY8461" fmla="*/ 496608 h 6479439"/>
              <a:gd name="connsiteX8462" fmla="*/ 478645 w 9586368"/>
              <a:gd name="connsiteY8462" fmla="*/ 492569 h 6479439"/>
              <a:gd name="connsiteX8463" fmla="*/ 478645 w 9586368"/>
              <a:gd name="connsiteY8463" fmla="*/ 482698 h 6479439"/>
              <a:gd name="connsiteX8464" fmla="*/ 243350 w 9586368"/>
              <a:gd name="connsiteY8464" fmla="*/ 478660 h 6479439"/>
              <a:gd name="connsiteX8465" fmla="*/ 253260 w 9586368"/>
              <a:gd name="connsiteY8465" fmla="*/ 478660 h 6479439"/>
              <a:gd name="connsiteX8466" fmla="*/ 257279 w 9586368"/>
              <a:gd name="connsiteY8466" fmla="*/ 482698 h 6479439"/>
              <a:gd name="connsiteX8467" fmla="*/ 257279 w 9586368"/>
              <a:gd name="connsiteY8467" fmla="*/ 492569 h 6479439"/>
              <a:gd name="connsiteX8468" fmla="*/ 253260 w 9586368"/>
              <a:gd name="connsiteY8468" fmla="*/ 496608 h 6479439"/>
              <a:gd name="connsiteX8469" fmla="*/ 243350 w 9586368"/>
              <a:gd name="connsiteY8469" fmla="*/ 496608 h 6479439"/>
              <a:gd name="connsiteX8470" fmla="*/ 239331 w 9586368"/>
              <a:gd name="connsiteY8470" fmla="*/ 492569 h 6479439"/>
              <a:gd name="connsiteX8471" fmla="*/ 239331 w 9586368"/>
              <a:gd name="connsiteY8471" fmla="*/ 482698 h 6479439"/>
              <a:gd name="connsiteX8472" fmla="*/ 4037 w 9586368"/>
              <a:gd name="connsiteY8472" fmla="*/ 478660 h 6479439"/>
              <a:gd name="connsiteX8473" fmla="*/ 13947 w 9586368"/>
              <a:gd name="connsiteY8473" fmla="*/ 478660 h 6479439"/>
              <a:gd name="connsiteX8474" fmla="*/ 17966 w 9586368"/>
              <a:gd name="connsiteY8474" fmla="*/ 482698 h 6479439"/>
              <a:gd name="connsiteX8475" fmla="*/ 17966 w 9586368"/>
              <a:gd name="connsiteY8475" fmla="*/ 492569 h 6479439"/>
              <a:gd name="connsiteX8476" fmla="*/ 13947 w 9586368"/>
              <a:gd name="connsiteY8476" fmla="*/ 496608 h 6479439"/>
              <a:gd name="connsiteX8477" fmla="*/ 4037 w 9586368"/>
              <a:gd name="connsiteY8477" fmla="*/ 496608 h 6479439"/>
              <a:gd name="connsiteX8478" fmla="*/ 18 w 9586368"/>
              <a:gd name="connsiteY8478" fmla="*/ 492569 h 6479439"/>
              <a:gd name="connsiteX8479" fmla="*/ 18 w 9586368"/>
              <a:gd name="connsiteY8479" fmla="*/ 482698 h 6479439"/>
              <a:gd name="connsiteX8480" fmla="*/ 1679220 w 9586368"/>
              <a:gd name="connsiteY8480" fmla="*/ 478650 h 6479439"/>
              <a:gd name="connsiteX8481" fmla="*/ 1689130 w 9586368"/>
              <a:gd name="connsiteY8481" fmla="*/ 478650 h 6479439"/>
              <a:gd name="connsiteX8482" fmla="*/ 1693149 w 9586368"/>
              <a:gd name="connsiteY8482" fmla="*/ 482688 h 6479439"/>
              <a:gd name="connsiteX8483" fmla="*/ 1693149 w 9586368"/>
              <a:gd name="connsiteY8483" fmla="*/ 492559 h 6479439"/>
              <a:gd name="connsiteX8484" fmla="*/ 1689130 w 9586368"/>
              <a:gd name="connsiteY8484" fmla="*/ 496598 h 6479439"/>
              <a:gd name="connsiteX8485" fmla="*/ 1679220 w 9586368"/>
              <a:gd name="connsiteY8485" fmla="*/ 496598 h 6479439"/>
              <a:gd name="connsiteX8486" fmla="*/ 1675200 w 9586368"/>
              <a:gd name="connsiteY8486" fmla="*/ 492559 h 6479439"/>
              <a:gd name="connsiteX8487" fmla="*/ 1675200 w 9586368"/>
              <a:gd name="connsiteY8487" fmla="*/ 482688 h 6479439"/>
              <a:gd name="connsiteX8488" fmla="*/ 1439902 w 9586368"/>
              <a:gd name="connsiteY8488" fmla="*/ 478650 h 6479439"/>
              <a:gd name="connsiteX8489" fmla="*/ 1449812 w 9586368"/>
              <a:gd name="connsiteY8489" fmla="*/ 478650 h 6479439"/>
              <a:gd name="connsiteX8490" fmla="*/ 1453831 w 9586368"/>
              <a:gd name="connsiteY8490" fmla="*/ 482688 h 6479439"/>
              <a:gd name="connsiteX8491" fmla="*/ 1453831 w 9586368"/>
              <a:gd name="connsiteY8491" fmla="*/ 492559 h 6479439"/>
              <a:gd name="connsiteX8492" fmla="*/ 1449812 w 9586368"/>
              <a:gd name="connsiteY8492" fmla="*/ 496598 h 6479439"/>
              <a:gd name="connsiteX8493" fmla="*/ 1439902 w 9586368"/>
              <a:gd name="connsiteY8493" fmla="*/ 496598 h 6479439"/>
              <a:gd name="connsiteX8494" fmla="*/ 1435883 w 9586368"/>
              <a:gd name="connsiteY8494" fmla="*/ 492559 h 6479439"/>
              <a:gd name="connsiteX8495" fmla="*/ 1435883 w 9586368"/>
              <a:gd name="connsiteY8495" fmla="*/ 482688 h 6479439"/>
              <a:gd name="connsiteX8496" fmla="*/ 1200585 w 9586368"/>
              <a:gd name="connsiteY8496" fmla="*/ 478650 h 6479439"/>
              <a:gd name="connsiteX8497" fmla="*/ 1210496 w 9586368"/>
              <a:gd name="connsiteY8497" fmla="*/ 478650 h 6479439"/>
              <a:gd name="connsiteX8498" fmla="*/ 1214515 w 9586368"/>
              <a:gd name="connsiteY8498" fmla="*/ 482689 h 6479439"/>
              <a:gd name="connsiteX8499" fmla="*/ 1214515 w 9586368"/>
              <a:gd name="connsiteY8499" fmla="*/ 492559 h 6479439"/>
              <a:gd name="connsiteX8500" fmla="*/ 1210496 w 9586368"/>
              <a:gd name="connsiteY8500" fmla="*/ 496598 h 6479439"/>
              <a:gd name="connsiteX8501" fmla="*/ 1200585 w 9586368"/>
              <a:gd name="connsiteY8501" fmla="*/ 496598 h 6479439"/>
              <a:gd name="connsiteX8502" fmla="*/ 1196567 w 9586368"/>
              <a:gd name="connsiteY8502" fmla="*/ 492559 h 6479439"/>
              <a:gd name="connsiteX8503" fmla="*/ 1196567 w 9586368"/>
              <a:gd name="connsiteY8503" fmla="*/ 482689 h 6479439"/>
              <a:gd name="connsiteX8504" fmla="*/ 961273 w 9586368"/>
              <a:gd name="connsiteY8504" fmla="*/ 478650 h 6479439"/>
              <a:gd name="connsiteX8505" fmla="*/ 971183 w 9586368"/>
              <a:gd name="connsiteY8505" fmla="*/ 478650 h 6479439"/>
              <a:gd name="connsiteX8506" fmla="*/ 975202 w 9586368"/>
              <a:gd name="connsiteY8506" fmla="*/ 482689 h 6479439"/>
              <a:gd name="connsiteX8507" fmla="*/ 975202 w 9586368"/>
              <a:gd name="connsiteY8507" fmla="*/ 492559 h 6479439"/>
              <a:gd name="connsiteX8508" fmla="*/ 971183 w 9586368"/>
              <a:gd name="connsiteY8508" fmla="*/ 496598 h 6479439"/>
              <a:gd name="connsiteX8509" fmla="*/ 961273 w 9586368"/>
              <a:gd name="connsiteY8509" fmla="*/ 496598 h 6479439"/>
              <a:gd name="connsiteX8510" fmla="*/ 957254 w 9586368"/>
              <a:gd name="connsiteY8510" fmla="*/ 492559 h 6479439"/>
              <a:gd name="connsiteX8511" fmla="*/ 957254 w 9586368"/>
              <a:gd name="connsiteY8511" fmla="*/ 482689 h 6479439"/>
              <a:gd name="connsiteX8512" fmla="*/ 1918515 w 9586368"/>
              <a:gd name="connsiteY8512" fmla="*/ 478641 h 6479439"/>
              <a:gd name="connsiteX8513" fmla="*/ 1928425 w 9586368"/>
              <a:gd name="connsiteY8513" fmla="*/ 478641 h 6479439"/>
              <a:gd name="connsiteX8514" fmla="*/ 1932444 w 9586368"/>
              <a:gd name="connsiteY8514" fmla="*/ 482679 h 6479439"/>
              <a:gd name="connsiteX8515" fmla="*/ 1932444 w 9586368"/>
              <a:gd name="connsiteY8515" fmla="*/ 492550 h 6479439"/>
              <a:gd name="connsiteX8516" fmla="*/ 1928425 w 9586368"/>
              <a:gd name="connsiteY8516" fmla="*/ 496589 h 6479439"/>
              <a:gd name="connsiteX8517" fmla="*/ 1918515 w 9586368"/>
              <a:gd name="connsiteY8517" fmla="*/ 496589 h 6479439"/>
              <a:gd name="connsiteX8518" fmla="*/ 1914495 w 9586368"/>
              <a:gd name="connsiteY8518" fmla="*/ 492550 h 6479439"/>
              <a:gd name="connsiteX8519" fmla="*/ 1914495 w 9586368"/>
              <a:gd name="connsiteY8519" fmla="*/ 482679 h 6479439"/>
              <a:gd name="connsiteX8520" fmla="*/ 2157823 w 9586368"/>
              <a:gd name="connsiteY8520" fmla="*/ 478638 h 6479439"/>
              <a:gd name="connsiteX8521" fmla="*/ 2167734 w 9586368"/>
              <a:gd name="connsiteY8521" fmla="*/ 478638 h 6479439"/>
              <a:gd name="connsiteX8522" fmla="*/ 2171753 w 9586368"/>
              <a:gd name="connsiteY8522" fmla="*/ 482677 h 6479439"/>
              <a:gd name="connsiteX8523" fmla="*/ 2171753 w 9586368"/>
              <a:gd name="connsiteY8523" fmla="*/ 492548 h 6479439"/>
              <a:gd name="connsiteX8524" fmla="*/ 2167734 w 9586368"/>
              <a:gd name="connsiteY8524" fmla="*/ 496587 h 6479439"/>
              <a:gd name="connsiteX8525" fmla="*/ 2157823 w 9586368"/>
              <a:gd name="connsiteY8525" fmla="*/ 496587 h 6479439"/>
              <a:gd name="connsiteX8526" fmla="*/ 2153804 w 9586368"/>
              <a:gd name="connsiteY8526" fmla="*/ 492548 h 6479439"/>
              <a:gd name="connsiteX8527" fmla="*/ 2153804 w 9586368"/>
              <a:gd name="connsiteY8527" fmla="*/ 482677 h 6479439"/>
              <a:gd name="connsiteX8528" fmla="*/ 2632423 w 9586368"/>
              <a:gd name="connsiteY8528" fmla="*/ 239432 h 6479439"/>
              <a:gd name="connsiteX8529" fmla="*/ 2642334 w 9586368"/>
              <a:gd name="connsiteY8529" fmla="*/ 239432 h 6479439"/>
              <a:gd name="connsiteX8530" fmla="*/ 2646352 w 9586368"/>
              <a:gd name="connsiteY8530" fmla="*/ 243470 h 6479439"/>
              <a:gd name="connsiteX8531" fmla="*/ 2646352 w 9586368"/>
              <a:gd name="connsiteY8531" fmla="*/ 253341 h 6479439"/>
              <a:gd name="connsiteX8532" fmla="*/ 2642334 w 9586368"/>
              <a:gd name="connsiteY8532" fmla="*/ 257380 h 6479439"/>
              <a:gd name="connsiteX8533" fmla="*/ 2632423 w 9586368"/>
              <a:gd name="connsiteY8533" fmla="*/ 257380 h 6479439"/>
              <a:gd name="connsiteX8534" fmla="*/ 2628404 w 9586368"/>
              <a:gd name="connsiteY8534" fmla="*/ 253341 h 6479439"/>
              <a:gd name="connsiteX8535" fmla="*/ 2628404 w 9586368"/>
              <a:gd name="connsiteY8535" fmla="*/ 243470 h 6479439"/>
              <a:gd name="connsiteX8536" fmla="*/ 2393104 w 9586368"/>
              <a:gd name="connsiteY8536" fmla="*/ 239432 h 6479439"/>
              <a:gd name="connsiteX8537" fmla="*/ 2403015 w 9586368"/>
              <a:gd name="connsiteY8537" fmla="*/ 239432 h 6479439"/>
              <a:gd name="connsiteX8538" fmla="*/ 2407034 w 9586368"/>
              <a:gd name="connsiteY8538" fmla="*/ 243470 h 6479439"/>
              <a:gd name="connsiteX8539" fmla="*/ 2407034 w 9586368"/>
              <a:gd name="connsiteY8539" fmla="*/ 253341 h 6479439"/>
              <a:gd name="connsiteX8540" fmla="*/ 2403015 w 9586368"/>
              <a:gd name="connsiteY8540" fmla="*/ 257380 h 6479439"/>
              <a:gd name="connsiteX8541" fmla="*/ 2393104 w 9586368"/>
              <a:gd name="connsiteY8541" fmla="*/ 257380 h 6479439"/>
              <a:gd name="connsiteX8542" fmla="*/ 2389087 w 9586368"/>
              <a:gd name="connsiteY8542" fmla="*/ 253341 h 6479439"/>
              <a:gd name="connsiteX8543" fmla="*/ 2389087 w 9586368"/>
              <a:gd name="connsiteY8543" fmla="*/ 243470 h 6479439"/>
              <a:gd name="connsiteX8544" fmla="*/ 3350359 w 9586368"/>
              <a:gd name="connsiteY8544" fmla="*/ 239432 h 6479439"/>
              <a:gd name="connsiteX8545" fmla="*/ 3360268 w 9586368"/>
              <a:gd name="connsiteY8545" fmla="*/ 239432 h 6479439"/>
              <a:gd name="connsiteX8546" fmla="*/ 3364287 w 9586368"/>
              <a:gd name="connsiteY8546" fmla="*/ 243470 h 6479439"/>
              <a:gd name="connsiteX8547" fmla="*/ 3364287 w 9586368"/>
              <a:gd name="connsiteY8547" fmla="*/ 253341 h 6479439"/>
              <a:gd name="connsiteX8548" fmla="*/ 3360268 w 9586368"/>
              <a:gd name="connsiteY8548" fmla="*/ 257380 h 6479439"/>
              <a:gd name="connsiteX8549" fmla="*/ 3350359 w 9586368"/>
              <a:gd name="connsiteY8549" fmla="*/ 257380 h 6479439"/>
              <a:gd name="connsiteX8550" fmla="*/ 3346340 w 9586368"/>
              <a:gd name="connsiteY8550" fmla="*/ 253341 h 6479439"/>
              <a:gd name="connsiteX8551" fmla="*/ 3346340 w 9586368"/>
              <a:gd name="connsiteY8551" fmla="*/ 243470 h 6479439"/>
              <a:gd name="connsiteX8552" fmla="*/ 3111048 w 9586368"/>
              <a:gd name="connsiteY8552" fmla="*/ 239432 h 6479439"/>
              <a:gd name="connsiteX8553" fmla="*/ 3120959 w 9586368"/>
              <a:gd name="connsiteY8553" fmla="*/ 239432 h 6479439"/>
              <a:gd name="connsiteX8554" fmla="*/ 3124977 w 9586368"/>
              <a:gd name="connsiteY8554" fmla="*/ 243470 h 6479439"/>
              <a:gd name="connsiteX8555" fmla="*/ 3124977 w 9586368"/>
              <a:gd name="connsiteY8555" fmla="*/ 253341 h 6479439"/>
              <a:gd name="connsiteX8556" fmla="*/ 3120959 w 9586368"/>
              <a:gd name="connsiteY8556" fmla="*/ 257380 h 6479439"/>
              <a:gd name="connsiteX8557" fmla="*/ 3111048 w 9586368"/>
              <a:gd name="connsiteY8557" fmla="*/ 257380 h 6479439"/>
              <a:gd name="connsiteX8558" fmla="*/ 3107029 w 9586368"/>
              <a:gd name="connsiteY8558" fmla="*/ 253341 h 6479439"/>
              <a:gd name="connsiteX8559" fmla="*/ 3107029 w 9586368"/>
              <a:gd name="connsiteY8559" fmla="*/ 243470 h 6479439"/>
              <a:gd name="connsiteX8560" fmla="*/ 2871737 w 9586368"/>
              <a:gd name="connsiteY8560" fmla="*/ 239432 h 6479439"/>
              <a:gd name="connsiteX8561" fmla="*/ 2881646 w 9586368"/>
              <a:gd name="connsiteY8561" fmla="*/ 239432 h 6479439"/>
              <a:gd name="connsiteX8562" fmla="*/ 2885666 w 9586368"/>
              <a:gd name="connsiteY8562" fmla="*/ 243470 h 6479439"/>
              <a:gd name="connsiteX8563" fmla="*/ 2885666 w 9586368"/>
              <a:gd name="connsiteY8563" fmla="*/ 253341 h 6479439"/>
              <a:gd name="connsiteX8564" fmla="*/ 2881646 w 9586368"/>
              <a:gd name="connsiteY8564" fmla="*/ 257380 h 6479439"/>
              <a:gd name="connsiteX8565" fmla="*/ 2871737 w 9586368"/>
              <a:gd name="connsiteY8565" fmla="*/ 257380 h 6479439"/>
              <a:gd name="connsiteX8566" fmla="*/ 2867717 w 9586368"/>
              <a:gd name="connsiteY8566" fmla="*/ 253341 h 6479439"/>
              <a:gd name="connsiteX8567" fmla="*/ 2867717 w 9586368"/>
              <a:gd name="connsiteY8567" fmla="*/ 243470 h 6479439"/>
              <a:gd name="connsiteX8568" fmla="*/ 3828990 w 9586368"/>
              <a:gd name="connsiteY8568" fmla="*/ 239420 h 6479439"/>
              <a:gd name="connsiteX8569" fmla="*/ 3838899 w 9586368"/>
              <a:gd name="connsiteY8569" fmla="*/ 239420 h 6479439"/>
              <a:gd name="connsiteX8570" fmla="*/ 3842917 w 9586368"/>
              <a:gd name="connsiteY8570" fmla="*/ 243457 h 6479439"/>
              <a:gd name="connsiteX8571" fmla="*/ 3842917 w 9586368"/>
              <a:gd name="connsiteY8571" fmla="*/ 253328 h 6479439"/>
              <a:gd name="connsiteX8572" fmla="*/ 3838899 w 9586368"/>
              <a:gd name="connsiteY8572" fmla="*/ 257367 h 6479439"/>
              <a:gd name="connsiteX8573" fmla="*/ 3828990 w 9586368"/>
              <a:gd name="connsiteY8573" fmla="*/ 257367 h 6479439"/>
              <a:gd name="connsiteX8574" fmla="*/ 3824971 w 9586368"/>
              <a:gd name="connsiteY8574" fmla="*/ 253328 h 6479439"/>
              <a:gd name="connsiteX8575" fmla="*/ 3824971 w 9586368"/>
              <a:gd name="connsiteY8575" fmla="*/ 243457 h 6479439"/>
              <a:gd name="connsiteX8576" fmla="*/ 3589676 w 9586368"/>
              <a:gd name="connsiteY8576" fmla="*/ 239420 h 6479439"/>
              <a:gd name="connsiteX8577" fmla="*/ 3599585 w 9586368"/>
              <a:gd name="connsiteY8577" fmla="*/ 239420 h 6479439"/>
              <a:gd name="connsiteX8578" fmla="*/ 3603604 w 9586368"/>
              <a:gd name="connsiteY8578" fmla="*/ 243457 h 6479439"/>
              <a:gd name="connsiteX8579" fmla="*/ 3603604 w 9586368"/>
              <a:gd name="connsiteY8579" fmla="*/ 253328 h 6479439"/>
              <a:gd name="connsiteX8580" fmla="*/ 3599585 w 9586368"/>
              <a:gd name="connsiteY8580" fmla="*/ 257367 h 6479439"/>
              <a:gd name="connsiteX8581" fmla="*/ 3589676 w 9586368"/>
              <a:gd name="connsiteY8581" fmla="*/ 257367 h 6479439"/>
              <a:gd name="connsiteX8582" fmla="*/ 3585657 w 9586368"/>
              <a:gd name="connsiteY8582" fmla="*/ 253328 h 6479439"/>
              <a:gd name="connsiteX8583" fmla="*/ 3585657 w 9586368"/>
              <a:gd name="connsiteY8583" fmla="*/ 243457 h 6479439"/>
              <a:gd name="connsiteX8584" fmla="*/ 4546929 w 9586368"/>
              <a:gd name="connsiteY8584" fmla="*/ 239419 h 6479439"/>
              <a:gd name="connsiteX8585" fmla="*/ 4556840 w 9586368"/>
              <a:gd name="connsiteY8585" fmla="*/ 239419 h 6479439"/>
              <a:gd name="connsiteX8586" fmla="*/ 4560859 w 9586368"/>
              <a:gd name="connsiteY8586" fmla="*/ 243457 h 6479439"/>
              <a:gd name="connsiteX8587" fmla="*/ 4560859 w 9586368"/>
              <a:gd name="connsiteY8587" fmla="*/ 253328 h 6479439"/>
              <a:gd name="connsiteX8588" fmla="*/ 4556840 w 9586368"/>
              <a:gd name="connsiteY8588" fmla="*/ 257367 h 6479439"/>
              <a:gd name="connsiteX8589" fmla="*/ 4546929 w 9586368"/>
              <a:gd name="connsiteY8589" fmla="*/ 257367 h 6479439"/>
              <a:gd name="connsiteX8590" fmla="*/ 4542910 w 9586368"/>
              <a:gd name="connsiteY8590" fmla="*/ 253328 h 6479439"/>
              <a:gd name="connsiteX8591" fmla="*/ 4542910 w 9586368"/>
              <a:gd name="connsiteY8591" fmla="*/ 243457 h 6479439"/>
              <a:gd name="connsiteX8592" fmla="*/ 4307612 w 9586368"/>
              <a:gd name="connsiteY8592" fmla="*/ 239419 h 6479439"/>
              <a:gd name="connsiteX8593" fmla="*/ 4317523 w 9586368"/>
              <a:gd name="connsiteY8593" fmla="*/ 239419 h 6479439"/>
              <a:gd name="connsiteX8594" fmla="*/ 4321543 w 9586368"/>
              <a:gd name="connsiteY8594" fmla="*/ 243457 h 6479439"/>
              <a:gd name="connsiteX8595" fmla="*/ 4321543 w 9586368"/>
              <a:gd name="connsiteY8595" fmla="*/ 253328 h 6479439"/>
              <a:gd name="connsiteX8596" fmla="*/ 4317523 w 9586368"/>
              <a:gd name="connsiteY8596" fmla="*/ 257367 h 6479439"/>
              <a:gd name="connsiteX8597" fmla="*/ 4307612 w 9586368"/>
              <a:gd name="connsiteY8597" fmla="*/ 257367 h 6479439"/>
              <a:gd name="connsiteX8598" fmla="*/ 4303595 w 9586368"/>
              <a:gd name="connsiteY8598" fmla="*/ 253328 h 6479439"/>
              <a:gd name="connsiteX8599" fmla="*/ 4303595 w 9586368"/>
              <a:gd name="connsiteY8599" fmla="*/ 243457 h 6479439"/>
              <a:gd name="connsiteX8600" fmla="*/ 4068297 w 9586368"/>
              <a:gd name="connsiteY8600" fmla="*/ 239419 h 6479439"/>
              <a:gd name="connsiteX8601" fmla="*/ 4078210 w 9586368"/>
              <a:gd name="connsiteY8601" fmla="*/ 239419 h 6479439"/>
              <a:gd name="connsiteX8602" fmla="*/ 4082229 w 9586368"/>
              <a:gd name="connsiteY8602" fmla="*/ 243457 h 6479439"/>
              <a:gd name="connsiteX8603" fmla="*/ 4082229 w 9586368"/>
              <a:gd name="connsiteY8603" fmla="*/ 253328 h 6479439"/>
              <a:gd name="connsiteX8604" fmla="*/ 4078210 w 9586368"/>
              <a:gd name="connsiteY8604" fmla="*/ 257367 h 6479439"/>
              <a:gd name="connsiteX8605" fmla="*/ 4068297 w 9586368"/>
              <a:gd name="connsiteY8605" fmla="*/ 257367 h 6479439"/>
              <a:gd name="connsiteX8606" fmla="*/ 4064278 w 9586368"/>
              <a:gd name="connsiteY8606" fmla="*/ 253328 h 6479439"/>
              <a:gd name="connsiteX8607" fmla="*/ 4064278 w 9586368"/>
              <a:gd name="connsiteY8607" fmla="*/ 243457 h 6479439"/>
              <a:gd name="connsiteX8608" fmla="*/ 5025470 w 9586368"/>
              <a:gd name="connsiteY8608" fmla="*/ 239407 h 6479439"/>
              <a:gd name="connsiteX8609" fmla="*/ 5035381 w 9586368"/>
              <a:gd name="connsiteY8609" fmla="*/ 239407 h 6479439"/>
              <a:gd name="connsiteX8610" fmla="*/ 5039400 w 9586368"/>
              <a:gd name="connsiteY8610" fmla="*/ 243445 h 6479439"/>
              <a:gd name="connsiteX8611" fmla="*/ 5039400 w 9586368"/>
              <a:gd name="connsiteY8611" fmla="*/ 253316 h 6479439"/>
              <a:gd name="connsiteX8612" fmla="*/ 5035381 w 9586368"/>
              <a:gd name="connsiteY8612" fmla="*/ 257355 h 6479439"/>
              <a:gd name="connsiteX8613" fmla="*/ 5025470 w 9586368"/>
              <a:gd name="connsiteY8613" fmla="*/ 257355 h 6479439"/>
              <a:gd name="connsiteX8614" fmla="*/ 5021451 w 9586368"/>
              <a:gd name="connsiteY8614" fmla="*/ 253316 h 6479439"/>
              <a:gd name="connsiteX8615" fmla="*/ 5021451 w 9586368"/>
              <a:gd name="connsiteY8615" fmla="*/ 243445 h 6479439"/>
              <a:gd name="connsiteX8616" fmla="*/ 4786241 w 9586368"/>
              <a:gd name="connsiteY8616" fmla="*/ 239407 h 6479439"/>
              <a:gd name="connsiteX8617" fmla="*/ 4796152 w 9586368"/>
              <a:gd name="connsiteY8617" fmla="*/ 239407 h 6479439"/>
              <a:gd name="connsiteX8618" fmla="*/ 4800171 w 9586368"/>
              <a:gd name="connsiteY8618" fmla="*/ 243445 h 6479439"/>
              <a:gd name="connsiteX8619" fmla="*/ 4800171 w 9586368"/>
              <a:gd name="connsiteY8619" fmla="*/ 253316 h 6479439"/>
              <a:gd name="connsiteX8620" fmla="*/ 4796152 w 9586368"/>
              <a:gd name="connsiteY8620" fmla="*/ 257355 h 6479439"/>
              <a:gd name="connsiteX8621" fmla="*/ 4786241 w 9586368"/>
              <a:gd name="connsiteY8621" fmla="*/ 257355 h 6479439"/>
              <a:gd name="connsiteX8622" fmla="*/ 4782224 w 9586368"/>
              <a:gd name="connsiteY8622" fmla="*/ 253316 h 6479439"/>
              <a:gd name="connsiteX8623" fmla="*/ 4782224 w 9586368"/>
              <a:gd name="connsiteY8623" fmla="*/ 243445 h 6479439"/>
              <a:gd name="connsiteX8624" fmla="*/ 5743412 w 9586368"/>
              <a:gd name="connsiteY8624" fmla="*/ 239407 h 6479439"/>
              <a:gd name="connsiteX8625" fmla="*/ 5753323 w 9586368"/>
              <a:gd name="connsiteY8625" fmla="*/ 239407 h 6479439"/>
              <a:gd name="connsiteX8626" fmla="*/ 5757342 w 9586368"/>
              <a:gd name="connsiteY8626" fmla="*/ 243445 h 6479439"/>
              <a:gd name="connsiteX8627" fmla="*/ 5757342 w 9586368"/>
              <a:gd name="connsiteY8627" fmla="*/ 253316 h 6479439"/>
              <a:gd name="connsiteX8628" fmla="*/ 5753323 w 9586368"/>
              <a:gd name="connsiteY8628" fmla="*/ 257355 h 6479439"/>
              <a:gd name="connsiteX8629" fmla="*/ 5743412 w 9586368"/>
              <a:gd name="connsiteY8629" fmla="*/ 257355 h 6479439"/>
              <a:gd name="connsiteX8630" fmla="*/ 5739393 w 9586368"/>
              <a:gd name="connsiteY8630" fmla="*/ 253316 h 6479439"/>
              <a:gd name="connsiteX8631" fmla="*/ 5739393 w 9586368"/>
              <a:gd name="connsiteY8631" fmla="*/ 243445 h 6479439"/>
              <a:gd name="connsiteX8632" fmla="*/ 5504099 w 9586368"/>
              <a:gd name="connsiteY8632" fmla="*/ 239407 h 6479439"/>
              <a:gd name="connsiteX8633" fmla="*/ 5514010 w 9586368"/>
              <a:gd name="connsiteY8633" fmla="*/ 239407 h 6479439"/>
              <a:gd name="connsiteX8634" fmla="*/ 5518029 w 9586368"/>
              <a:gd name="connsiteY8634" fmla="*/ 243445 h 6479439"/>
              <a:gd name="connsiteX8635" fmla="*/ 5518029 w 9586368"/>
              <a:gd name="connsiteY8635" fmla="*/ 253316 h 6479439"/>
              <a:gd name="connsiteX8636" fmla="*/ 5514010 w 9586368"/>
              <a:gd name="connsiteY8636" fmla="*/ 257355 h 6479439"/>
              <a:gd name="connsiteX8637" fmla="*/ 5504099 w 9586368"/>
              <a:gd name="connsiteY8637" fmla="*/ 257355 h 6479439"/>
              <a:gd name="connsiteX8638" fmla="*/ 5500080 w 9586368"/>
              <a:gd name="connsiteY8638" fmla="*/ 253316 h 6479439"/>
              <a:gd name="connsiteX8639" fmla="*/ 5500080 w 9586368"/>
              <a:gd name="connsiteY8639" fmla="*/ 243445 h 6479439"/>
              <a:gd name="connsiteX8640" fmla="*/ 5264784 w 9586368"/>
              <a:gd name="connsiteY8640" fmla="*/ 239407 h 6479439"/>
              <a:gd name="connsiteX8641" fmla="*/ 5274694 w 9586368"/>
              <a:gd name="connsiteY8641" fmla="*/ 239407 h 6479439"/>
              <a:gd name="connsiteX8642" fmla="*/ 5278713 w 9586368"/>
              <a:gd name="connsiteY8642" fmla="*/ 243445 h 6479439"/>
              <a:gd name="connsiteX8643" fmla="*/ 5278713 w 9586368"/>
              <a:gd name="connsiteY8643" fmla="*/ 253316 h 6479439"/>
              <a:gd name="connsiteX8644" fmla="*/ 5274694 w 9586368"/>
              <a:gd name="connsiteY8644" fmla="*/ 257355 h 6479439"/>
              <a:gd name="connsiteX8645" fmla="*/ 5264784 w 9586368"/>
              <a:gd name="connsiteY8645" fmla="*/ 257355 h 6479439"/>
              <a:gd name="connsiteX8646" fmla="*/ 5260765 w 9586368"/>
              <a:gd name="connsiteY8646" fmla="*/ 253316 h 6479439"/>
              <a:gd name="connsiteX8647" fmla="*/ 5260765 w 9586368"/>
              <a:gd name="connsiteY8647" fmla="*/ 243445 h 6479439"/>
              <a:gd name="connsiteX8648" fmla="*/ 6222042 w 9586368"/>
              <a:gd name="connsiteY8648" fmla="*/ 239395 h 6479439"/>
              <a:gd name="connsiteX8649" fmla="*/ 6231952 w 9586368"/>
              <a:gd name="connsiteY8649" fmla="*/ 239395 h 6479439"/>
              <a:gd name="connsiteX8650" fmla="*/ 6235971 w 9586368"/>
              <a:gd name="connsiteY8650" fmla="*/ 243432 h 6479439"/>
              <a:gd name="connsiteX8651" fmla="*/ 6235971 w 9586368"/>
              <a:gd name="connsiteY8651" fmla="*/ 253303 h 6479439"/>
              <a:gd name="connsiteX8652" fmla="*/ 6231952 w 9586368"/>
              <a:gd name="connsiteY8652" fmla="*/ 257342 h 6479439"/>
              <a:gd name="connsiteX8653" fmla="*/ 6222042 w 9586368"/>
              <a:gd name="connsiteY8653" fmla="*/ 257342 h 6479439"/>
              <a:gd name="connsiteX8654" fmla="*/ 6218023 w 9586368"/>
              <a:gd name="connsiteY8654" fmla="*/ 253303 h 6479439"/>
              <a:gd name="connsiteX8655" fmla="*/ 6218023 w 9586368"/>
              <a:gd name="connsiteY8655" fmla="*/ 243432 h 6479439"/>
              <a:gd name="connsiteX8656" fmla="*/ 5982729 w 9586368"/>
              <a:gd name="connsiteY8656" fmla="*/ 239395 h 6479439"/>
              <a:gd name="connsiteX8657" fmla="*/ 5992639 w 9586368"/>
              <a:gd name="connsiteY8657" fmla="*/ 239395 h 6479439"/>
              <a:gd name="connsiteX8658" fmla="*/ 5996658 w 9586368"/>
              <a:gd name="connsiteY8658" fmla="*/ 243433 h 6479439"/>
              <a:gd name="connsiteX8659" fmla="*/ 5996658 w 9586368"/>
              <a:gd name="connsiteY8659" fmla="*/ 253303 h 6479439"/>
              <a:gd name="connsiteX8660" fmla="*/ 5992639 w 9586368"/>
              <a:gd name="connsiteY8660" fmla="*/ 257342 h 6479439"/>
              <a:gd name="connsiteX8661" fmla="*/ 5982729 w 9586368"/>
              <a:gd name="connsiteY8661" fmla="*/ 257342 h 6479439"/>
              <a:gd name="connsiteX8662" fmla="*/ 5978710 w 9586368"/>
              <a:gd name="connsiteY8662" fmla="*/ 253303 h 6479439"/>
              <a:gd name="connsiteX8663" fmla="*/ 5978710 w 9586368"/>
              <a:gd name="connsiteY8663" fmla="*/ 243433 h 6479439"/>
              <a:gd name="connsiteX8664" fmla="*/ 6939983 w 9586368"/>
              <a:gd name="connsiteY8664" fmla="*/ 239394 h 6479439"/>
              <a:gd name="connsiteX8665" fmla="*/ 6949894 w 9586368"/>
              <a:gd name="connsiteY8665" fmla="*/ 239394 h 6479439"/>
              <a:gd name="connsiteX8666" fmla="*/ 6953913 w 9586368"/>
              <a:gd name="connsiteY8666" fmla="*/ 243432 h 6479439"/>
              <a:gd name="connsiteX8667" fmla="*/ 6953913 w 9586368"/>
              <a:gd name="connsiteY8667" fmla="*/ 253303 h 6479439"/>
              <a:gd name="connsiteX8668" fmla="*/ 6949894 w 9586368"/>
              <a:gd name="connsiteY8668" fmla="*/ 257342 h 6479439"/>
              <a:gd name="connsiteX8669" fmla="*/ 6939983 w 9586368"/>
              <a:gd name="connsiteY8669" fmla="*/ 257342 h 6479439"/>
              <a:gd name="connsiteX8670" fmla="*/ 6935964 w 9586368"/>
              <a:gd name="connsiteY8670" fmla="*/ 253303 h 6479439"/>
              <a:gd name="connsiteX8671" fmla="*/ 6935964 w 9586368"/>
              <a:gd name="connsiteY8671" fmla="*/ 243432 h 6479439"/>
              <a:gd name="connsiteX8672" fmla="*/ 6700670 w 9586368"/>
              <a:gd name="connsiteY8672" fmla="*/ 239394 h 6479439"/>
              <a:gd name="connsiteX8673" fmla="*/ 6710581 w 9586368"/>
              <a:gd name="connsiteY8673" fmla="*/ 239394 h 6479439"/>
              <a:gd name="connsiteX8674" fmla="*/ 6714600 w 9586368"/>
              <a:gd name="connsiteY8674" fmla="*/ 243432 h 6479439"/>
              <a:gd name="connsiteX8675" fmla="*/ 6714600 w 9586368"/>
              <a:gd name="connsiteY8675" fmla="*/ 253303 h 6479439"/>
              <a:gd name="connsiteX8676" fmla="*/ 6710581 w 9586368"/>
              <a:gd name="connsiteY8676" fmla="*/ 257342 h 6479439"/>
              <a:gd name="connsiteX8677" fmla="*/ 6700670 w 9586368"/>
              <a:gd name="connsiteY8677" fmla="*/ 257342 h 6479439"/>
              <a:gd name="connsiteX8678" fmla="*/ 6696651 w 9586368"/>
              <a:gd name="connsiteY8678" fmla="*/ 253303 h 6479439"/>
              <a:gd name="connsiteX8679" fmla="*/ 6696651 w 9586368"/>
              <a:gd name="connsiteY8679" fmla="*/ 243432 h 6479439"/>
              <a:gd name="connsiteX8680" fmla="*/ 6461356 w 9586368"/>
              <a:gd name="connsiteY8680" fmla="*/ 239394 h 6479439"/>
              <a:gd name="connsiteX8681" fmla="*/ 6471266 w 9586368"/>
              <a:gd name="connsiteY8681" fmla="*/ 239394 h 6479439"/>
              <a:gd name="connsiteX8682" fmla="*/ 6475285 w 9586368"/>
              <a:gd name="connsiteY8682" fmla="*/ 243432 h 6479439"/>
              <a:gd name="connsiteX8683" fmla="*/ 6475285 w 9586368"/>
              <a:gd name="connsiteY8683" fmla="*/ 253303 h 6479439"/>
              <a:gd name="connsiteX8684" fmla="*/ 6471266 w 9586368"/>
              <a:gd name="connsiteY8684" fmla="*/ 257342 h 6479439"/>
              <a:gd name="connsiteX8685" fmla="*/ 6461356 w 9586368"/>
              <a:gd name="connsiteY8685" fmla="*/ 257342 h 6479439"/>
              <a:gd name="connsiteX8686" fmla="*/ 6457337 w 9586368"/>
              <a:gd name="connsiteY8686" fmla="*/ 253303 h 6479439"/>
              <a:gd name="connsiteX8687" fmla="*/ 6457337 w 9586368"/>
              <a:gd name="connsiteY8687" fmla="*/ 243432 h 6479439"/>
              <a:gd name="connsiteX8688" fmla="*/ 7418611 w 9586368"/>
              <a:gd name="connsiteY8688" fmla="*/ 239382 h 6479439"/>
              <a:gd name="connsiteX8689" fmla="*/ 7428521 w 9586368"/>
              <a:gd name="connsiteY8689" fmla="*/ 239382 h 6479439"/>
              <a:gd name="connsiteX8690" fmla="*/ 7432540 w 9586368"/>
              <a:gd name="connsiteY8690" fmla="*/ 243420 h 6479439"/>
              <a:gd name="connsiteX8691" fmla="*/ 7432540 w 9586368"/>
              <a:gd name="connsiteY8691" fmla="*/ 253291 h 6479439"/>
              <a:gd name="connsiteX8692" fmla="*/ 7428521 w 9586368"/>
              <a:gd name="connsiteY8692" fmla="*/ 257330 h 6479439"/>
              <a:gd name="connsiteX8693" fmla="*/ 7418611 w 9586368"/>
              <a:gd name="connsiteY8693" fmla="*/ 257330 h 6479439"/>
              <a:gd name="connsiteX8694" fmla="*/ 7414592 w 9586368"/>
              <a:gd name="connsiteY8694" fmla="*/ 253291 h 6479439"/>
              <a:gd name="connsiteX8695" fmla="*/ 7414592 w 9586368"/>
              <a:gd name="connsiteY8695" fmla="*/ 243420 h 6479439"/>
              <a:gd name="connsiteX8696" fmla="*/ 7179298 w 9586368"/>
              <a:gd name="connsiteY8696" fmla="*/ 239382 h 6479439"/>
              <a:gd name="connsiteX8697" fmla="*/ 7189209 w 9586368"/>
              <a:gd name="connsiteY8697" fmla="*/ 239382 h 6479439"/>
              <a:gd name="connsiteX8698" fmla="*/ 7193228 w 9586368"/>
              <a:gd name="connsiteY8698" fmla="*/ 243421 h 6479439"/>
              <a:gd name="connsiteX8699" fmla="*/ 7193228 w 9586368"/>
              <a:gd name="connsiteY8699" fmla="*/ 253292 h 6479439"/>
              <a:gd name="connsiteX8700" fmla="*/ 7189209 w 9586368"/>
              <a:gd name="connsiteY8700" fmla="*/ 257330 h 6479439"/>
              <a:gd name="connsiteX8701" fmla="*/ 7179298 w 9586368"/>
              <a:gd name="connsiteY8701" fmla="*/ 257330 h 6479439"/>
              <a:gd name="connsiteX8702" fmla="*/ 7175279 w 9586368"/>
              <a:gd name="connsiteY8702" fmla="*/ 253292 h 6479439"/>
              <a:gd name="connsiteX8703" fmla="*/ 7175279 w 9586368"/>
              <a:gd name="connsiteY8703" fmla="*/ 243421 h 6479439"/>
              <a:gd name="connsiteX8704" fmla="*/ 8136553 w 9586368"/>
              <a:gd name="connsiteY8704" fmla="*/ 239382 h 6479439"/>
              <a:gd name="connsiteX8705" fmla="*/ 8146464 w 9586368"/>
              <a:gd name="connsiteY8705" fmla="*/ 239382 h 6479439"/>
              <a:gd name="connsiteX8706" fmla="*/ 8150483 w 9586368"/>
              <a:gd name="connsiteY8706" fmla="*/ 243420 h 6479439"/>
              <a:gd name="connsiteX8707" fmla="*/ 8150483 w 9586368"/>
              <a:gd name="connsiteY8707" fmla="*/ 253291 h 6479439"/>
              <a:gd name="connsiteX8708" fmla="*/ 8146464 w 9586368"/>
              <a:gd name="connsiteY8708" fmla="*/ 257330 h 6479439"/>
              <a:gd name="connsiteX8709" fmla="*/ 8136553 w 9586368"/>
              <a:gd name="connsiteY8709" fmla="*/ 257330 h 6479439"/>
              <a:gd name="connsiteX8710" fmla="*/ 8132534 w 9586368"/>
              <a:gd name="connsiteY8710" fmla="*/ 253291 h 6479439"/>
              <a:gd name="connsiteX8711" fmla="*/ 8132534 w 9586368"/>
              <a:gd name="connsiteY8711" fmla="*/ 243420 h 6479439"/>
              <a:gd name="connsiteX8712" fmla="*/ 7897241 w 9586368"/>
              <a:gd name="connsiteY8712" fmla="*/ 239382 h 6479439"/>
              <a:gd name="connsiteX8713" fmla="*/ 7907151 w 9586368"/>
              <a:gd name="connsiteY8713" fmla="*/ 239382 h 6479439"/>
              <a:gd name="connsiteX8714" fmla="*/ 7911170 w 9586368"/>
              <a:gd name="connsiteY8714" fmla="*/ 243420 h 6479439"/>
              <a:gd name="connsiteX8715" fmla="*/ 7911170 w 9586368"/>
              <a:gd name="connsiteY8715" fmla="*/ 253291 h 6479439"/>
              <a:gd name="connsiteX8716" fmla="*/ 7907151 w 9586368"/>
              <a:gd name="connsiteY8716" fmla="*/ 257330 h 6479439"/>
              <a:gd name="connsiteX8717" fmla="*/ 7897241 w 9586368"/>
              <a:gd name="connsiteY8717" fmla="*/ 257330 h 6479439"/>
              <a:gd name="connsiteX8718" fmla="*/ 7893222 w 9586368"/>
              <a:gd name="connsiteY8718" fmla="*/ 253291 h 6479439"/>
              <a:gd name="connsiteX8719" fmla="*/ 7893222 w 9586368"/>
              <a:gd name="connsiteY8719" fmla="*/ 243420 h 6479439"/>
              <a:gd name="connsiteX8720" fmla="*/ 7657926 w 9586368"/>
              <a:gd name="connsiteY8720" fmla="*/ 239382 h 6479439"/>
              <a:gd name="connsiteX8721" fmla="*/ 7667836 w 9586368"/>
              <a:gd name="connsiteY8721" fmla="*/ 239382 h 6479439"/>
              <a:gd name="connsiteX8722" fmla="*/ 7671855 w 9586368"/>
              <a:gd name="connsiteY8722" fmla="*/ 243420 h 6479439"/>
              <a:gd name="connsiteX8723" fmla="*/ 7671855 w 9586368"/>
              <a:gd name="connsiteY8723" fmla="*/ 253291 h 6479439"/>
              <a:gd name="connsiteX8724" fmla="*/ 7667836 w 9586368"/>
              <a:gd name="connsiteY8724" fmla="*/ 257330 h 6479439"/>
              <a:gd name="connsiteX8725" fmla="*/ 7657926 w 9586368"/>
              <a:gd name="connsiteY8725" fmla="*/ 257330 h 6479439"/>
              <a:gd name="connsiteX8726" fmla="*/ 7653906 w 9586368"/>
              <a:gd name="connsiteY8726" fmla="*/ 253291 h 6479439"/>
              <a:gd name="connsiteX8727" fmla="*/ 7653906 w 9586368"/>
              <a:gd name="connsiteY8727" fmla="*/ 243420 h 6479439"/>
              <a:gd name="connsiteX8728" fmla="*/ 1679220 w 9586368"/>
              <a:gd name="connsiteY8728" fmla="*/ 239371 h 6479439"/>
              <a:gd name="connsiteX8729" fmla="*/ 1689131 w 9586368"/>
              <a:gd name="connsiteY8729" fmla="*/ 239371 h 6479439"/>
              <a:gd name="connsiteX8730" fmla="*/ 1693150 w 9586368"/>
              <a:gd name="connsiteY8730" fmla="*/ 243409 h 6479439"/>
              <a:gd name="connsiteX8731" fmla="*/ 1693150 w 9586368"/>
              <a:gd name="connsiteY8731" fmla="*/ 253280 h 6479439"/>
              <a:gd name="connsiteX8732" fmla="*/ 1689131 w 9586368"/>
              <a:gd name="connsiteY8732" fmla="*/ 257319 h 6479439"/>
              <a:gd name="connsiteX8733" fmla="*/ 1679220 w 9586368"/>
              <a:gd name="connsiteY8733" fmla="*/ 257319 h 6479439"/>
              <a:gd name="connsiteX8734" fmla="*/ 1675202 w 9586368"/>
              <a:gd name="connsiteY8734" fmla="*/ 253280 h 6479439"/>
              <a:gd name="connsiteX8735" fmla="*/ 1675202 w 9586368"/>
              <a:gd name="connsiteY8735" fmla="*/ 243409 h 6479439"/>
              <a:gd name="connsiteX8736" fmla="*/ 1439902 w 9586368"/>
              <a:gd name="connsiteY8736" fmla="*/ 239371 h 6479439"/>
              <a:gd name="connsiteX8737" fmla="*/ 1449813 w 9586368"/>
              <a:gd name="connsiteY8737" fmla="*/ 239371 h 6479439"/>
              <a:gd name="connsiteX8738" fmla="*/ 1453832 w 9586368"/>
              <a:gd name="connsiteY8738" fmla="*/ 243409 h 6479439"/>
              <a:gd name="connsiteX8739" fmla="*/ 1453832 w 9586368"/>
              <a:gd name="connsiteY8739" fmla="*/ 253280 h 6479439"/>
              <a:gd name="connsiteX8740" fmla="*/ 1449813 w 9586368"/>
              <a:gd name="connsiteY8740" fmla="*/ 257319 h 6479439"/>
              <a:gd name="connsiteX8741" fmla="*/ 1439902 w 9586368"/>
              <a:gd name="connsiteY8741" fmla="*/ 257319 h 6479439"/>
              <a:gd name="connsiteX8742" fmla="*/ 1435884 w 9586368"/>
              <a:gd name="connsiteY8742" fmla="*/ 253280 h 6479439"/>
              <a:gd name="connsiteX8743" fmla="*/ 1435884 w 9586368"/>
              <a:gd name="connsiteY8743" fmla="*/ 243409 h 6479439"/>
              <a:gd name="connsiteX8744" fmla="*/ 1200587 w 9586368"/>
              <a:gd name="connsiteY8744" fmla="*/ 239371 h 6479439"/>
              <a:gd name="connsiteX8745" fmla="*/ 1210496 w 9586368"/>
              <a:gd name="connsiteY8745" fmla="*/ 239371 h 6479439"/>
              <a:gd name="connsiteX8746" fmla="*/ 1214515 w 9586368"/>
              <a:gd name="connsiteY8746" fmla="*/ 243409 h 6479439"/>
              <a:gd name="connsiteX8747" fmla="*/ 1214515 w 9586368"/>
              <a:gd name="connsiteY8747" fmla="*/ 253280 h 6479439"/>
              <a:gd name="connsiteX8748" fmla="*/ 1210496 w 9586368"/>
              <a:gd name="connsiteY8748" fmla="*/ 257319 h 6479439"/>
              <a:gd name="connsiteX8749" fmla="*/ 1200587 w 9586368"/>
              <a:gd name="connsiteY8749" fmla="*/ 257319 h 6479439"/>
              <a:gd name="connsiteX8750" fmla="*/ 1196567 w 9586368"/>
              <a:gd name="connsiteY8750" fmla="*/ 253280 h 6479439"/>
              <a:gd name="connsiteX8751" fmla="*/ 1196567 w 9586368"/>
              <a:gd name="connsiteY8751" fmla="*/ 243409 h 6479439"/>
              <a:gd name="connsiteX8752" fmla="*/ 961273 w 9586368"/>
              <a:gd name="connsiteY8752" fmla="*/ 239371 h 6479439"/>
              <a:gd name="connsiteX8753" fmla="*/ 971184 w 9586368"/>
              <a:gd name="connsiteY8753" fmla="*/ 239371 h 6479439"/>
              <a:gd name="connsiteX8754" fmla="*/ 975203 w 9586368"/>
              <a:gd name="connsiteY8754" fmla="*/ 243409 h 6479439"/>
              <a:gd name="connsiteX8755" fmla="*/ 975203 w 9586368"/>
              <a:gd name="connsiteY8755" fmla="*/ 253280 h 6479439"/>
              <a:gd name="connsiteX8756" fmla="*/ 971184 w 9586368"/>
              <a:gd name="connsiteY8756" fmla="*/ 257319 h 6479439"/>
              <a:gd name="connsiteX8757" fmla="*/ 961273 w 9586368"/>
              <a:gd name="connsiteY8757" fmla="*/ 257319 h 6479439"/>
              <a:gd name="connsiteX8758" fmla="*/ 957255 w 9586368"/>
              <a:gd name="connsiteY8758" fmla="*/ 253280 h 6479439"/>
              <a:gd name="connsiteX8759" fmla="*/ 957255 w 9586368"/>
              <a:gd name="connsiteY8759" fmla="*/ 243409 h 6479439"/>
              <a:gd name="connsiteX8760" fmla="*/ 8615184 w 9586368"/>
              <a:gd name="connsiteY8760" fmla="*/ 239370 h 6479439"/>
              <a:gd name="connsiteX8761" fmla="*/ 8625095 w 9586368"/>
              <a:gd name="connsiteY8761" fmla="*/ 239370 h 6479439"/>
              <a:gd name="connsiteX8762" fmla="*/ 8629114 w 9586368"/>
              <a:gd name="connsiteY8762" fmla="*/ 243408 h 6479439"/>
              <a:gd name="connsiteX8763" fmla="*/ 8629114 w 9586368"/>
              <a:gd name="connsiteY8763" fmla="*/ 253278 h 6479439"/>
              <a:gd name="connsiteX8764" fmla="*/ 8625095 w 9586368"/>
              <a:gd name="connsiteY8764" fmla="*/ 257317 h 6479439"/>
              <a:gd name="connsiteX8765" fmla="*/ 8615184 w 9586368"/>
              <a:gd name="connsiteY8765" fmla="*/ 257317 h 6479439"/>
              <a:gd name="connsiteX8766" fmla="*/ 8611165 w 9586368"/>
              <a:gd name="connsiteY8766" fmla="*/ 253278 h 6479439"/>
              <a:gd name="connsiteX8767" fmla="*/ 8611165 w 9586368"/>
              <a:gd name="connsiteY8767" fmla="*/ 243408 h 6479439"/>
              <a:gd name="connsiteX8768" fmla="*/ 8375869 w 9586368"/>
              <a:gd name="connsiteY8768" fmla="*/ 239370 h 6479439"/>
              <a:gd name="connsiteX8769" fmla="*/ 8385779 w 9586368"/>
              <a:gd name="connsiteY8769" fmla="*/ 239370 h 6479439"/>
              <a:gd name="connsiteX8770" fmla="*/ 8389799 w 9586368"/>
              <a:gd name="connsiteY8770" fmla="*/ 243408 h 6479439"/>
              <a:gd name="connsiteX8771" fmla="*/ 8389799 w 9586368"/>
              <a:gd name="connsiteY8771" fmla="*/ 253279 h 6479439"/>
              <a:gd name="connsiteX8772" fmla="*/ 8385779 w 9586368"/>
              <a:gd name="connsiteY8772" fmla="*/ 257318 h 6479439"/>
              <a:gd name="connsiteX8773" fmla="*/ 8375869 w 9586368"/>
              <a:gd name="connsiteY8773" fmla="*/ 257318 h 6479439"/>
              <a:gd name="connsiteX8774" fmla="*/ 8371850 w 9586368"/>
              <a:gd name="connsiteY8774" fmla="*/ 253279 h 6479439"/>
              <a:gd name="connsiteX8775" fmla="*/ 8371850 w 9586368"/>
              <a:gd name="connsiteY8775" fmla="*/ 243408 h 6479439"/>
              <a:gd name="connsiteX8776" fmla="*/ 9333125 w 9586368"/>
              <a:gd name="connsiteY8776" fmla="*/ 239369 h 6479439"/>
              <a:gd name="connsiteX8777" fmla="*/ 9343036 w 9586368"/>
              <a:gd name="connsiteY8777" fmla="*/ 239369 h 6479439"/>
              <a:gd name="connsiteX8778" fmla="*/ 9347055 w 9586368"/>
              <a:gd name="connsiteY8778" fmla="*/ 243407 h 6479439"/>
              <a:gd name="connsiteX8779" fmla="*/ 9347055 w 9586368"/>
              <a:gd name="connsiteY8779" fmla="*/ 253278 h 6479439"/>
              <a:gd name="connsiteX8780" fmla="*/ 9343036 w 9586368"/>
              <a:gd name="connsiteY8780" fmla="*/ 257317 h 6479439"/>
              <a:gd name="connsiteX8781" fmla="*/ 9333125 w 9586368"/>
              <a:gd name="connsiteY8781" fmla="*/ 257317 h 6479439"/>
              <a:gd name="connsiteX8782" fmla="*/ 9329106 w 9586368"/>
              <a:gd name="connsiteY8782" fmla="*/ 253278 h 6479439"/>
              <a:gd name="connsiteX8783" fmla="*/ 9329106 w 9586368"/>
              <a:gd name="connsiteY8783" fmla="*/ 243407 h 6479439"/>
              <a:gd name="connsiteX8784" fmla="*/ 9093811 w 9586368"/>
              <a:gd name="connsiteY8784" fmla="*/ 239369 h 6479439"/>
              <a:gd name="connsiteX8785" fmla="*/ 9103722 w 9586368"/>
              <a:gd name="connsiteY8785" fmla="*/ 239369 h 6479439"/>
              <a:gd name="connsiteX8786" fmla="*/ 9107741 w 9586368"/>
              <a:gd name="connsiteY8786" fmla="*/ 243407 h 6479439"/>
              <a:gd name="connsiteX8787" fmla="*/ 9107741 w 9586368"/>
              <a:gd name="connsiteY8787" fmla="*/ 253278 h 6479439"/>
              <a:gd name="connsiteX8788" fmla="*/ 9103722 w 9586368"/>
              <a:gd name="connsiteY8788" fmla="*/ 257317 h 6479439"/>
              <a:gd name="connsiteX8789" fmla="*/ 9093811 w 9586368"/>
              <a:gd name="connsiteY8789" fmla="*/ 257317 h 6479439"/>
              <a:gd name="connsiteX8790" fmla="*/ 9089792 w 9586368"/>
              <a:gd name="connsiteY8790" fmla="*/ 253278 h 6479439"/>
              <a:gd name="connsiteX8791" fmla="*/ 9089792 w 9586368"/>
              <a:gd name="connsiteY8791" fmla="*/ 243407 h 6479439"/>
              <a:gd name="connsiteX8792" fmla="*/ 8854496 w 9586368"/>
              <a:gd name="connsiteY8792" fmla="*/ 239369 h 6479439"/>
              <a:gd name="connsiteX8793" fmla="*/ 8864407 w 9586368"/>
              <a:gd name="connsiteY8793" fmla="*/ 239369 h 6479439"/>
              <a:gd name="connsiteX8794" fmla="*/ 8868426 w 9586368"/>
              <a:gd name="connsiteY8794" fmla="*/ 243407 h 6479439"/>
              <a:gd name="connsiteX8795" fmla="*/ 8868426 w 9586368"/>
              <a:gd name="connsiteY8795" fmla="*/ 253278 h 6479439"/>
              <a:gd name="connsiteX8796" fmla="*/ 8864407 w 9586368"/>
              <a:gd name="connsiteY8796" fmla="*/ 257317 h 6479439"/>
              <a:gd name="connsiteX8797" fmla="*/ 8854496 w 9586368"/>
              <a:gd name="connsiteY8797" fmla="*/ 257317 h 6479439"/>
              <a:gd name="connsiteX8798" fmla="*/ 8850477 w 9586368"/>
              <a:gd name="connsiteY8798" fmla="*/ 253278 h 6479439"/>
              <a:gd name="connsiteX8799" fmla="*/ 8850477 w 9586368"/>
              <a:gd name="connsiteY8799" fmla="*/ 243407 h 6479439"/>
              <a:gd name="connsiteX8800" fmla="*/ 1918515 w 9586368"/>
              <a:gd name="connsiteY8800" fmla="*/ 239361 h 6479439"/>
              <a:gd name="connsiteX8801" fmla="*/ 1928425 w 9586368"/>
              <a:gd name="connsiteY8801" fmla="*/ 239361 h 6479439"/>
              <a:gd name="connsiteX8802" fmla="*/ 1932444 w 9586368"/>
              <a:gd name="connsiteY8802" fmla="*/ 243400 h 6479439"/>
              <a:gd name="connsiteX8803" fmla="*/ 1932444 w 9586368"/>
              <a:gd name="connsiteY8803" fmla="*/ 253271 h 6479439"/>
              <a:gd name="connsiteX8804" fmla="*/ 1928425 w 9586368"/>
              <a:gd name="connsiteY8804" fmla="*/ 257310 h 6479439"/>
              <a:gd name="connsiteX8805" fmla="*/ 1918515 w 9586368"/>
              <a:gd name="connsiteY8805" fmla="*/ 257310 h 6479439"/>
              <a:gd name="connsiteX8806" fmla="*/ 1914495 w 9586368"/>
              <a:gd name="connsiteY8806" fmla="*/ 253271 h 6479439"/>
              <a:gd name="connsiteX8807" fmla="*/ 1914495 w 9586368"/>
              <a:gd name="connsiteY8807" fmla="*/ 243400 h 6479439"/>
              <a:gd name="connsiteX8808" fmla="*/ 2157824 w 9586368"/>
              <a:gd name="connsiteY8808" fmla="*/ 239359 h 6479439"/>
              <a:gd name="connsiteX8809" fmla="*/ 2167734 w 9586368"/>
              <a:gd name="connsiteY8809" fmla="*/ 239359 h 6479439"/>
              <a:gd name="connsiteX8810" fmla="*/ 2171753 w 9586368"/>
              <a:gd name="connsiteY8810" fmla="*/ 243397 h 6479439"/>
              <a:gd name="connsiteX8811" fmla="*/ 2171753 w 9586368"/>
              <a:gd name="connsiteY8811" fmla="*/ 253268 h 6479439"/>
              <a:gd name="connsiteX8812" fmla="*/ 2167734 w 9586368"/>
              <a:gd name="connsiteY8812" fmla="*/ 257307 h 6479439"/>
              <a:gd name="connsiteX8813" fmla="*/ 2157824 w 9586368"/>
              <a:gd name="connsiteY8813" fmla="*/ 257307 h 6479439"/>
              <a:gd name="connsiteX8814" fmla="*/ 2153804 w 9586368"/>
              <a:gd name="connsiteY8814" fmla="*/ 253268 h 6479439"/>
              <a:gd name="connsiteX8815" fmla="*/ 2153804 w 9586368"/>
              <a:gd name="connsiteY8815" fmla="*/ 243397 h 6479439"/>
              <a:gd name="connsiteX8816" fmla="*/ 9572438 w 9586368"/>
              <a:gd name="connsiteY8816" fmla="*/ 239357 h 6479439"/>
              <a:gd name="connsiteX8817" fmla="*/ 9582349 w 9586368"/>
              <a:gd name="connsiteY8817" fmla="*/ 239357 h 6479439"/>
              <a:gd name="connsiteX8818" fmla="*/ 9586368 w 9586368"/>
              <a:gd name="connsiteY8818" fmla="*/ 243395 h 6479439"/>
              <a:gd name="connsiteX8819" fmla="*/ 9586368 w 9586368"/>
              <a:gd name="connsiteY8819" fmla="*/ 253267 h 6479439"/>
              <a:gd name="connsiteX8820" fmla="*/ 9582349 w 9586368"/>
              <a:gd name="connsiteY8820" fmla="*/ 257306 h 6479439"/>
              <a:gd name="connsiteX8821" fmla="*/ 9572438 w 9586368"/>
              <a:gd name="connsiteY8821" fmla="*/ 257306 h 6479439"/>
              <a:gd name="connsiteX8822" fmla="*/ 9568419 w 9586368"/>
              <a:gd name="connsiteY8822" fmla="*/ 253267 h 6479439"/>
              <a:gd name="connsiteX8823" fmla="*/ 9568419 w 9586368"/>
              <a:gd name="connsiteY8823" fmla="*/ 243395 h 6479439"/>
              <a:gd name="connsiteX8824" fmla="*/ 721976 w 9586368"/>
              <a:gd name="connsiteY8824" fmla="*/ 239330 h 6479439"/>
              <a:gd name="connsiteX8825" fmla="*/ 731887 w 9586368"/>
              <a:gd name="connsiteY8825" fmla="*/ 239330 h 6479439"/>
              <a:gd name="connsiteX8826" fmla="*/ 735906 w 9586368"/>
              <a:gd name="connsiteY8826" fmla="*/ 243368 h 6479439"/>
              <a:gd name="connsiteX8827" fmla="*/ 735906 w 9586368"/>
              <a:gd name="connsiteY8827" fmla="*/ 253239 h 6479439"/>
              <a:gd name="connsiteX8828" fmla="*/ 731887 w 9586368"/>
              <a:gd name="connsiteY8828" fmla="*/ 257278 h 6479439"/>
              <a:gd name="connsiteX8829" fmla="*/ 721976 w 9586368"/>
              <a:gd name="connsiteY8829" fmla="*/ 257278 h 6479439"/>
              <a:gd name="connsiteX8830" fmla="*/ 717958 w 9586368"/>
              <a:gd name="connsiteY8830" fmla="*/ 253239 h 6479439"/>
              <a:gd name="connsiteX8831" fmla="*/ 717958 w 9586368"/>
              <a:gd name="connsiteY8831" fmla="*/ 243368 h 6479439"/>
              <a:gd name="connsiteX8832" fmla="*/ 482664 w 9586368"/>
              <a:gd name="connsiteY8832" fmla="*/ 239330 h 6479439"/>
              <a:gd name="connsiteX8833" fmla="*/ 492575 w 9586368"/>
              <a:gd name="connsiteY8833" fmla="*/ 239330 h 6479439"/>
              <a:gd name="connsiteX8834" fmla="*/ 496594 w 9586368"/>
              <a:gd name="connsiteY8834" fmla="*/ 243368 h 6479439"/>
              <a:gd name="connsiteX8835" fmla="*/ 496594 w 9586368"/>
              <a:gd name="connsiteY8835" fmla="*/ 253239 h 6479439"/>
              <a:gd name="connsiteX8836" fmla="*/ 492575 w 9586368"/>
              <a:gd name="connsiteY8836" fmla="*/ 257278 h 6479439"/>
              <a:gd name="connsiteX8837" fmla="*/ 482664 w 9586368"/>
              <a:gd name="connsiteY8837" fmla="*/ 257278 h 6479439"/>
              <a:gd name="connsiteX8838" fmla="*/ 478645 w 9586368"/>
              <a:gd name="connsiteY8838" fmla="*/ 253239 h 6479439"/>
              <a:gd name="connsiteX8839" fmla="*/ 478645 w 9586368"/>
              <a:gd name="connsiteY8839" fmla="*/ 243368 h 6479439"/>
              <a:gd name="connsiteX8840" fmla="*/ 243350 w 9586368"/>
              <a:gd name="connsiteY8840" fmla="*/ 239330 h 6479439"/>
              <a:gd name="connsiteX8841" fmla="*/ 253261 w 9586368"/>
              <a:gd name="connsiteY8841" fmla="*/ 239330 h 6479439"/>
              <a:gd name="connsiteX8842" fmla="*/ 257280 w 9586368"/>
              <a:gd name="connsiteY8842" fmla="*/ 243368 h 6479439"/>
              <a:gd name="connsiteX8843" fmla="*/ 257280 w 9586368"/>
              <a:gd name="connsiteY8843" fmla="*/ 253239 h 6479439"/>
              <a:gd name="connsiteX8844" fmla="*/ 253261 w 9586368"/>
              <a:gd name="connsiteY8844" fmla="*/ 257278 h 6479439"/>
              <a:gd name="connsiteX8845" fmla="*/ 243350 w 9586368"/>
              <a:gd name="connsiteY8845" fmla="*/ 257278 h 6479439"/>
              <a:gd name="connsiteX8846" fmla="*/ 239332 w 9586368"/>
              <a:gd name="connsiteY8846" fmla="*/ 253239 h 6479439"/>
              <a:gd name="connsiteX8847" fmla="*/ 239332 w 9586368"/>
              <a:gd name="connsiteY8847" fmla="*/ 243368 h 6479439"/>
              <a:gd name="connsiteX8848" fmla="*/ 4037 w 9586368"/>
              <a:gd name="connsiteY8848" fmla="*/ 239330 h 6479439"/>
              <a:gd name="connsiteX8849" fmla="*/ 13948 w 9586368"/>
              <a:gd name="connsiteY8849" fmla="*/ 239330 h 6479439"/>
              <a:gd name="connsiteX8850" fmla="*/ 17967 w 9586368"/>
              <a:gd name="connsiteY8850" fmla="*/ 243368 h 6479439"/>
              <a:gd name="connsiteX8851" fmla="*/ 17967 w 9586368"/>
              <a:gd name="connsiteY8851" fmla="*/ 253239 h 6479439"/>
              <a:gd name="connsiteX8852" fmla="*/ 13948 w 9586368"/>
              <a:gd name="connsiteY8852" fmla="*/ 257278 h 6479439"/>
              <a:gd name="connsiteX8853" fmla="*/ 4037 w 9586368"/>
              <a:gd name="connsiteY8853" fmla="*/ 257278 h 6479439"/>
              <a:gd name="connsiteX8854" fmla="*/ 18 w 9586368"/>
              <a:gd name="connsiteY8854" fmla="*/ 253239 h 6479439"/>
              <a:gd name="connsiteX8855" fmla="*/ 18 w 9586368"/>
              <a:gd name="connsiteY8855" fmla="*/ 243368 h 6479439"/>
              <a:gd name="connsiteX8856" fmla="*/ 3111048 w 9586368"/>
              <a:gd name="connsiteY8856" fmla="*/ 106 h 6479439"/>
              <a:gd name="connsiteX8857" fmla="*/ 3120959 w 9586368"/>
              <a:gd name="connsiteY8857" fmla="*/ 106 h 6479439"/>
              <a:gd name="connsiteX8858" fmla="*/ 3124977 w 9586368"/>
              <a:gd name="connsiteY8858" fmla="*/ 4144 h 6479439"/>
              <a:gd name="connsiteX8859" fmla="*/ 3124977 w 9586368"/>
              <a:gd name="connsiteY8859" fmla="*/ 14015 h 6479439"/>
              <a:gd name="connsiteX8860" fmla="*/ 3120959 w 9586368"/>
              <a:gd name="connsiteY8860" fmla="*/ 18054 h 6479439"/>
              <a:gd name="connsiteX8861" fmla="*/ 3111048 w 9586368"/>
              <a:gd name="connsiteY8861" fmla="*/ 18054 h 6479439"/>
              <a:gd name="connsiteX8862" fmla="*/ 3107029 w 9586368"/>
              <a:gd name="connsiteY8862" fmla="*/ 14015 h 6479439"/>
              <a:gd name="connsiteX8863" fmla="*/ 3107029 w 9586368"/>
              <a:gd name="connsiteY8863" fmla="*/ 4144 h 6479439"/>
              <a:gd name="connsiteX8864" fmla="*/ 2871737 w 9586368"/>
              <a:gd name="connsiteY8864" fmla="*/ 106 h 6479439"/>
              <a:gd name="connsiteX8865" fmla="*/ 2881646 w 9586368"/>
              <a:gd name="connsiteY8865" fmla="*/ 106 h 6479439"/>
              <a:gd name="connsiteX8866" fmla="*/ 2885666 w 9586368"/>
              <a:gd name="connsiteY8866" fmla="*/ 4145 h 6479439"/>
              <a:gd name="connsiteX8867" fmla="*/ 2885666 w 9586368"/>
              <a:gd name="connsiteY8867" fmla="*/ 14015 h 6479439"/>
              <a:gd name="connsiteX8868" fmla="*/ 2881646 w 9586368"/>
              <a:gd name="connsiteY8868" fmla="*/ 18054 h 6479439"/>
              <a:gd name="connsiteX8869" fmla="*/ 2871737 w 9586368"/>
              <a:gd name="connsiteY8869" fmla="*/ 18054 h 6479439"/>
              <a:gd name="connsiteX8870" fmla="*/ 2867717 w 9586368"/>
              <a:gd name="connsiteY8870" fmla="*/ 14015 h 6479439"/>
              <a:gd name="connsiteX8871" fmla="*/ 2867717 w 9586368"/>
              <a:gd name="connsiteY8871" fmla="*/ 4145 h 6479439"/>
              <a:gd name="connsiteX8872" fmla="*/ 2632423 w 9586368"/>
              <a:gd name="connsiteY8872" fmla="*/ 106 h 6479439"/>
              <a:gd name="connsiteX8873" fmla="*/ 2642334 w 9586368"/>
              <a:gd name="connsiteY8873" fmla="*/ 106 h 6479439"/>
              <a:gd name="connsiteX8874" fmla="*/ 2646352 w 9586368"/>
              <a:gd name="connsiteY8874" fmla="*/ 4145 h 6479439"/>
              <a:gd name="connsiteX8875" fmla="*/ 2646352 w 9586368"/>
              <a:gd name="connsiteY8875" fmla="*/ 14016 h 6479439"/>
              <a:gd name="connsiteX8876" fmla="*/ 2642334 w 9586368"/>
              <a:gd name="connsiteY8876" fmla="*/ 18055 h 6479439"/>
              <a:gd name="connsiteX8877" fmla="*/ 2632423 w 9586368"/>
              <a:gd name="connsiteY8877" fmla="*/ 18055 h 6479439"/>
              <a:gd name="connsiteX8878" fmla="*/ 2628404 w 9586368"/>
              <a:gd name="connsiteY8878" fmla="*/ 14016 h 6479439"/>
              <a:gd name="connsiteX8879" fmla="*/ 2628404 w 9586368"/>
              <a:gd name="connsiteY8879" fmla="*/ 4145 h 6479439"/>
              <a:gd name="connsiteX8880" fmla="*/ 2393104 w 9586368"/>
              <a:gd name="connsiteY8880" fmla="*/ 106 h 6479439"/>
              <a:gd name="connsiteX8881" fmla="*/ 2403015 w 9586368"/>
              <a:gd name="connsiteY8881" fmla="*/ 106 h 6479439"/>
              <a:gd name="connsiteX8882" fmla="*/ 2407034 w 9586368"/>
              <a:gd name="connsiteY8882" fmla="*/ 4145 h 6479439"/>
              <a:gd name="connsiteX8883" fmla="*/ 2407034 w 9586368"/>
              <a:gd name="connsiteY8883" fmla="*/ 14016 h 6479439"/>
              <a:gd name="connsiteX8884" fmla="*/ 2403015 w 9586368"/>
              <a:gd name="connsiteY8884" fmla="*/ 18055 h 6479439"/>
              <a:gd name="connsiteX8885" fmla="*/ 2393104 w 9586368"/>
              <a:gd name="connsiteY8885" fmla="*/ 18055 h 6479439"/>
              <a:gd name="connsiteX8886" fmla="*/ 2389087 w 9586368"/>
              <a:gd name="connsiteY8886" fmla="*/ 14016 h 6479439"/>
              <a:gd name="connsiteX8887" fmla="*/ 2389087 w 9586368"/>
              <a:gd name="connsiteY8887" fmla="*/ 4145 h 6479439"/>
              <a:gd name="connsiteX8888" fmla="*/ 3350359 w 9586368"/>
              <a:gd name="connsiteY8888" fmla="*/ 106 h 6479439"/>
              <a:gd name="connsiteX8889" fmla="*/ 3360268 w 9586368"/>
              <a:gd name="connsiteY8889" fmla="*/ 106 h 6479439"/>
              <a:gd name="connsiteX8890" fmla="*/ 3364287 w 9586368"/>
              <a:gd name="connsiteY8890" fmla="*/ 4144 h 6479439"/>
              <a:gd name="connsiteX8891" fmla="*/ 3364287 w 9586368"/>
              <a:gd name="connsiteY8891" fmla="*/ 14015 h 6479439"/>
              <a:gd name="connsiteX8892" fmla="*/ 3360268 w 9586368"/>
              <a:gd name="connsiteY8892" fmla="*/ 18054 h 6479439"/>
              <a:gd name="connsiteX8893" fmla="*/ 3350359 w 9586368"/>
              <a:gd name="connsiteY8893" fmla="*/ 18054 h 6479439"/>
              <a:gd name="connsiteX8894" fmla="*/ 3346340 w 9586368"/>
              <a:gd name="connsiteY8894" fmla="*/ 14015 h 6479439"/>
              <a:gd name="connsiteX8895" fmla="*/ 3346340 w 9586368"/>
              <a:gd name="connsiteY8895" fmla="*/ 4144 h 6479439"/>
              <a:gd name="connsiteX8896" fmla="*/ 4546929 w 9586368"/>
              <a:gd name="connsiteY8896" fmla="*/ 93 h 6479439"/>
              <a:gd name="connsiteX8897" fmla="*/ 4556840 w 9586368"/>
              <a:gd name="connsiteY8897" fmla="*/ 93 h 6479439"/>
              <a:gd name="connsiteX8898" fmla="*/ 4560859 w 9586368"/>
              <a:gd name="connsiteY8898" fmla="*/ 4132 h 6479439"/>
              <a:gd name="connsiteX8899" fmla="*/ 4560859 w 9586368"/>
              <a:gd name="connsiteY8899" fmla="*/ 14002 h 6479439"/>
              <a:gd name="connsiteX8900" fmla="*/ 4556840 w 9586368"/>
              <a:gd name="connsiteY8900" fmla="*/ 18041 h 6479439"/>
              <a:gd name="connsiteX8901" fmla="*/ 4546929 w 9586368"/>
              <a:gd name="connsiteY8901" fmla="*/ 18041 h 6479439"/>
              <a:gd name="connsiteX8902" fmla="*/ 4542910 w 9586368"/>
              <a:gd name="connsiteY8902" fmla="*/ 14002 h 6479439"/>
              <a:gd name="connsiteX8903" fmla="*/ 4542910 w 9586368"/>
              <a:gd name="connsiteY8903" fmla="*/ 4132 h 6479439"/>
              <a:gd name="connsiteX8904" fmla="*/ 4307612 w 9586368"/>
              <a:gd name="connsiteY8904" fmla="*/ 93 h 6479439"/>
              <a:gd name="connsiteX8905" fmla="*/ 4317523 w 9586368"/>
              <a:gd name="connsiteY8905" fmla="*/ 93 h 6479439"/>
              <a:gd name="connsiteX8906" fmla="*/ 4321543 w 9586368"/>
              <a:gd name="connsiteY8906" fmla="*/ 4132 h 6479439"/>
              <a:gd name="connsiteX8907" fmla="*/ 4321543 w 9586368"/>
              <a:gd name="connsiteY8907" fmla="*/ 14003 h 6479439"/>
              <a:gd name="connsiteX8908" fmla="*/ 4317523 w 9586368"/>
              <a:gd name="connsiteY8908" fmla="*/ 18042 h 6479439"/>
              <a:gd name="connsiteX8909" fmla="*/ 4307612 w 9586368"/>
              <a:gd name="connsiteY8909" fmla="*/ 18042 h 6479439"/>
              <a:gd name="connsiteX8910" fmla="*/ 4303595 w 9586368"/>
              <a:gd name="connsiteY8910" fmla="*/ 14003 h 6479439"/>
              <a:gd name="connsiteX8911" fmla="*/ 4303595 w 9586368"/>
              <a:gd name="connsiteY8911" fmla="*/ 4132 h 6479439"/>
              <a:gd name="connsiteX8912" fmla="*/ 4068297 w 9586368"/>
              <a:gd name="connsiteY8912" fmla="*/ 93 h 6479439"/>
              <a:gd name="connsiteX8913" fmla="*/ 4078210 w 9586368"/>
              <a:gd name="connsiteY8913" fmla="*/ 93 h 6479439"/>
              <a:gd name="connsiteX8914" fmla="*/ 4082229 w 9586368"/>
              <a:gd name="connsiteY8914" fmla="*/ 4132 h 6479439"/>
              <a:gd name="connsiteX8915" fmla="*/ 4082229 w 9586368"/>
              <a:gd name="connsiteY8915" fmla="*/ 14003 h 6479439"/>
              <a:gd name="connsiteX8916" fmla="*/ 4078210 w 9586368"/>
              <a:gd name="connsiteY8916" fmla="*/ 18042 h 6479439"/>
              <a:gd name="connsiteX8917" fmla="*/ 4068297 w 9586368"/>
              <a:gd name="connsiteY8917" fmla="*/ 18042 h 6479439"/>
              <a:gd name="connsiteX8918" fmla="*/ 4064278 w 9586368"/>
              <a:gd name="connsiteY8918" fmla="*/ 14003 h 6479439"/>
              <a:gd name="connsiteX8919" fmla="*/ 4064278 w 9586368"/>
              <a:gd name="connsiteY8919" fmla="*/ 4132 h 6479439"/>
              <a:gd name="connsiteX8920" fmla="*/ 3828990 w 9586368"/>
              <a:gd name="connsiteY8920" fmla="*/ 93 h 6479439"/>
              <a:gd name="connsiteX8921" fmla="*/ 3838899 w 9586368"/>
              <a:gd name="connsiteY8921" fmla="*/ 93 h 6479439"/>
              <a:gd name="connsiteX8922" fmla="*/ 3842917 w 9586368"/>
              <a:gd name="connsiteY8922" fmla="*/ 4132 h 6479439"/>
              <a:gd name="connsiteX8923" fmla="*/ 3842917 w 9586368"/>
              <a:gd name="connsiteY8923" fmla="*/ 14003 h 6479439"/>
              <a:gd name="connsiteX8924" fmla="*/ 3838899 w 9586368"/>
              <a:gd name="connsiteY8924" fmla="*/ 18042 h 6479439"/>
              <a:gd name="connsiteX8925" fmla="*/ 3828990 w 9586368"/>
              <a:gd name="connsiteY8925" fmla="*/ 18042 h 6479439"/>
              <a:gd name="connsiteX8926" fmla="*/ 3824971 w 9586368"/>
              <a:gd name="connsiteY8926" fmla="*/ 14003 h 6479439"/>
              <a:gd name="connsiteX8927" fmla="*/ 3824971 w 9586368"/>
              <a:gd name="connsiteY8927" fmla="*/ 4132 h 6479439"/>
              <a:gd name="connsiteX8928" fmla="*/ 3589676 w 9586368"/>
              <a:gd name="connsiteY8928" fmla="*/ 93 h 6479439"/>
              <a:gd name="connsiteX8929" fmla="*/ 3599585 w 9586368"/>
              <a:gd name="connsiteY8929" fmla="*/ 93 h 6479439"/>
              <a:gd name="connsiteX8930" fmla="*/ 3603604 w 9586368"/>
              <a:gd name="connsiteY8930" fmla="*/ 4132 h 6479439"/>
              <a:gd name="connsiteX8931" fmla="*/ 3603604 w 9586368"/>
              <a:gd name="connsiteY8931" fmla="*/ 14003 h 6479439"/>
              <a:gd name="connsiteX8932" fmla="*/ 3599585 w 9586368"/>
              <a:gd name="connsiteY8932" fmla="*/ 18042 h 6479439"/>
              <a:gd name="connsiteX8933" fmla="*/ 3589676 w 9586368"/>
              <a:gd name="connsiteY8933" fmla="*/ 18042 h 6479439"/>
              <a:gd name="connsiteX8934" fmla="*/ 3585657 w 9586368"/>
              <a:gd name="connsiteY8934" fmla="*/ 14003 h 6479439"/>
              <a:gd name="connsiteX8935" fmla="*/ 3585657 w 9586368"/>
              <a:gd name="connsiteY8935" fmla="*/ 4132 h 6479439"/>
              <a:gd name="connsiteX8936" fmla="*/ 4786241 w 9586368"/>
              <a:gd name="connsiteY8936" fmla="*/ 81 h 6479439"/>
              <a:gd name="connsiteX8937" fmla="*/ 4796152 w 9586368"/>
              <a:gd name="connsiteY8937" fmla="*/ 81 h 6479439"/>
              <a:gd name="connsiteX8938" fmla="*/ 4800171 w 9586368"/>
              <a:gd name="connsiteY8938" fmla="*/ 4119 h 6479439"/>
              <a:gd name="connsiteX8939" fmla="*/ 4800171 w 9586368"/>
              <a:gd name="connsiteY8939" fmla="*/ 13990 h 6479439"/>
              <a:gd name="connsiteX8940" fmla="*/ 4796152 w 9586368"/>
              <a:gd name="connsiteY8940" fmla="*/ 18029 h 6479439"/>
              <a:gd name="connsiteX8941" fmla="*/ 4786241 w 9586368"/>
              <a:gd name="connsiteY8941" fmla="*/ 18029 h 6479439"/>
              <a:gd name="connsiteX8942" fmla="*/ 4782224 w 9586368"/>
              <a:gd name="connsiteY8942" fmla="*/ 13990 h 6479439"/>
              <a:gd name="connsiteX8943" fmla="*/ 4782224 w 9586368"/>
              <a:gd name="connsiteY8943" fmla="*/ 4119 h 6479439"/>
              <a:gd name="connsiteX8944" fmla="*/ 5743412 w 9586368"/>
              <a:gd name="connsiteY8944" fmla="*/ 80 h 6479439"/>
              <a:gd name="connsiteX8945" fmla="*/ 5753323 w 9586368"/>
              <a:gd name="connsiteY8945" fmla="*/ 80 h 6479439"/>
              <a:gd name="connsiteX8946" fmla="*/ 5757342 w 9586368"/>
              <a:gd name="connsiteY8946" fmla="*/ 4119 h 6479439"/>
              <a:gd name="connsiteX8947" fmla="*/ 5757342 w 9586368"/>
              <a:gd name="connsiteY8947" fmla="*/ 13990 h 6479439"/>
              <a:gd name="connsiteX8948" fmla="*/ 5753323 w 9586368"/>
              <a:gd name="connsiteY8948" fmla="*/ 18029 h 6479439"/>
              <a:gd name="connsiteX8949" fmla="*/ 5743412 w 9586368"/>
              <a:gd name="connsiteY8949" fmla="*/ 18029 h 6479439"/>
              <a:gd name="connsiteX8950" fmla="*/ 5739393 w 9586368"/>
              <a:gd name="connsiteY8950" fmla="*/ 13990 h 6479439"/>
              <a:gd name="connsiteX8951" fmla="*/ 5739393 w 9586368"/>
              <a:gd name="connsiteY8951" fmla="*/ 4119 h 6479439"/>
              <a:gd name="connsiteX8952" fmla="*/ 5504099 w 9586368"/>
              <a:gd name="connsiteY8952" fmla="*/ 80 h 6479439"/>
              <a:gd name="connsiteX8953" fmla="*/ 5514010 w 9586368"/>
              <a:gd name="connsiteY8953" fmla="*/ 80 h 6479439"/>
              <a:gd name="connsiteX8954" fmla="*/ 5518029 w 9586368"/>
              <a:gd name="connsiteY8954" fmla="*/ 4119 h 6479439"/>
              <a:gd name="connsiteX8955" fmla="*/ 5518029 w 9586368"/>
              <a:gd name="connsiteY8955" fmla="*/ 13990 h 6479439"/>
              <a:gd name="connsiteX8956" fmla="*/ 5514010 w 9586368"/>
              <a:gd name="connsiteY8956" fmla="*/ 18029 h 6479439"/>
              <a:gd name="connsiteX8957" fmla="*/ 5504099 w 9586368"/>
              <a:gd name="connsiteY8957" fmla="*/ 18029 h 6479439"/>
              <a:gd name="connsiteX8958" fmla="*/ 5500080 w 9586368"/>
              <a:gd name="connsiteY8958" fmla="*/ 13990 h 6479439"/>
              <a:gd name="connsiteX8959" fmla="*/ 5500080 w 9586368"/>
              <a:gd name="connsiteY8959" fmla="*/ 4119 h 6479439"/>
              <a:gd name="connsiteX8960" fmla="*/ 5264784 w 9586368"/>
              <a:gd name="connsiteY8960" fmla="*/ 80 h 6479439"/>
              <a:gd name="connsiteX8961" fmla="*/ 5274694 w 9586368"/>
              <a:gd name="connsiteY8961" fmla="*/ 80 h 6479439"/>
              <a:gd name="connsiteX8962" fmla="*/ 5278713 w 9586368"/>
              <a:gd name="connsiteY8962" fmla="*/ 4119 h 6479439"/>
              <a:gd name="connsiteX8963" fmla="*/ 5278713 w 9586368"/>
              <a:gd name="connsiteY8963" fmla="*/ 13990 h 6479439"/>
              <a:gd name="connsiteX8964" fmla="*/ 5274694 w 9586368"/>
              <a:gd name="connsiteY8964" fmla="*/ 18029 h 6479439"/>
              <a:gd name="connsiteX8965" fmla="*/ 5264784 w 9586368"/>
              <a:gd name="connsiteY8965" fmla="*/ 18029 h 6479439"/>
              <a:gd name="connsiteX8966" fmla="*/ 5260765 w 9586368"/>
              <a:gd name="connsiteY8966" fmla="*/ 13990 h 6479439"/>
              <a:gd name="connsiteX8967" fmla="*/ 5260765 w 9586368"/>
              <a:gd name="connsiteY8967" fmla="*/ 4119 h 6479439"/>
              <a:gd name="connsiteX8968" fmla="*/ 5025470 w 9586368"/>
              <a:gd name="connsiteY8968" fmla="*/ 80 h 6479439"/>
              <a:gd name="connsiteX8969" fmla="*/ 5035381 w 9586368"/>
              <a:gd name="connsiteY8969" fmla="*/ 80 h 6479439"/>
              <a:gd name="connsiteX8970" fmla="*/ 5039400 w 9586368"/>
              <a:gd name="connsiteY8970" fmla="*/ 4119 h 6479439"/>
              <a:gd name="connsiteX8971" fmla="*/ 5039400 w 9586368"/>
              <a:gd name="connsiteY8971" fmla="*/ 13990 h 6479439"/>
              <a:gd name="connsiteX8972" fmla="*/ 5035381 w 9586368"/>
              <a:gd name="connsiteY8972" fmla="*/ 18029 h 6479439"/>
              <a:gd name="connsiteX8973" fmla="*/ 5025470 w 9586368"/>
              <a:gd name="connsiteY8973" fmla="*/ 18029 h 6479439"/>
              <a:gd name="connsiteX8974" fmla="*/ 5021451 w 9586368"/>
              <a:gd name="connsiteY8974" fmla="*/ 13990 h 6479439"/>
              <a:gd name="connsiteX8975" fmla="*/ 5021451 w 9586368"/>
              <a:gd name="connsiteY8975" fmla="*/ 4119 h 6479439"/>
              <a:gd name="connsiteX8976" fmla="*/ 6461356 w 9586368"/>
              <a:gd name="connsiteY8976" fmla="*/ 68 h 6479439"/>
              <a:gd name="connsiteX8977" fmla="*/ 6471266 w 9586368"/>
              <a:gd name="connsiteY8977" fmla="*/ 68 h 6479439"/>
              <a:gd name="connsiteX8978" fmla="*/ 6475285 w 9586368"/>
              <a:gd name="connsiteY8978" fmla="*/ 4106 h 6479439"/>
              <a:gd name="connsiteX8979" fmla="*/ 6475285 w 9586368"/>
              <a:gd name="connsiteY8979" fmla="*/ 13976 h 6479439"/>
              <a:gd name="connsiteX8980" fmla="*/ 6471266 w 9586368"/>
              <a:gd name="connsiteY8980" fmla="*/ 18015 h 6479439"/>
              <a:gd name="connsiteX8981" fmla="*/ 6461356 w 9586368"/>
              <a:gd name="connsiteY8981" fmla="*/ 18015 h 6479439"/>
              <a:gd name="connsiteX8982" fmla="*/ 6457337 w 9586368"/>
              <a:gd name="connsiteY8982" fmla="*/ 13976 h 6479439"/>
              <a:gd name="connsiteX8983" fmla="*/ 6457337 w 9586368"/>
              <a:gd name="connsiteY8983" fmla="*/ 4106 h 6479439"/>
              <a:gd name="connsiteX8984" fmla="*/ 6222042 w 9586368"/>
              <a:gd name="connsiteY8984" fmla="*/ 68 h 6479439"/>
              <a:gd name="connsiteX8985" fmla="*/ 6231952 w 9586368"/>
              <a:gd name="connsiteY8985" fmla="*/ 68 h 6479439"/>
              <a:gd name="connsiteX8986" fmla="*/ 6235971 w 9586368"/>
              <a:gd name="connsiteY8986" fmla="*/ 4106 h 6479439"/>
              <a:gd name="connsiteX8987" fmla="*/ 6235971 w 9586368"/>
              <a:gd name="connsiteY8987" fmla="*/ 13977 h 6479439"/>
              <a:gd name="connsiteX8988" fmla="*/ 6231952 w 9586368"/>
              <a:gd name="connsiteY8988" fmla="*/ 18016 h 6479439"/>
              <a:gd name="connsiteX8989" fmla="*/ 6222042 w 9586368"/>
              <a:gd name="connsiteY8989" fmla="*/ 18016 h 6479439"/>
              <a:gd name="connsiteX8990" fmla="*/ 6218023 w 9586368"/>
              <a:gd name="connsiteY8990" fmla="*/ 13977 h 6479439"/>
              <a:gd name="connsiteX8991" fmla="*/ 6218023 w 9586368"/>
              <a:gd name="connsiteY8991" fmla="*/ 4106 h 6479439"/>
              <a:gd name="connsiteX8992" fmla="*/ 5982729 w 9586368"/>
              <a:gd name="connsiteY8992" fmla="*/ 68 h 6479439"/>
              <a:gd name="connsiteX8993" fmla="*/ 5992639 w 9586368"/>
              <a:gd name="connsiteY8993" fmla="*/ 68 h 6479439"/>
              <a:gd name="connsiteX8994" fmla="*/ 5996658 w 9586368"/>
              <a:gd name="connsiteY8994" fmla="*/ 4106 h 6479439"/>
              <a:gd name="connsiteX8995" fmla="*/ 5996658 w 9586368"/>
              <a:gd name="connsiteY8995" fmla="*/ 13977 h 6479439"/>
              <a:gd name="connsiteX8996" fmla="*/ 5992639 w 9586368"/>
              <a:gd name="connsiteY8996" fmla="*/ 18016 h 6479439"/>
              <a:gd name="connsiteX8997" fmla="*/ 5982729 w 9586368"/>
              <a:gd name="connsiteY8997" fmla="*/ 18016 h 6479439"/>
              <a:gd name="connsiteX8998" fmla="*/ 5978710 w 9586368"/>
              <a:gd name="connsiteY8998" fmla="*/ 13977 h 6479439"/>
              <a:gd name="connsiteX8999" fmla="*/ 5978710 w 9586368"/>
              <a:gd name="connsiteY8999" fmla="*/ 4106 h 6479439"/>
              <a:gd name="connsiteX9000" fmla="*/ 6939983 w 9586368"/>
              <a:gd name="connsiteY9000" fmla="*/ 67 h 6479439"/>
              <a:gd name="connsiteX9001" fmla="*/ 6949894 w 9586368"/>
              <a:gd name="connsiteY9001" fmla="*/ 67 h 6479439"/>
              <a:gd name="connsiteX9002" fmla="*/ 6953913 w 9586368"/>
              <a:gd name="connsiteY9002" fmla="*/ 4105 h 6479439"/>
              <a:gd name="connsiteX9003" fmla="*/ 6953913 w 9586368"/>
              <a:gd name="connsiteY9003" fmla="*/ 13976 h 6479439"/>
              <a:gd name="connsiteX9004" fmla="*/ 6949894 w 9586368"/>
              <a:gd name="connsiteY9004" fmla="*/ 18015 h 6479439"/>
              <a:gd name="connsiteX9005" fmla="*/ 6939983 w 9586368"/>
              <a:gd name="connsiteY9005" fmla="*/ 18015 h 6479439"/>
              <a:gd name="connsiteX9006" fmla="*/ 6935964 w 9586368"/>
              <a:gd name="connsiteY9006" fmla="*/ 13976 h 6479439"/>
              <a:gd name="connsiteX9007" fmla="*/ 6935964 w 9586368"/>
              <a:gd name="connsiteY9007" fmla="*/ 4105 h 6479439"/>
              <a:gd name="connsiteX9008" fmla="*/ 6700670 w 9586368"/>
              <a:gd name="connsiteY9008" fmla="*/ 67 h 6479439"/>
              <a:gd name="connsiteX9009" fmla="*/ 6710581 w 9586368"/>
              <a:gd name="connsiteY9009" fmla="*/ 67 h 6479439"/>
              <a:gd name="connsiteX9010" fmla="*/ 6714600 w 9586368"/>
              <a:gd name="connsiteY9010" fmla="*/ 4105 h 6479439"/>
              <a:gd name="connsiteX9011" fmla="*/ 6714600 w 9586368"/>
              <a:gd name="connsiteY9011" fmla="*/ 13976 h 6479439"/>
              <a:gd name="connsiteX9012" fmla="*/ 6710581 w 9586368"/>
              <a:gd name="connsiteY9012" fmla="*/ 18015 h 6479439"/>
              <a:gd name="connsiteX9013" fmla="*/ 6700670 w 9586368"/>
              <a:gd name="connsiteY9013" fmla="*/ 18015 h 6479439"/>
              <a:gd name="connsiteX9014" fmla="*/ 6696651 w 9586368"/>
              <a:gd name="connsiteY9014" fmla="*/ 13976 h 6479439"/>
              <a:gd name="connsiteX9015" fmla="*/ 6696651 w 9586368"/>
              <a:gd name="connsiteY9015" fmla="*/ 4105 h 6479439"/>
              <a:gd name="connsiteX9016" fmla="*/ 8136553 w 9586368"/>
              <a:gd name="connsiteY9016" fmla="*/ 54 h 6479439"/>
              <a:gd name="connsiteX9017" fmla="*/ 8146464 w 9586368"/>
              <a:gd name="connsiteY9017" fmla="*/ 54 h 6479439"/>
              <a:gd name="connsiteX9018" fmla="*/ 8150483 w 9586368"/>
              <a:gd name="connsiteY9018" fmla="*/ 4093 h 6479439"/>
              <a:gd name="connsiteX9019" fmla="*/ 8150483 w 9586368"/>
              <a:gd name="connsiteY9019" fmla="*/ 13963 h 6479439"/>
              <a:gd name="connsiteX9020" fmla="*/ 8146464 w 9586368"/>
              <a:gd name="connsiteY9020" fmla="*/ 18002 h 6479439"/>
              <a:gd name="connsiteX9021" fmla="*/ 8136553 w 9586368"/>
              <a:gd name="connsiteY9021" fmla="*/ 18002 h 6479439"/>
              <a:gd name="connsiteX9022" fmla="*/ 8132534 w 9586368"/>
              <a:gd name="connsiteY9022" fmla="*/ 13963 h 6479439"/>
              <a:gd name="connsiteX9023" fmla="*/ 8132534 w 9586368"/>
              <a:gd name="connsiteY9023" fmla="*/ 4093 h 6479439"/>
              <a:gd name="connsiteX9024" fmla="*/ 7897241 w 9586368"/>
              <a:gd name="connsiteY9024" fmla="*/ 54 h 6479439"/>
              <a:gd name="connsiteX9025" fmla="*/ 7907151 w 9586368"/>
              <a:gd name="connsiteY9025" fmla="*/ 54 h 6479439"/>
              <a:gd name="connsiteX9026" fmla="*/ 7911170 w 9586368"/>
              <a:gd name="connsiteY9026" fmla="*/ 4093 h 6479439"/>
              <a:gd name="connsiteX9027" fmla="*/ 7911170 w 9586368"/>
              <a:gd name="connsiteY9027" fmla="*/ 13964 h 6479439"/>
              <a:gd name="connsiteX9028" fmla="*/ 7907151 w 9586368"/>
              <a:gd name="connsiteY9028" fmla="*/ 18003 h 6479439"/>
              <a:gd name="connsiteX9029" fmla="*/ 7897241 w 9586368"/>
              <a:gd name="connsiteY9029" fmla="*/ 18003 h 6479439"/>
              <a:gd name="connsiteX9030" fmla="*/ 7893222 w 9586368"/>
              <a:gd name="connsiteY9030" fmla="*/ 13964 h 6479439"/>
              <a:gd name="connsiteX9031" fmla="*/ 7893222 w 9586368"/>
              <a:gd name="connsiteY9031" fmla="*/ 4093 h 6479439"/>
              <a:gd name="connsiteX9032" fmla="*/ 7657926 w 9586368"/>
              <a:gd name="connsiteY9032" fmla="*/ 54 h 6479439"/>
              <a:gd name="connsiteX9033" fmla="*/ 7667836 w 9586368"/>
              <a:gd name="connsiteY9033" fmla="*/ 54 h 6479439"/>
              <a:gd name="connsiteX9034" fmla="*/ 7671855 w 9586368"/>
              <a:gd name="connsiteY9034" fmla="*/ 4093 h 6479439"/>
              <a:gd name="connsiteX9035" fmla="*/ 7671855 w 9586368"/>
              <a:gd name="connsiteY9035" fmla="*/ 13964 h 6479439"/>
              <a:gd name="connsiteX9036" fmla="*/ 7667836 w 9586368"/>
              <a:gd name="connsiteY9036" fmla="*/ 18003 h 6479439"/>
              <a:gd name="connsiteX9037" fmla="*/ 7657926 w 9586368"/>
              <a:gd name="connsiteY9037" fmla="*/ 18003 h 6479439"/>
              <a:gd name="connsiteX9038" fmla="*/ 7653906 w 9586368"/>
              <a:gd name="connsiteY9038" fmla="*/ 13964 h 6479439"/>
              <a:gd name="connsiteX9039" fmla="*/ 7653906 w 9586368"/>
              <a:gd name="connsiteY9039" fmla="*/ 4093 h 6479439"/>
              <a:gd name="connsiteX9040" fmla="*/ 7418611 w 9586368"/>
              <a:gd name="connsiteY9040" fmla="*/ 54 h 6479439"/>
              <a:gd name="connsiteX9041" fmla="*/ 7428521 w 9586368"/>
              <a:gd name="connsiteY9041" fmla="*/ 54 h 6479439"/>
              <a:gd name="connsiteX9042" fmla="*/ 7432540 w 9586368"/>
              <a:gd name="connsiteY9042" fmla="*/ 4093 h 6479439"/>
              <a:gd name="connsiteX9043" fmla="*/ 7432540 w 9586368"/>
              <a:gd name="connsiteY9043" fmla="*/ 13964 h 6479439"/>
              <a:gd name="connsiteX9044" fmla="*/ 7428521 w 9586368"/>
              <a:gd name="connsiteY9044" fmla="*/ 18003 h 6479439"/>
              <a:gd name="connsiteX9045" fmla="*/ 7418611 w 9586368"/>
              <a:gd name="connsiteY9045" fmla="*/ 18003 h 6479439"/>
              <a:gd name="connsiteX9046" fmla="*/ 7414592 w 9586368"/>
              <a:gd name="connsiteY9046" fmla="*/ 13964 h 6479439"/>
              <a:gd name="connsiteX9047" fmla="*/ 7414592 w 9586368"/>
              <a:gd name="connsiteY9047" fmla="*/ 4093 h 6479439"/>
              <a:gd name="connsiteX9048" fmla="*/ 7179298 w 9586368"/>
              <a:gd name="connsiteY9048" fmla="*/ 54 h 6479439"/>
              <a:gd name="connsiteX9049" fmla="*/ 7189209 w 9586368"/>
              <a:gd name="connsiteY9049" fmla="*/ 54 h 6479439"/>
              <a:gd name="connsiteX9050" fmla="*/ 7193228 w 9586368"/>
              <a:gd name="connsiteY9050" fmla="*/ 4093 h 6479439"/>
              <a:gd name="connsiteX9051" fmla="*/ 7193228 w 9586368"/>
              <a:gd name="connsiteY9051" fmla="*/ 13964 h 6479439"/>
              <a:gd name="connsiteX9052" fmla="*/ 7189209 w 9586368"/>
              <a:gd name="connsiteY9052" fmla="*/ 18003 h 6479439"/>
              <a:gd name="connsiteX9053" fmla="*/ 7179298 w 9586368"/>
              <a:gd name="connsiteY9053" fmla="*/ 18003 h 6479439"/>
              <a:gd name="connsiteX9054" fmla="*/ 7175279 w 9586368"/>
              <a:gd name="connsiteY9054" fmla="*/ 13964 h 6479439"/>
              <a:gd name="connsiteX9055" fmla="*/ 7175279 w 9586368"/>
              <a:gd name="connsiteY9055" fmla="*/ 4093 h 6479439"/>
              <a:gd name="connsiteX9056" fmla="*/ 8375869 w 9586368"/>
              <a:gd name="connsiteY9056" fmla="*/ 42 h 6479439"/>
              <a:gd name="connsiteX9057" fmla="*/ 8385779 w 9586368"/>
              <a:gd name="connsiteY9057" fmla="*/ 42 h 6479439"/>
              <a:gd name="connsiteX9058" fmla="*/ 8389799 w 9586368"/>
              <a:gd name="connsiteY9058" fmla="*/ 4080 h 6479439"/>
              <a:gd name="connsiteX9059" fmla="*/ 8389799 w 9586368"/>
              <a:gd name="connsiteY9059" fmla="*/ 13951 h 6479439"/>
              <a:gd name="connsiteX9060" fmla="*/ 8385779 w 9586368"/>
              <a:gd name="connsiteY9060" fmla="*/ 17990 h 6479439"/>
              <a:gd name="connsiteX9061" fmla="*/ 8375869 w 9586368"/>
              <a:gd name="connsiteY9061" fmla="*/ 17990 h 6479439"/>
              <a:gd name="connsiteX9062" fmla="*/ 8371850 w 9586368"/>
              <a:gd name="connsiteY9062" fmla="*/ 13951 h 6479439"/>
              <a:gd name="connsiteX9063" fmla="*/ 8371850 w 9586368"/>
              <a:gd name="connsiteY9063" fmla="*/ 4080 h 6479439"/>
              <a:gd name="connsiteX9064" fmla="*/ 9333125 w 9586368"/>
              <a:gd name="connsiteY9064" fmla="*/ 41 h 6479439"/>
              <a:gd name="connsiteX9065" fmla="*/ 9343036 w 9586368"/>
              <a:gd name="connsiteY9065" fmla="*/ 41 h 6479439"/>
              <a:gd name="connsiteX9066" fmla="*/ 9347055 w 9586368"/>
              <a:gd name="connsiteY9066" fmla="*/ 4080 h 6479439"/>
              <a:gd name="connsiteX9067" fmla="*/ 9347055 w 9586368"/>
              <a:gd name="connsiteY9067" fmla="*/ 13951 h 6479439"/>
              <a:gd name="connsiteX9068" fmla="*/ 9343036 w 9586368"/>
              <a:gd name="connsiteY9068" fmla="*/ 17990 h 6479439"/>
              <a:gd name="connsiteX9069" fmla="*/ 9333125 w 9586368"/>
              <a:gd name="connsiteY9069" fmla="*/ 17990 h 6479439"/>
              <a:gd name="connsiteX9070" fmla="*/ 9329106 w 9586368"/>
              <a:gd name="connsiteY9070" fmla="*/ 13951 h 6479439"/>
              <a:gd name="connsiteX9071" fmla="*/ 9329106 w 9586368"/>
              <a:gd name="connsiteY9071" fmla="*/ 4080 h 6479439"/>
              <a:gd name="connsiteX9072" fmla="*/ 9093811 w 9586368"/>
              <a:gd name="connsiteY9072" fmla="*/ 41 h 6479439"/>
              <a:gd name="connsiteX9073" fmla="*/ 9103722 w 9586368"/>
              <a:gd name="connsiteY9073" fmla="*/ 41 h 6479439"/>
              <a:gd name="connsiteX9074" fmla="*/ 9107741 w 9586368"/>
              <a:gd name="connsiteY9074" fmla="*/ 4080 h 6479439"/>
              <a:gd name="connsiteX9075" fmla="*/ 9107741 w 9586368"/>
              <a:gd name="connsiteY9075" fmla="*/ 13951 h 6479439"/>
              <a:gd name="connsiteX9076" fmla="*/ 9103722 w 9586368"/>
              <a:gd name="connsiteY9076" fmla="*/ 17990 h 6479439"/>
              <a:gd name="connsiteX9077" fmla="*/ 9093811 w 9586368"/>
              <a:gd name="connsiteY9077" fmla="*/ 17990 h 6479439"/>
              <a:gd name="connsiteX9078" fmla="*/ 9089792 w 9586368"/>
              <a:gd name="connsiteY9078" fmla="*/ 13951 h 6479439"/>
              <a:gd name="connsiteX9079" fmla="*/ 9089792 w 9586368"/>
              <a:gd name="connsiteY9079" fmla="*/ 4080 h 6479439"/>
              <a:gd name="connsiteX9080" fmla="*/ 8854496 w 9586368"/>
              <a:gd name="connsiteY9080" fmla="*/ 41 h 6479439"/>
              <a:gd name="connsiteX9081" fmla="*/ 8864407 w 9586368"/>
              <a:gd name="connsiteY9081" fmla="*/ 41 h 6479439"/>
              <a:gd name="connsiteX9082" fmla="*/ 8868426 w 9586368"/>
              <a:gd name="connsiteY9082" fmla="*/ 4080 h 6479439"/>
              <a:gd name="connsiteX9083" fmla="*/ 8868426 w 9586368"/>
              <a:gd name="connsiteY9083" fmla="*/ 13951 h 6479439"/>
              <a:gd name="connsiteX9084" fmla="*/ 8864407 w 9586368"/>
              <a:gd name="connsiteY9084" fmla="*/ 17990 h 6479439"/>
              <a:gd name="connsiteX9085" fmla="*/ 8854496 w 9586368"/>
              <a:gd name="connsiteY9085" fmla="*/ 17990 h 6479439"/>
              <a:gd name="connsiteX9086" fmla="*/ 8850477 w 9586368"/>
              <a:gd name="connsiteY9086" fmla="*/ 13951 h 6479439"/>
              <a:gd name="connsiteX9087" fmla="*/ 8850477 w 9586368"/>
              <a:gd name="connsiteY9087" fmla="*/ 4080 h 6479439"/>
              <a:gd name="connsiteX9088" fmla="*/ 8615184 w 9586368"/>
              <a:gd name="connsiteY9088" fmla="*/ 41 h 6479439"/>
              <a:gd name="connsiteX9089" fmla="*/ 8625095 w 9586368"/>
              <a:gd name="connsiteY9089" fmla="*/ 41 h 6479439"/>
              <a:gd name="connsiteX9090" fmla="*/ 8629114 w 9586368"/>
              <a:gd name="connsiteY9090" fmla="*/ 4080 h 6479439"/>
              <a:gd name="connsiteX9091" fmla="*/ 8629114 w 9586368"/>
              <a:gd name="connsiteY9091" fmla="*/ 13951 h 6479439"/>
              <a:gd name="connsiteX9092" fmla="*/ 8625095 w 9586368"/>
              <a:gd name="connsiteY9092" fmla="*/ 17990 h 6479439"/>
              <a:gd name="connsiteX9093" fmla="*/ 8615184 w 9586368"/>
              <a:gd name="connsiteY9093" fmla="*/ 17990 h 6479439"/>
              <a:gd name="connsiteX9094" fmla="*/ 8611165 w 9586368"/>
              <a:gd name="connsiteY9094" fmla="*/ 13951 h 6479439"/>
              <a:gd name="connsiteX9095" fmla="*/ 8611165 w 9586368"/>
              <a:gd name="connsiteY9095" fmla="*/ 4080 h 6479439"/>
              <a:gd name="connsiteX9096" fmla="*/ 961275 w 9586368"/>
              <a:gd name="connsiteY9096" fmla="*/ 41 h 6479439"/>
              <a:gd name="connsiteX9097" fmla="*/ 971184 w 9586368"/>
              <a:gd name="connsiteY9097" fmla="*/ 41 h 6479439"/>
              <a:gd name="connsiteX9098" fmla="*/ 975204 w 9586368"/>
              <a:gd name="connsiteY9098" fmla="*/ 4080 h 6479439"/>
              <a:gd name="connsiteX9099" fmla="*/ 975204 w 9586368"/>
              <a:gd name="connsiteY9099" fmla="*/ 13951 h 6479439"/>
              <a:gd name="connsiteX9100" fmla="*/ 971184 w 9586368"/>
              <a:gd name="connsiteY9100" fmla="*/ 17990 h 6479439"/>
              <a:gd name="connsiteX9101" fmla="*/ 961275 w 9586368"/>
              <a:gd name="connsiteY9101" fmla="*/ 17990 h 6479439"/>
              <a:gd name="connsiteX9102" fmla="*/ 957256 w 9586368"/>
              <a:gd name="connsiteY9102" fmla="*/ 13951 h 6479439"/>
              <a:gd name="connsiteX9103" fmla="*/ 957256 w 9586368"/>
              <a:gd name="connsiteY9103" fmla="*/ 4080 h 6479439"/>
              <a:gd name="connsiteX9104" fmla="*/ 1679221 w 9586368"/>
              <a:gd name="connsiteY9104" fmla="*/ 41 h 6479439"/>
              <a:gd name="connsiteX9105" fmla="*/ 1689131 w 9586368"/>
              <a:gd name="connsiteY9105" fmla="*/ 41 h 6479439"/>
              <a:gd name="connsiteX9106" fmla="*/ 1693151 w 9586368"/>
              <a:gd name="connsiteY9106" fmla="*/ 4079 h 6479439"/>
              <a:gd name="connsiteX9107" fmla="*/ 1693151 w 9586368"/>
              <a:gd name="connsiteY9107" fmla="*/ 13950 h 6479439"/>
              <a:gd name="connsiteX9108" fmla="*/ 1689131 w 9586368"/>
              <a:gd name="connsiteY9108" fmla="*/ 17989 h 6479439"/>
              <a:gd name="connsiteX9109" fmla="*/ 1679221 w 9586368"/>
              <a:gd name="connsiteY9109" fmla="*/ 17989 h 6479439"/>
              <a:gd name="connsiteX9110" fmla="*/ 1675203 w 9586368"/>
              <a:gd name="connsiteY9110" fmla="*/ 13950 h 6479439"/>
              <a:gd name="connsiteX9111" fmla="*/ 1675203 w 9586368"/>
              <a:gd name="connsiteY9111" fmla="*/ 4079 h 6479439"/>
              <a:gd name="connsiteX9112" fmla="*/ 1439904 w 9586368"/>
              <a:gd name="connsiteY9112" fmla="*/ 41 h 6479439"/>
              <a:gd name="connsiteX9113" fmla="*/ 1449813 w 9586368"/>
              <a:gd name="connsiteY9113" fmla="*/ 41 h 6479439"/>
              <a:gd name="connsiteX9114" fmla="*/ 1453833 w 9586368"/>
              <a:gd name="connsiteY9114" fmla="*/ 4079 h 6479439"/>
              <a:gd name="connsiteX9115" fmla="*/ 1453833 w 9586368"/>
              <a:gd name="connsiteY9115" fmla="*/ 13950 h 6479439"/>
              <a:gd name="connsiteX9116" fmla="*/ 1449813 w 9586368"/>
              <a:gd name="connsiteY9116" fmla="*/ 17989 h 6479439"/>
              <a:gd name="connsiteX9117" fmla="*/ 1439904 w 9586368"/>
              <a:gd name="connsiteY9117" fmla="*/ 17989 h 6479439"/>
              <a:gd name="connsiteX9118" fmla="*/ 1435885 w 9586368"/>
              <a:gd name="connsiteY9118" fmla="*/ 13950 h 6479439"/>
              <a:gd name="connsiteX9119" fmla="*/ 1435885 w 9586368"/>
              <a:gd name="connsiteY9119" fmla="*/ 4079 h 6479439"/>
              <a:gd name="connsiteX9120" fmla="*/ 1200587 w 9586368"/>
              <a:gd name="connsiteY9120" fmla="*/ 41 h 6479439"/>
              <a:gd name="connsiteX9121" fmla="*/ 1210497 w 9586368"/>
              <a:gd name="connsiteY9121" fmla="*/ 41 h 6479439"/>
              <a:gd name="connsiteX9122" fmla="*/ 1214516 w 9586368"/>
              <a:gd name="connsiteY9122" fmla="*/ 4080 h 6479439"/>
              <a:gd name="connsiteX9123" fmla="*/ 1214516 w 9586368"/>
              <a:gd name="connsiteY9123" fmla="*/ 13951 h 6479439"/>
              <a:gd name="connsiteX9124" fmla="*/ 1210497 w 9586368"/>
              <a:gd name="connsiteY9124" fmla="*/ 17989 h 6479439"/>
              <a:gd name="connsiteX9125" fmla="*/ 1200587 w 9586368"/>
              <a:gd name="connsiteY9125" fmla="*/ 17989 h 6479439"/>
              <a:gd name="connsiteX9126" fmla="*/ 1196568 w 9586368"/>
              <a:gd name="connsiteY9126" fmla="*/ 13951 h 6479439"/>
              <a:gd name="connsiteX9127" fmla="*/ 1196568 w 9586368"/>
              <a:gd name="connsiteY9127" fmla="*/ 4080 h 6479439"/>
              <a:gd name="connsiteX9128" fmla="*/ 1918515 w 9586368"/>
              <a:gd name="connsiteY9128" fmla="*/ 31 h 6479439"/>
              <a:gd name="connsiteX9129" fmla="*/ 1928425 w 9586368"/>
              <a:gd name="connsiteY9129" fmla="*/ 31 h 6479439"/>
              <a:gd name="connsiteX9130" fmla="*/ 1932444 w 9586368"/>
              <a:gd name="connsiteY9130" fmla="*/ 4069 h 6479439"/>
              <a:gd name="connsiteX9131" fmla="*/ 1932444 w 9586368"/>
              <a:gd name="connsiteY9131" fmla="*/ 13940 h 6479439"/>
              <a:gd name="connsiteX9132" fmla="*/ 1928425 w 9586368"/>
              <a:gd name="connsiteY9132" fmla="*/ 17979 h 6479439"/>
              <a:gd name="connsiteX9133" fmla="*/ 1918515 w 9586368"/>
              <a:gd name="connsiteY9133" fmla="*/ 17979 h 6479439"/>
              <a:gd name="connsiteX9134" fmla="*/ 1914497 w 9586368"/>
              <a:gd name="connsiteY9134" fmla="*/ 13940 h 6479439"/>
              <a:gd name="connsiteX9135" fmla="*/ 1914497 w 9586368"/>
              <a:gd name="connsiteY9135" fmla="*/ 4069 h 6479439"/>
              <a:gd name="connsiteX9136" fmla="*/ 9572438 w 9586368"/>
              <a:gd name="connsiteY9136" fmla="*/ 29 h 6479439"/>
              <a:gd name="connsiteX9137" fmla="*/ 9582349 w 9586368"/>
              <a:gd name="connsiteY9137" fmla="*/ 29 h 6479439"/>
              <a:gd name="connsiteX9138" fmla="*/ 9586368 w 9586368"/>
              <a:gd name="connsiteY9138" fmla="*/ 4067 h 6479439"/>
              <a:gd name="connsiteX9139" fmla="*/ 9586368 w 9586368"/>
              <a:gd name="connsiteY9139" fmla="*/ 13938 h 6479439"/>
              <a:gd name="connsiteX9140" fmla="*/ 9582349 w 9586368"/>
              <a:gd name="connsiteY9140" fmla="*/ 17977 h 6479439"/>
              <a:gd name="connsiteX9141" fmla="*/ 9572438 w 9586368"/>
              <a:gd name="connsiteY9141" fmla="*/ 17977 h 6479439"/>
              <a:gd name="connsiteX9142" fmla="*/ 9568419 w 9586368"/>
              <a:gd name="connsiteY9142" fmla="*/ 13938 h 6479439"/>
              <a:gd name="connsiteX9143" fmla="*/ 9568419 w 9586368"/>
              <a:gd name="connsiteY9143" fmla="*/ 4067 h 6479439"/>
              <a:gd name="connsiteX9144" fmla="*/ 2157824 w 9586368"/>
              <a:gd name="connsiteY9144" fmla="*/ 28 h 6479439"/>
              <a:gd name="connsiteX9145" fmla="*/ 2167734 w 9586368"/>
              <a:gd name="connsiteY9145" fmla="*/ 28 h 6479439"/>
              <a:gd name="connsiteX9146" fmla="*/ 2171753 w 9586368"/>
              <a:gd name="connsiteY9146" fmla="*/ 4067 h 6479439"/>
              <a:gd name="connsiteX9147" fmla="*/ 2171753 w 9586368"/>
              <a:gd name="connsiteY9147" fmla="*/ 13938 h 6479439"/>
              <a:gd name="connsiteX9148" fmla="*/ 2167734 w 9586368"/>
              <a:gd name="connsiteY9148" fmla="*/ 17977 h 6479439"/>
              <a:gd name="connsiteX9149" fmla="*/ 2157824 w 9586368"/>
              <a:gd name="connsiteY9149" fmla="*/ 17977 h 6479439"/>
              <a:gd name="connsiteX9150" fmla="*/ 2153804 w 9586368"/>
              <a:gd name="connsiteY9150" fmla="*/ 13938 h 6479439"/>
              <a:gd name="connsiteX9151" fmla="*/ 2153804 w 9586368"/>
              <a:gd name="connsiteY9151" fmla="*/ 4067 h 6479439"/>
              <a:gd name="connsiteX9152" fmla="*/ 721977 w 9586368"/>
              <a:gd name="connsiteY9152" fmla="*/ 0 h 6479439"/>
              <a:gd name="connsiteX9153" fmla="*/ 731887 w 9586368"/>
              <a:gd name="connsiteY9153" fmla="*/ 0 h 6479439"/>
              <a:gd name="connsiteX9154" fmla="*/ 735906 w 9586368"/>
              <a:gd name="connsiteY9154" fmla="*/ 4039 h 6479439"/>
              <a:gd name="connsiteX9155" fmla="*/ 735906 w 9586368"/>
              <a:gd name="connsiteY9155" fmla="*/ 13910 h 6479439"/>
              <a:gd name="connsiteX9156" fmla="*/ 731887 w 9586368"/>
              <a:gd name="connsiteY9156" fmla="*/ 17949 h 6479439"/>
              <a:gd name="connsiteX9157" fmla="*/ 721977 w 9586368"/>
              <a:gd name="connsiteY9157" fmla="*/ 17949 h 6479439"/>
              <a:gd name="connsiteX9158" fmla="*/ 717959 w 9586368"/>
              <a:gd name="connsiteY9158" fmla="*/ 13910 h 6479439"/>
              <a:gd name="connsiteX9159" fmla="*/ 717959 w 9586368"/>
              <a:gd name="connsiteY9159" fmla="*/ 4039 h 6479439"/>
              <a:gd name="connsiteX9160" fmla="*/ 482665 w 9586368"/>
              <a:gd name="connsiteY9160" fmla="*/ 0 h 6479439"/>
              <a:gd name="connsiteX9161" fmla="*/ 492575 w 9586368"/>
              <a:gd name="connsiteY9161" fmla="*/ 0 h 6479439"/>
              <a:gd name="connsiteX9162" fmla="*/ 496594 w 9586368"/>
              <a:gd name="connsiteY9162" fmla="*/ 4039 h 6479439"/>
              <a:gd name="connsiteX9163" fmla="*/ 496594 w 9586368"/>
              <a:gd name="connsiteY9163" fmla="*/ 13910 h 6479439"/>
              <a:gd name="connsiteX9164" fmla="*/ 492575 w 9586368"/>
              <a:gd name="connsiteY9164" fmla="*/ 17949 h 6479439"/>
              <a:gd name="connsiteX9165" fmla="*/ 482665 w 9586368"/>
              <a:gd name="connsiteY9165" fmla="*/ 17949 h 6479439"/>
              <a:gd name="connsiteX9166" fmla="*/ 478646 w 9586368"/>
              <a:gd name="connsiteY9166" fmla="*/ 13910 h 6479439"/>
              <a:gd name="connsiteX9167" fmla="*/ 478646 w 9586368"/>
              <a:gd name="connsiteY9167" fmla="*/ 4039 h 6479439"/>
              <a:gd name="connsiteX9168" fmla="*/ 243351 w 9586368"/>
              <a:gd name="connsiteY9168" fmla="*/ 0 h 6479439"/>
              <a:gd name="connsiteX9169" fmla="*/ 253261 w 9586368"/>
              <a:gd name="connsiteY9169" fmla="*/ 0 h 6479439"/>
              <a:gd name="connsiteX9170" fmla="*/ 257281 w 9586368"/>
              <a:gd name="connsiteY9170" fmla="*/ 4039 h 6479439"/>
              <a:gd name="connsiteX9171" fmla="*/ 257281 w 9586368"/>
              <a:gd name="connsiteY9171" fmla="*/ 13910 h 6479439"/>
              <a:gd name="connsiteX9172" fmla="*/ 253261 w 9586368"/>
              <a:gd name="connsiteY9172" fmla="*/ 17949 h 6479439"/>
              <a:gd name="connsiteX9173" fmla="*/ 243351 w 9586368"/>
              <a:gd name="connsiteY9173" fmla="*/ 17949 h 6479439"/>
              <a:gd name="connsiteX9174" fmla="*/ 239332 w 9586368"/>
              <a:gd name="connsiteY9174" fmla="*/ 13910 h 6479439"/>
              <a:gd name="connsiteX9175" fmla="*/ 239332 w 9586368"/>
              <a:gd name="connsiteY9175" fmla="*/ 4039 h 6479439"/>
              <a:gd name="connsiteX9176" fmla="*/ 4039 w 9586368"/>
              <a:gd name="connsiteY9176" fmla="*/ 0 h 6479439"/>
              <a:gd name="connsiteX9177" fmla="*/ 13948 w 9586368"/>
              <a:gd name="connsiteY9177" fmla="*/ 0 h 6479439"/>
              <a:gd name="connsiteX9178" fmla="*/ 17967 w 9586368"/>
              <a:gd name="connsiteY9178" fmla="*/ 4039 h 6479439"/>
              <a:gd name="connsiteX9179" fmla="*/ 17967 w 9586368"/>
              <a:gd name="connsiteY9179" fmla="*/ 13910 h 6479439"/>
              <a:gd name="connsiteX9180" fmla="*/ 13948 w 9586368"/>
              <a:gd name="connsiteY9180" fmla="*/ 17949 h 6479439"/>
              <a:gd name="connsiteX9181" fmla="*/ 4039 w 9586368"/>
              <a:gd name="connsiteY9181" fmla="*/ 17949 h 6479439"/>
              <a:gd name="connsiteX9182" fmla="*/ 19 w 9586368"/>
              <a:gd name="connsiteY9182" fmla="*/ 13910 h 6479439"/>
              <a:gd name="connsiteX9183" fmla="*/ 19 w 9586368"/>
              <a:gd name="connsiteY9183" fmla="*/ 4039 h 64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Lst>
            <a:rect l="l" t="t" r="r" b="b"/>
            <a:pathLst>
              <a:path w="9586368" h="6479439">
                <a:moveTo>
                  <a:pt x="2157895" y="6461491"/>
                </a:moveTo>
                <a:lnTo>
                  <a:pt x="2167802" y="6461491"/>
                </a:lnTo>
                <a:lnTo>
                  <a:pt x="2171820" y="6465529"/>
                </a:lnTo>
                <a:lnTo>
                  <a:pt x="2171820" y="6475400"/>
                </a:lnTo>
                <a:lnTo>
                  <a:pt x="2167802" y="6479439"/>
                </a:lnTo>
                <a:lnTo>
                  <a:pt x="2157895" y="6479439"/>
                </a:lnTo>
                <a:lnTo>
                  <a:pt x="2153871" y="6475400"/>
                </a:lnTo>
                <a:lnTo>
                  <a:pt x="2153871" y="6465529"/>
                </a:lnTo>
                <a:close/>
                <a:moveTo>
                  <a:pt x="1918509" y="6461491"/>
                </a:moveTo>
                <a:lnTo>
                  <a:pt x="1928419" y="6461491"/>
                </a:lnTo>
                <a:lnTo>
                  <a:pt x="1932437" y="6465529"/>
                </a:lnTo>
                <a:lnTo>
                  <a:pt x="1932437" y="6475400"/>
                </a:lnTo>
                <a:lnTo>
                  <a:pt x="1928419" y="6479439"/>
                </a:lnTo>
                <a:lnTo>
                  <a:pt x="1918509" y="6479439"/>
                </a:lnTo>
                <a:lnTo>
                  <a:pt x="1914490" y="6475400"/>
                </a:lnTo>
                <a:lnTo>
                  <a:pt x="1914490" y="6465529"/>
                </a:lnTo>
                <a:close/>
                <a:moveTo>
                  <a:pt x="1679200" y="6461491"/>
                </a:moveTo>
                <a:lnTo>
                  <a:pt x="1689110" y="6461491"/>
                </a:lnTo>
                <a:lnTo>
                  <a:pt x="1693128" y="6465529"/>
                </a:lnTo>
                <a:lnTo>
                  <a:pt x="1693128" y="6475400"/>
                </a:lnTo>
                <a:lnTo>
                  <a:pt x="1689110" y="6479439"/>
                </a:lnTo>
                <a:lnTo>
                  <a:pt x="1679200" y="6479439"/>
                </a:lnTo>
                <a:lnTo>
                  <a:pt x="1675180" y="6475400"/>
                </a:lnTo>
                <a:lnTo>
                  <a:pt x="1675180" y="6465529"/>
                </a:lnTo>
                <a:close/>
                <a:moveTo>
                  <a:pt x="1439885" y="6461491"/>
                </a:moveTo>
                <a:lnTo>
                  <a:pt x="1449795" y="6461491"/>
                </a:lnTo>
                <a:lnTo>
                  <a:pt x="1453813" y="6465529"/>
                </a:lnTo>
                <a:lnTo>
                  <a:pt x="1453813" y="6475400"/>
                </a:lnTo>
                <a:lnTo>
                  <a:pt x="1449795" y="6479439"/>
                </a:lnTo>
                <a:lnTo>
                  <a:pt x="1439885" y="6479439"/>
                </a:lnTo>
                <a:lnTo>
                  <a:pt x="1435865" y="6475400"/>
                </a:lnTo>
                <a:lnTo>
                  <a:pt x="1435865" y="6465529"/>
                </a:lnTo>
                <a:close/>
                <a:moveTo>
                  <a:pt x="1200570" y="6461491"/>
                </a:moveTo>
                <a:lnTo>
                  <a:pt x="1210480" y="6461491"/>
                </a:lnTo>
                <a:lnTo>
                  <a:pt x="1214498" y="6465529"/>
                </a:lnTo>
                <a:lnTo>
                  <a:pt x="1214498" y="6475400"/>
                </a:lnTo>
                <a:lnTo>
                  <a:pt x="1210480" y="6479439"/>
                </a:lnTo>
                <a:lnTo>
                  <a:pt x="1200570" y="6479439"/>
                </a:lnTo>
                <a:lnTo>
                  <a:pt x="1196551" y="6475400"/>
                </a:lnTo>
                <a:lnTo>
                  <a:pt x="1196551" y="6465529"/>
                </a:lnTo>
                <a:close/>
                <a:moveTo>
                  <a:pt x="961257" y="6461491"/>
                </a:moveTo>
                <a:lnTo>
                  <a:pt x="971167" y="6461491"/>
                </a:lnTo>
                <a:lnTo>
                  <a:pt x="975186" y="6465529"/>
                </a:lnTo>
                <a:lnTo>
                  <a:pt x="975186" y="6475400"/>
                </a:lnTo>
                <a:lnTo>
                  <a:pt x="971167" y="6479439"/>
                </a:lnTo>
                <a:lnTo>
                  <a:pt x="961257" y="6479439"/>
                </a:lnTo>
                <a:lnTo>
                  <a:pt x="957238" y="6475400"/>
                </a:lnTo>
                <a:lnTo>
                  <a:pt x="957238" y="6465529"/>
                </a:lnTo>
                <a:close/>
                <a:moveTo>
                  <a:pt x="9572438" y="6461440"/>
                </a:moveTo>
                <a:lnTo>
                  <a:pt x="9582349" y="6461440"/>
                </a:lnTo>
                <a:lnTo>
                  <a:pt x="9586368" y="6465478"/>
                </a:lnTo>
                <a:lnTo>
                  <a:pt x="9586368" y="6475349"/>
                </a:lnTo>
                <a:lnTo>
                  <a:pt x="9582349" y="6479388"/>
                </a:lnTo>
                <a:lnTo>
                  <a:pt x="9572438" y="6479388"/>
                </a:lnTo>
                <a:lnTo>
                  <a:pt x="9568419" y="6475349"/>
                </a:lnTo>
                <a:lnTo>
                  <a:pt x="9568419" y="6465478"/>
                </a:lnTo>
                <a:close/>
                <a:moveTo>
                  <a:pt x="9333125" y="6461440"/>
                </a:moveTo>
                <a:lnTo>
                  <a:pt x="9343036" y="6461440"/>
                </a:lnTo>
                <a:lnTo>
                  <a:pt x="9347055" y="6465478"/>
                </a:lnTo>
                <a:lnTo>
                  <a:pt x="9347055" y="6475349"/>
                </a:lnTo>
                <a:lnTo>
                  <a:pt x="9343036" y="6479388"/>
                </a:lnTo>
                <a:lnTo>
                  <a:pt x="9333125" y="6479388"/>
                </a:lnTo>
                <a:lnTo>
                  <a:pt x="9329106" y="6475349"/>
                </a:lnTo>
                <a:lnTo>
                  <a:pt x="9329106" y="6465478"/>
                </a:lnTo>
                <a:close/>
                <a:moveTo>
                  <a:pt x="9093811" y="6461440"/>
                </a:moveTo>
                <a:lnTo>
                  <a:pt x="9103722" y="6461440"/>
                </a:lnTo>
                <a:lnTo>
                  <a:pt x="9107741" y="6465478"/>
                </a:lnTo>
                <a:lnTo>
                  <a:pt x="9107741" y="6475349"/>
                </a:lnTo>
                <a:lnTo>
                  <a:pt x="9103722" y="6479388"/>
                </a:lnTo>
                <a:lnTo>
                  <a:pt x="9093811" y="6479388"/>
                </a:lnTo>
                <a:lnTo>
                  <a:pt x="9089792" y="6475349"/>
                </a:lnTo>
                <a:lnTo>
                  <a:pt x="9089792" y="6465478"/>
                </a:lnTo>
                <a:close/>
                <a:moveTo>
                  <a:pt x="8854496" y="6461440"/>
                </a:moveTo>
                <a:lnTo>
                  <a:pt x="8864407" y="6461440"/>
                </a:lnTo>
                <a:lnTo>
                  <a:pt x="8868426" y="6465478"/>
                </a:lnTo>
                <a:lnTo>
                  <a:pt x="8868426" y="6475349"/>
                </a:lnTo>
                <a:lnTo>
                  <a:pt x="8864407" y="6479388"/>
                </a:lnTo>
                <a:lnTo>
                  <a:pt x="8854496" y="6479388"/>
                </a:lnTo>
                <a:lnTo>
                  <a:pt x="8850477" y="6475349"/>
                </a:lnTo>
                <a:lnTo>
                  <a:pt x="8850477" y="6465478"/>
                </a:lnTo>
                <a:close/>
                <a:moveTo>
                  <a:pt x="8615184" y="6461440"/>
                </a:moveTo>
                <a:lnTo>
                  <a:pt x="8625095" y="6461440"/>
                </a:lnTo>
                <a:lnTo>
                  <a:pt x="8629114" y="6465478"/>
                </a:lnTo>
                <a:lnTo>
                  <a:pt x="8629114" y="6475349"/>
                </a:lnTo>
                <a:lnTo>
                  <a:pt x="8625095" y="6479388"/>
                </a:lnTo>
                <a:lnTo>
                  <a:pt x="8615184" y="6479388"/>
                </a:lnTo>
                <a:lnTo>
                  <a:pt x="8611165" y="6475349"/>
                </a:lnTo>
                <a:lnTo>
                  <a:pt x="8611165" y="6465478"/>
                </a:lnTo>
                <a:close/>
                <a:moveTo>
                  <a:pt x="8375869" y="6461440"/>
                </a:moveTo>
                <a:lnTo>
                  <a:pt x="8385779" y="6461440"/>
                </a:lnTo>
                <a:lnTo>
                  <a:pt x="8389799" y="6465478"/>
                </a:lnTo>
                <a:lnTo>
                  <a:pt x="8389799" y="6475349"/>
                </a:lnTo>
                <a:lnTo>
                  <a:pt x="8385779" y="6479388"/>
                </a:lnTo>
                <a:lnTo>
                  <a:pt x="8375869" y="6479388"/>
                </a:lnTo>
                <a:lnTo>
                  <a:pt x="8371850" y="6475349"/>
                </a:lnTo>
                <a:lnTo>
                  <a:pt x="8371850" y="6465478"/>
                </a:lnTo>
                <a:close/>
                <a:moveTo>
                  <a:pt x="8136553" y="6461440"/>
                </a:moveTo>
                <a:lnTo>
                  <a:pt x="8146464" y="6461440"/>
                </a:lnTo>
                <a:lnTo>
                  <a:pt x="8150483" y="6465478"/>
                </a:lnTo>
                <a:lnTo>
                  <a:pt x="8150483" y="6475349"/>
                </a:lnTo>
                <a:lnTo>
                  <a:pt x="8146464" y="6479388"/>
                </a:lnTo>
                <a:lnTo>
                  <a:pt x="8136553" y="6479388"/>
                </a:lnTo>
                <a:lnTo>
                  <a:pt x="8132534" y="6475349"/>
                </a:lnTo>
                <a:lnTo>
                  <a:pt x="8132534" y="6465478"/>
                </a:lnTo>
                <a:close/>
                <a:moveTo>
                  <a:pt x="7897241" y="6461440"/>
                </a:moveTo>
                <a:lnTo>
                  <a:pt x="7907151" y="6461440"/>
                </a:lnTo>
                <a:lnTo>
                  <a:pt x="7911170" y="6465478"/>
                </a:lnTo>
                <a:lnTo>
                  <a:pt x="7911170" y="6475349"/>
                </a:lnTo>
                <a:lnTo>
                  <a:pt x="7907151" y="6479388"/>
                </a:lnTo>
                <a:lnTo>
                  <a:pt x="7897241" y="6479388"/>
                </a:lnTo>
                <a:lnTo>
                  <a:pt x="7893222" y="6475349"/>
                </a:lnTo>
                <a:lnTo>
                  <a:pt x="7893222" y="6465478"/>
                </a:lnTo>
                <a:close/>
                <a:moveTo>
                  <a:pt x="7657926" y="6461440"/>
                </a:moveTo>
                <a:lnTo>
                  <a:pt x="7667836" y="6461440"/>
                </a:lnTo>
                <a:lnTo>
                  <a:pt x="7671855" y="6465478"/>
                </a:lnTo>
                <a:lnTo>
                  <a:pt x="7671855" y="6475349"/>
                </a:lnTo>
                <a:lnTo>
                  <a:pt x="7667836" y="6479388"/>
                </a:lnTo>
                <a:lnTo>
                  <a:pt x="7657926" y="6479388"/>
                </a:lnTo>
                <a:lnTo>
                  <a:pt x="7653906" y="6475349"/>
                </a:lnTo>
                <a:lnTo>
                  <a:pt x="7653906" y="6465478"/>
                </a:lnTo>
                <a:close/>
                <a:moveTo>
                  <a:pt x="7418611" y="6461440"/>
                </a:moveTo>
                <a:lnTo>
                  <a:pt x="7428521" y="6461440"/>
                </a:lnTo>
                <a:lnTo>
                  <a:pt x="7432540" y="6465478"/>
                </a:lnTo>
                <a:lnTo>
                  <a:pt x="7432540" y="6475349"/>
                </a:lnTo>
                <a:lnTo>
                  <a:pt x="7428521" y="6479388"/>
                </a:lnTo>
                <a:lnTo>
                  <a:pt x="7418611" y="6479388"/>
                </a:lnTo>
                <a:lnTo>
                  <a:pt x="7414592" y="6475349"/>
                </a:lnTo>
                <a:lnTo>
                  <a:pt x="7414592" y="6465478"/>
                </a:lnTo>
                <a:close/>
                <a:moveTo>
                  <a:pt x="7179298" y="6461440"/>
                </a:moveTo>
                <a:lnTo>
                  <a:pt x="7189209" y="6461440"/>
                </a:lnTo>
                <a:lnTo>
                  <a:pt x="7193228" y="6465478"/>
                </a:lnTo>
                <a:lnTo>
                  <a:pt x="7193228" y="6475349"/>
                </a:lnTo>
                <a:lnTo>
                  <a:pt x="7189209" y="6479388"/>
                </a:lnTo>
                <a:lnTo>
                  <a:pt x="7179298" y="6479388"/>
                </a:lnTo>
                <a:lnTo>
                  <a:pt x="7175279" y="6475349"/>
                </a:lnTo>
                <a:lnTo>
                  <a:pt x="7175279" y="6465478"/>
                </a:lnTo>
                <a:close/>
                <a:moveTo>
                  <a:pt x="6939983" y="6461440"/>
                </a:moveTo>
                <a:lnTo>
                  <a:pt x="6949894" y="6461440"/>
                </a:lnTo>
                <a:lnTo>
                  <a:pt x="6953913" y="6465478"/>
                </a:lnTo>
                <a:lnTo>
                  <a:pt x="6953913" y="6475349"/>
                </a:lnTo>
                <a:lnTo>
                  <a:pt x="6949894" y="6479388"/>
                </a:lnTo>
                <a:lnTo>
                  <a:pt x="6939983" y="6479388"/>
                </a:lnTo>
                <a:lnTo>
                  <a:pt x="6935964" y="6475349"/>
                </a:lnTo>
                <a:lnTo>
                  <a:pt x="6935964" y="6465478"/>
                </a:lnTo>
                <a:close/>
                <a:moveTo>
                  <a:pt x="6700670" y="6461440"/>
                </a:moveTo>
                <a:lnTo>
                  <a:pt x="6710581" y="6461440"/>
                </a:lnTo>
                <a:lnTo>
                  <a:pt x="6714600" y="6465478"/>
                </a:lnTo>
                <a:lnTo>
                  <a:pt x="6714600" y="6475349"/>
                </a:lnTo>
                <a:lnTo>
                  <a:pt x="6710581" y="6479388"/>
                </a:lnTo>
                <a:lnTo>
                  <a:pt x="6700670" y="6479388"/>
                </a:lnTo>
                <a:lnTo>
                  <a:pt x="6696651" y="6475349"/>
                </a:lnTo>
                <a:lnTo>
                  <a:pt x="6696651" y="6465478"/>
                </a:lnTo>
                <a:close/>
                <a:moveTo>
                  <a:pt x="6461356" y="6461440"/>
                </a:moveTo>
                <a:lnTo>
                  <a:pt x="6471266" y="6461440"/>
                </a:lnTo>
                <a:lnTo>
                  <a:pt x="6475285" y="6465478"/>
                </a:lnTo>
                <a:lnTo>
                  <a:pt x="6475285" y="6475349"/>
                </a:lnTo>
                <a:lnTo>
                  <a:pt x="6471266" y="6479388"/>
                </a:lnTo>
                <a:lnTo>
                  <a:pt x="6461356" y="6479388"/>
                </a:lnTo>
                <a:lnTo>
                  <a:pt x="6457337" y="6475349"/>
                </a:lnTo>
                <a:lnTo>
                  <a:pt x="6457337" y="6465478"/>
                </a:lnTo>
                <a:close/>
                <a:moveTo>
                  <a:pt x="6222042" y="6461440"/>
                </a:moveTo>
                <a:lnTo>
                  <a:pt x="6231952" y="6461440"/>
                </a:lnTo>
                <a:lnTo>
                  <a:pt x="6235971" y="6465478"/>
                </a:lnTo>
                <a:lnTo>
                  <a:pt x="6235971" y="6475349"/>
                </a:lnTo>
                <a:lnTo>
                  <a:pt x="6231952" y="6479388"/>
                </a:lnTo>
                <a:lnTo>
                  <a:pt x="6222042" y="6479388"/>
                </a:lnTo>
                <a:lnTo>
                  <a:pt x="6218023" y="6475349"/>
                </a:lnTo>
                <a:lnTo>
                  <a:pt x="6218023" y="6465478"/>
                </a:lnTo>
                <a:close/>
                <a:moveTo>
                  <a:pt x="5982729" y="6461440"/>
                </a:moveTo>
                <a:lnTo>
                  <a:pt x="5992639" y="6461440"/>
                </a:lnTo>
                <a:lnTo>
                  <a:pt x="5996658" y="6465478"/>
                </a:lnTo>
                <a:lnTo>
                  <a:pt x="5996658" y="6475349"/>
                </a:lnTo>
                <a:lnTo>
                  <a:pt x="5992639" y="6479388"/>
                </a:lnTo>
                <a:lnTo>
                  <a:pt x="5982729" y="6479388"/>
                </a:lnTo>
                <a:lnTo>
                  <a:pt x="5978710" y="6475349"/>
                </a:lnTo>
                <a:lnTo>
                  <a:pt x="5978710" y="6465478"/>
                </a:lnTo>
                <a:close/>
                <a:moveTo>
                  <a:pt x="5743412" y="6461440"/>
                </a:moveTo>
                <a:lnTo>
                  <a:pt x="5753323" y="6461440"/>
                </a:lnTo>
                <a:lnTo>
                  <a:pt x="5757342" y="6465478"/>
                </a:lnTo>
                <a:lnTo>
                  <a:pt x="5757342" y="6475349"/>
                </a:lnTo>
                <a:lnTo>
                  <a:pt x="5753323" y="6479388"/>
                </a:lnTo>
                <a:lnTo>
                  <a:pt x="5743412" y="6479388"/>
                </a:lnTo>
                <a:lnTo>
                  <a:pt x="5739393" y="6475349"/>
                </a:lnTo>
                <a:lnTo>
                  <a:pt x="5739393" y="6465478"/>
                </a:lnTo>
                <a:close/>
                <a:moveTo>
                  <a:pt x="5504099" y="6461440"/>
                </a:moveTo>
                <a:lnTo>
                  <a:pt x="5514010" y="6461440"/>
                </a:lnTo>
                <a:lnTo>
                  <a:pt x="5518029" y="6465478"/>
                </a:lnTo>
                <a:lnTo>
                  <a:pt x="5518029" y="6475349"/>
                </a:lnTo>
                <a:lnTo>
                  <a:pt x="5514010" y="6479388"/>
                </a:lnTo>
                <a:lnTo>
                  <a:pt x="5504099" y="6479388"/>
                </a:lnTo>
                <a:lnTo>
                  <a:pt x="5500080" y="6475349"/>
                </a:lnTo>
                <a:lnTo>
                  <a:pt x="5500080" y="6465478"/>
                </a:lnTo>
                <a:close/>
                <a:moveTo>
                  <a:pt x="5264784" y="6461440"/>
                </a:moveTo>
                <a:lnTo>
                  <a:pt x="5274694" y="6461440"/>
                </a:lnTo>
                <a:lnTo>
                  <a:pt x="5278713" y="6465478"/>
                </a:lnTo>
                <a:lnTo>
                  <a:pt x="5278713" y="6475349"/>
                </a:lnTo>
                <a:lnTo>
                  <a:pt x="5274694" y="6479388"/>
                </a:lnTo>
                <a:lnTo>
                  <a:pt x="5264784" y="6479388"/>
                </a:lnTo>
                <a:lnTo>
                  <a:pt x="5260765" y="6475349"/>
                </a:lnTo>
                <a:lnTo>
                  <a:pt x="5260765" y="6465478"/>
                </a:lnTo>
                <a:close/>
                <a:moveTo>
                  <a:pt x="5025470" y="6461440"/>
                </a:moveTo>
                <a:lnTo>
                  <a:pt x="5035381" y="6461440"/>
                </a:lnTo>
                <a:lnTo>
                  <a:pt x="5039400" y="6465478"/>
                </a:lnTo>
                <a:lnTo>
                  <a:pt x="5039400" y="6475349"/>
                </a:lnTo>
                <a:lnTo>
                  <a:pt x="5035381" y="6479388"/>
                </a:lnTo>
                <a:lnTo>
                  <a:pt x="5025470" y="6479388"/>
                </a:lnTo>
                <a:lnTo>
                  <a:pt x="5021451" y="6475349"/>
                </a:lnTo>
                <a:lnTo>
                  <a:pt x="5021451" y="6465478"/>
                </a:lnTo>
                <a:close/>
                <a:moveTo>
                  <a:pt x="4786241" y="6461440"/>
                </a:moveTo>
                <a:lnTo>
                  <a:pt x="4796152" y="6461440"/>
                </a:lnTo>
                <a:lnTo>
                  <a:pt x="4800171" y="6465478"/>
                </a:lnTo>
                <a:lnTo>
                  <a:pt x="4800171" y="6475349"/>
                </a:lnTo>
                <a:lnTo>
                  <a:pt x="4796152" y="6479388"/>
                </a:lnTo>
                <a:lnTo>
                  <a:pt x="4786241" y="6479388"/>
                </a:lnTo>
                <a:lnTo>
                  <a:pt x="4782224" y="6475349"/>
                </a:lnTo>
                <a:lnTo>
                  <a:pt x="4782224" y="6465478"/>
                </a:lnTo>
                <a:close/>
                <a:moveTo>
                  <a:pt x="4546929" y="6461440"/>
                </a:moveTo>
                <a:lnTo>
                  <a:pt x="4556840" y="6461440"/>
                </a:lnTo>
                <a:lnTo>
                  <a:pt x="4560859" y="6465478"/>
                </a:lnTo>
                <a:lnTo>
                  <a:pt x="4560859" y="6475349"/>
                </a:lnTo>
                <a:lnTo>
                  <a:pt x="4556840" y="6479388"/>
                </a:lnTo>
                <a:lnTo>
                  <a:pt x="4546929" y="6479388"/>
                </a:lnTo>
                <a:lnTo>
                  <a:pt x="4542910" y="6475349"/>
                </a:lnTo>
                <a:lnTo>
                  <a:pt x="4542910" y="6465478"/>
                </a:lnTo>
                <a:close/>
                <a:moveTo>
                  <a:pt x="4307612" y="6461440"/>
                </a:moveTo>
                <a:lnTo>
                  <a:pt x="4317523" y="6461440"/>
                </a:lnTo>
                <a:lnTo>
                  <a:pt x="4321543" y="6465478"/>
                </a:lnTo>
                <a:lnTo>
                  <a:pt x="4321543" y="6475349"/>
                </a:lnTo>
                <a:lnTo>
                  <a:pt x="4317523" y="6479388"/>
                </a:lnTo>
                <a:lnTo>
                  <a:pt x="4307612" y="6479388"/>
                </a:lnTo>
                <a:lnTo>
                  <a:pt x="4303595" y="6475349"/>
                </a:lnTo>
                <a:lnTo>
                  <a:pt x="4303595" y="6465478"/>
                </a:lnTo>
                <a:close/>
                <a:moveTo>
                  <a:pt x="4068297" y="6461440"/>
                </a:moveTo>
                <a:lnTo>
                  <a:pt x="4078210" y="6461440"/>
                </a:lnTo>
                <a:lnTo>
                  <a:pt x="4082229" y="6465478"/>
                </a:lnTo>
                <a:lnTo>
                  <a:pt x="4082229" y="6475349"/>
                </a:lnTo>
                <a:lnTo>
                  <a:pt x="4078210" y="6479388"/>
                </a:lnTo>
                <a:lnTo>
                  <a:pt x="4068297" y="6479388"/>
                </a:lnTo>
                <a:lnTo>
                  <a:pt x="4064278" y="6475349"/>
                </a:lnTo>
                <a:lnTo>
                  <a:pt x="4064278" y="6465478"/>
                </a:lnTo>
                <a:close/>
                <a:moveTo>
                  <a:pt x="3828990" y="6461440"/>
                </a:moveTo>
                <a:lnTo>
                  <a:pt x="3838899" y="6461440"/>
                </a:lnTo>
                <a:lnTo>
                  <a:pt x="3842917" y="6465478"/>
                </a:lnTo>
                <a:lnTo>
                  <a:pt x="3842917" y="6475349"/>
                </a:lnTo>
                <a:lnTo>
                  <a:pt x="3838899" y="6479388"/>
                </a:lnTo>
                <a:lnTo>
                  <a:pt x="3828990" y="6479388"/>
                </a:lnTo>
                <a:lnTo>
                  <a:pt x="3824971" y="6475349"/>
                </a:lnTo>
                <a:lnTo>
                  <a:pt x="3824971" y="6465478"/>
                </a:lnTo>
                <a:close/>
                <a:moveTo>
                  <a:pt x="3589676" y="6461440"/>
                </a:moveTo>
                <a:lnTo>
                  <a:pt x="3599585" y="6461440"/>
                </a:lnTo>
                <a:lnTo>
                  <a:pt x="3603604" y="6465478"/>
                </a:lnTo>
                <a:lnTo>
                  <a:pt x="3603604" y="6475349"/>
                </a:lnTo>
                <a:lnTo>
                  <a:pt x="3599585" y="6479388"/>
                </a:lnTo>
                <a:lnTo>
                  <a:pt x="3589676" y="6479388"/>
                </a:lnTo>
                <a:lnTo>
                  <a:pt x="3585657" y="6475349"/>
                </a:lnTo>
                <a:lnTo>
                  <a:pt x="3585657" y="6465478"/>
                </a:lnTo>
                <a:close/>
                <a:moveTo>
                  <a:pt x="3350359" y="6461440"/>
                </a:moveTo>
                <a:lnTo>
                  <a:pt x="3360268" y="6461440"/>
                </a:lnTo>
                <a:lnTo>
                  <a:pt x="3364287" y="6465478"/>
                </a:lnTo>
                <a:lnTo>
                  <a:pt x="3364287" y="6475349"/>
                </a:lnTo>
                <a:lnTo>
                  <a:pt x="3360268" y="6479388"/>
                </a:lnTo>
                <a:lnTo>
                  <a:pt x="3350359" y="6479388"/>
                </a:lnTo>
                <a:lnTo>
                  <a:pt x="3346340" y="6475349"/>
                </a:lnTo>
                <a:lnTo>
                  <a:pt x="3346340" y="6465478"/>
                </a:lnTo>
                <a:close/>
                <a:moveTo>
                  <a:pt x="3111048" y="6461440"/>
                </a:moveTo>
                <a:lnTo>
                  <a:pt x="3120959" y="6461440"/>
                </a:lnTo>
                <a:lnTo>
                  <a:pt x="3124977" y="6465478"/>
                </a:lnTo>
                <a:lnTo>
                  <a:pt x="3124977" y="6475349"/>
                </a:lnTo>
                <a:lnTo>
                  <a:pt x="3120959" y="6479388"/>
                </a:lnTo>
                <a:lnTo>
                  <a:pt x="3111048" y="6479388"/>
                </a:lnTo>
                <a:lnTo>
                  <a:pt x="3107029" y="6475349"/>
                </a:lnTo>
                <a:lnTo>
                  <a:pt x="3107029" y="6465478"/>
                </a:lnTo>
                <a:close/>
                <a:moveTo>
                  <a:pt x="2871737" y="6461440"/>
                </a:moveTo>
                <a:lnTo>
                  <a:pt x="2881646" y="6461440"/>
                </a:lnTo>
                <a:lnTo>
                  <a:pt x="2885666" y="6465478"/>
                </a:lnTo>
                <a:lnTo>
                  <a:pt x="2885666" y="6475349"/>
                </a:lnTo>
                <a:lnTo>
                  <a:pt x="2881646" y="6479388"/>
                </a:lnTo>
                <a:lnTo>
                  <a:pt x="2871737" y="6479388"/>
                </a:lnTo>
                <a:lnTo>
                  <a:pt x="2867717" y="6475349"/>
                </a:lnTo>
                <a:lnTo>
                  <a:pt x="2867717" y="6465478"/>
                </a:lnTo>
                <a:close/>
                <a:moveTo>
                  <a:pt x="2632423" y="6461440"/>
                </a:moveTo>
                <a:lnTo>
                  <a:pt x="2642334" y="6461440"/>
                </a:lnTo>
                <a:lnTo>
                  <a:pt x="2646352" y="6465478"/>
                </a:lnTo>
                <a:lnTo>
                  <a:pt x="2646352" y="6475349"/>
                </a:lnTo>
                <a:lnTo>
                  <a:pt x="2642334" y="6479388"/>
                </a:lnTo>
                <a:lnTo>
                  <a:pt x="2632423" y="6479388"/>
                </a:lnTo>
                <a:lnTo>
                  <a:pt x="2628404" y="6475349"/>
                </a:lnTo>
                <a:lnTo>
                  <a:pt x="2628404" y="6465478"/>
                </a:lnTo>
                <a:close/>
                <a:moveTo>
                  <a:pt x="2393104" y="6461440"/>
                </a:moveTo>
                <a:lnTo>
                  <a:pt x="2403015" y="6461440"/>
                </a:lnTo>
                <a:lnTo>
                  <a:pt x="2407034" y="6465478"/>
                </a:lnTo>
                <a:lnTo>
                  <a:pt x="2407034" y="6475349"/>
                </a:lnTo>
                <a:lnTo>
                  <a:pt x="2403015" y="6479388"/>
                </a:lnTo>
                <a:lnTo>
                  <a:pt x="2393104" y="6479388"/>
                </a:lnTo>
                <a:lnTo>
                  <a:pt x="2389087" y="6475349"/>
                </a:lnTo>
                <a:lnTo>
                  <a:pt x="2389087" y="6465478"/>
                </a:lnTo>
                <a:close/>
                <a:moveTo>
                  <a:pt x="721958" y="6461440"/>
                </a:moveTo>
                <a:lnTo>
                  <a:pt x="731868" y="6461440"/>
                </a:lnTo>
                <a:lnTo>
                  <a:pt x="735887" y="6465478"/>
                </a:lnTo>
                <a:lnTo>
                  <a:pt x="735887" y="6475349"/>
                </a:lnTo>
                <a:lnTo>
                  <a:pt x="731868" y="6479388"/>
                </a:lnTo>
                <a:lnTo>
                  <a:pt x="721958" y="6479388"/>
                </a:lnTo>
                <a:lnTo>
                  <a:pt x="717939" y="6475349"/>
                </a:lnTo>
                <a:lnTo>
                  <a:pt x="717939" y="6465478"/>
                </a:lnTo>
                <a:close/>
                <a:moveTo>
                  <a:pt x="482646" y="6461440"/>
                </a:moveTo>
                <a:lnTo>
                  <a:pt x="492556" y="6461440"/>
                </a:lnTo>
                <a:lnTo>
                  <a:pt x="496575" y="6465478"/>
                </a:lnTo>
                <a:lnTo>
                  <a:pt x="496575" y="6475349"/>
                </a:lnTo>
                <a:lnTo>
                  <a:pt x="492556" y="6479388"/>
                </a:lnTo>
                <a:lnTo>
                  <a:pt x="482646" y="6479388"/>
                </a:lnTo>
                <a:lnTo>
                  <a:pt x="478627" y="6475349"/>
                </a:lnTo>
                <a:lnTo>
                  <a:pt x="478627" y="6465478"/>
                </a:lnTo>
                <a:close/>
                <a:moveTo>
                  <a:pt x="243332" y="6461440"/>
                </a:moveTo>
                <a:lnTo>
                  <a:pt x="253242" y="6461440"/>
                </a:lnTo>
                <a:lnTo>
                  <a:pt x="257261" y="6465478"/>
                </a:lnTo>
                <a:lnTo>
                  <a:pt x="257261" y="6475349"/>
                </a:lnTo>
                <a:lnTo>
                  <a:pt x="253242" y="6479388"/>
                </a:lnTo>
                <a:lnTo>
                  <a:pt x="243332" y="6479388"/>
                </a:lnTo>
                <a:lnTo>
                  <a:pt x="239313" y="6475349"/>
                </a:lnTo>
                <a:lnTo>
                  <a:pt x="239313" y="6465478"/>
                </a:lnTo>
                <a:close/>
                <a:moveTo>
                  <a:pt x="4019" y="6461440"/>
                </a:moveTo>
                <a:lnTo>
                  <a:pt x="13929" y="6461440"/>
                </a:lnTo>
                <a:lnTo>
                  <a:pt x="17949" y="6465478"/>
                </a:lnTo>
                <a:lnTo>
                  <a:pt x="17949" y="6475349"/>
                </a:lnTo>
                <a:lnTo>
                  <a:pt x="13929" y="6479388"/>
                </a:lnTo>
                <a:lnTo>
                  <a:pt x="4019" y="6479388"/>
                </a:lnTo>
                <a:lnTo>
                  <a:pt x="0" y="6475349"/>
                </a:lnTo>
                <a:lnTo>
                  <a:pt x="0" y="6465478"/>
                </a:lnTo>
                <a:close/>
                <a:moveTo>
                  <a:pt x="9572438" y="6222160"/>
                </a:moveTo>
                <a:lnTo>
                  <a:pt x="9582349" y="6222160"/>
                </a:lnTo>
                <a:lnTo>
                  <a:pt x="9586368" y="6226198"/>
                </a:lnTo>
                <a:lnTo>
                  <a:pt x="9586368" y="6236069"/>
                </a:lnTo>
                <a:lnTo>
                  <a:pt x="9582349" y="6240109"/>
                </a:lnTo>
                <a:lnTo>
                  <a:pt x="9572438" y="6240109"/>
                </a:lnTo>
                <a:lnTo>
                  <a:pt x="9568419" y="6236069"/>
                </a:lnTo>
                <a:lnTo>
                  <a:pt x="9568419" y="6226198"/>
                </a:lnTo>
                <a:close/>
                <a:moveTo>
                  <a:pt x="9333125" y="6222160"/>
                </a:moveTo>
                <a:lnTo>
                  <a:pt x="9343036" y="6222160"/>
                </a:lnTo>
                <a:lnTo>
                  <a:pt x="9347055" y="6226198"/>
                </a:lnTo>
                <a:lnTo>
                  <a:pt x="9347055" y="6236069"/>
                </a:lnTo>
                <a:lnTo>
                  <a:pt x="9343036" y="6240109"/>
                </a:lnTo>
                <a:lnTo>
                  <a:pt x="9333125" y="6240109"/>
                </a:lnTo>
                <a:lnTo>
                  <a:pt x="9329106" y="6236069"/>
                </a:lnTo>
                <a:lnTo>
                  <a:pt x="9329106" y="6226198"/>
                </a:lnTo>
                <a:close/>
                <a:moveTo>
                  <a:pt x="9093811" y="6222160"/>
                </a:moveTo>
                <a:lnTo>
                  <a:pt x="9103722" y="6222160"/>
                </a:lnTo>
                <a:lnTo>
                  <a:pt x="9107741" y="6226198"/>
                </a:lnTo>
                <a:lnTo>
                  <a:pt x="9107741" y="6236069"/>
                </a:lnTo>
                <a:lnTo>
                  <a:pt x="9103722" y="6240109"/>
                </a:lnTo>
                <a:lnTo>
                  <a:pt x="9093811" y="6240109"/>
                </a:lnTo>
                <a:lnTo>
                  <a:pt x="9089792" y="6236069"/>
                </a:lnTo>
                <a:lnTo>
                  <a:pt x="9089792" y="6226198"/>
                </a:lnTo>
                <a:close/>
                <a:moveTo>
                  <a:pt x="8854496" y="6222160"/>
                </a:moveTo>
                <a:lnTo>
                  <a:pt x="8864407" y="6222160"/>
                </a:lnTo>
                <a:lnTo>
                  <a:pt x="8868426" y="6226198"/>
                </a:lnTo>
                <a:lnTo>
                  <a:pt x="8868426" y="6236069"/>
                </a:lnTo>
                <a:lnTo>
                  <a:pt x="8864407" y="6240109"/>
                </a:lnTo>
                <a:lnTo>
                  <a:pt x="8854496" y="6240109"/>
                </a:lnTo>
                <a:lnTo>
                  <a:pt x="8850477" y="6236069"/>
                </a:lnTo>
                <a:lnTo>
                  <a:pt x="8850477" y="6226198"/>
                </a:lnTo>
                <a:close/>
                <a:moveTo>
                  <a:pt x="8615184" y="6222160"/>
                </a:moveTo>
                <a:lnTo>
                  <a:pt x="8625095" y="6222160"/>
                </a:lnTo>
                <a:lnTo>
                  <a:pt x="8629114" y="6226198"/>
                </a:lnTo>
                <a:lnTo>
                  <a:pt x="8629114" y="6236069"/>
                </a:lnTo>
                <a:lnTo>
                  <a:pt x="8625095" y="6240109"/>
                </a:lnTo>
                <a:lnTo>
                  <a:pt x="8615184" y="6240109"/>
                </a:lnTo>
                <a:lnTo>
                  <a:pt x="8611165" y="6236069"/>
                </a:lnTo>
                <a:lnTo>
                  <a:pt x="8611165" y="6226198"/>
                </a:lnTo>
                <a:close/>
                <a:moveTo>
                  <a:pt x="8375869" y="6222160"/>
                </a:moveTo>
                <a:lnTo>
                  <a:pt x="8385779" y="6222160"/>
                </a:lnTo>
                <a:lnTo>
                  <a:pt x="8389799" y="6226198"/>
                </a:lnTo>
                <a:lnTo>
                  <a:pt x="8389799" y="6236069"/>
                </a:lnTo>
                <a:lnTo>
                  <a:pt x="8385779" y="6240109"/>
                </a:lnTo>
                <a:lnTo>
                  <a:pt x="8375869" y="6240109"/>
                </a:lnTo>
                <a:lnTo>
                  <a:pt x="8371850" y="6236069"/>
                </a:lnTo>
                <a:lnTo>
                  <a:pt x="8371850" y="6226198"/>
                </a:lnTo>
                <a:close/>
                <a:moveTo>
                  <a:pt x="8136553" y="6222160"/>
                </a:moveTo>
                <a:lnTo>
                  <a:pt x="8146464" y="6222160"/>
                </a:lnTo>
                <a:lnTo>
                  <a:pt x="8150483" y="6226198"/>
                </a:lnTo>
                <a:lnTo>
                  <a:pt x="8150483" y="6236069"/>
                </a:lnTo>
                <a:lnTo>
                  <a:pt x="8146464" y="6240109"/>
                </a:lnTo>
                <a:lnTo>
                  <a:pt x="8136553" y="6240109"/>
                </a:lnTo>
                <a:lnTo>
                  <a:pt x="8132534" y="6236069"/>
                </a:lnTo>
                <a:lnTo>
                  <a:pt x="8132534" y="6226198"/>
                </a:lnTo>
                <a:close/>
                <a:moveTo>
                  <a:pt x="7897241" y="6222160"/>
                </a:moveTo>
                <a:lnTo>
                  <a:pt x="7907151" y="6222160"/>
                </a:lnTo>
                <a:lnTo>
                  <a:pt x="7911170" y="6226198"/>
                </a:lnTo>
                <a:lnTo>
                  <a:pt x="7911170" y="6236069"/>
                </a:lnTo>
                <a:lnTo>
                  <a:pt x="7907151" y="6240109"/>
                </a:lnTo>
                <a:lnTo>
                  <a:pt x="7897241" y="6240109"/>
                </a:lnTo>
                <a:lnTo>
                  <a:pt x="7893222" y="6236069"/>
                </a:lnTo>
                <a:lnTo>
                  <a:pt x="7893222" y="6226198"/>
                </a:lnTo>
                <a:close/>
                <a:moveTo>
                  <a:pt x="7657926" y="6222160"/>
                </a:moveTo>
                <a:lnTo>
                  <a:pt x="7667836" y="6222160"/>
                </a:lnTo>
                <a:lnTo>
                  <a:pt x="7671855" y="6226198"/>
                </a:lnTo>
                <a:lnTo>
                  <a:pt x="7671855" y="6236069"/>
                </a:lnTo>
                <a:lnTo>
                  <a:pt x="7667836" y="6240109"/>
                </a:lnTo>
                <a:lnTo>
                  <a:pt x="7657926" y="6240109"/>
                </a:lnTo>
                <a:lnTo>
                  <a:pt x="7653906" y="6236069"/>
                </a:lnTo>
                <a:lnTo>
                  <a:pt x="7653906" y="6226198"/>
                </a:lnTo>
                <a:close/>
                <a:moveTo>
                  <a:pt x="7418611" y="6222160"/>
                </a:moveTo>
                <a:lnTo>
                  <a:pt x="7428521" y="6222160"/>
                </a:lnTo>
                <a:lnTo>
                  <a:pt x="7432540" y="6226198"/>
                </a:lnTo>
                <a:lnTo>
                  <a:pt x="7432540" y="6236069"/>
                </a:lnTo>
                <a:lnTo>
                  <a:pt x="7428521" y="6240109"/>
                </a:lnTo>
                <a:lnTo>
                  <a:pt x="7418611" y="6240109"/>
                </a:lnTo>
                <a:lnTo>
                  <a:pt x="7414592" y="6236069"/>
                </a:lnTo>
                <a:lnTo>
                  <a:pt x="7414592" y="6226198"/>
                </a:lnTo>
                <a:close/>
                <a:moveTo>
                  <a:pt x="7179298" y="6222160"/>
                </a:moveTo>
                <a:lnTo>
                  <a:pt x="7189209" y="6222160"/>
                </a:lnTo>
                <a:lnTo>
                  <a:pt x="7193228" y="6226198"/>
                </a:lnTo>
                <a:lnTo>
                  <a:pt x="7193228" y="6236069"/>
                </a:lnTo>
                <a:lnTo>
                  <a:pt x="7189209" y="6240109"/>
                </a:lnTo>
                <a:lnTo>
                  <a:pt x="7179298" y="6240109"/>
                </a:lnTo>
                <a:lnTo>
                  <a:pt x="7175279" y="6236069"/>
                </a:lnTo>
                <a:lnTo>
                  <a:pt x="7175279" y="6226198"/>
                </a:lnTo>
                <a:close/>
                <a:moveTo>
                  <a:pt x="6939983" y="6222160"/>
                </a:moveTo>
                <a:lnTo>
                  <a:pt x="6949894" y="6222160"/>
                </a:lnTo>
                <a:lnTo>
                  <a:pt x="6953913" y="6226198"/>
                </a:lnTo>
                <a:lnTo>
                  <a:pt x="6953913" y="6236069"/>
                </a:lnTo>
                <a:lnTo>
                  <a:pt x="6949894" y="6240109"/>
                </a:lnTo>
                <a:lnTo>
                  <a:pt x="6939983" y="6240109"/>
                </a:lnTo>
                <a:lnTo>
                  <a:pt x="6935964" y="6236069"/>
                </a:lnTo>
                <a:lnTo>
                  <a:pt x="6935964" y="6226198"/>
                </a:lnTo>
                <a:close/>
                <a:moveTo>
                  <a:pt x="6700670" y="6222160"/>
                </a:moveTo>
                <a:lnTo>
                  <a:pt x="6710581" y="6222160"/>
                </a:lnTo>
                <a:lnTo>
                  <a:pt x="6714600" y="6226198"/>
                </a:lnTo>
                <a:lnTo>
                  <a:pt x="6714600" y="6236069"/>
                </a:lnTo>
                <a:lnTo>
                  <a:pt x="6710581" y="6240109"/>
                </a:lnTo>
                <a:lnTo>
                  <a:pt x="6700670" y="6240109"/>
                </a:lnTo>
                <a:lnTo>
                  <a:pt x="6696651" y="6236069"/>
                </a:lnTo>
                <a:lnTo>
                  <a:pt x="6696651" y="6226198"/>
                </a:lnTo>
                <a:close/>
                <a:moveTo>
                  <a:pt x="6461356" y="6222160"/>
                </a:moveTo>
                <a:lnTo>
                  <a:pt x="6471266" y="6222160"/>
                </a:lnTo>
                <a:lnTo>
                  <a:pt x="6475285" y="6226198"/>
                </a:lnTo>
                <a:lnTo>
                  <a:pt x="6475285" y="6236069"/>
                </a:lnTo>
                <a:lnTo>
                  <a:pt x="6471266" y="6240109"/>
                </a:lnTo>
                <a:lnTo>
                  <a:pt x="6461356" y="6240109"/>
                </a:lnTo>
                <a:lnTo>
                  <a:pt x="6457337" y="6236069"/>
                </a:lnTo>
                <a:lnTo>
                  <a:pt x="6457337" y="6226198"/>
                </a:lnTo>
                <a:close/>
                <a:moveTo>
                  <a:pt x="6222042" y="6222160"/>
                </a:moveTo>
                <a:lnTo>
                  <a:pt x="6231952" y="6222160"/>
                </a:lnTo>
                <a:lnTo>
                  <a:pt x="6235971" y="6226198"/>
                </a:lnTo>
                <a:lnTo>
                  <a:pt x="6235971" y="6236069"/>
                </a:lnTo>
                <a:lnTo>
                  <a:pt x="6231952" y="6240109"/>
                </a:lnTo>
                <a:lnTo>
                  <a:pt x="6222042" y="6240109"/>
                </a:lnTo>
                <a:lnTo>
                  <a:pt x="6218023" y="6236069"/>
                </a:lnTo>
                <a:lnTo>
                  <a:pt x="6218023" y="6226198"/>
                </a:lnTo>
                <a:close/>
                <a:moveTo>
                  <a:pt x="5982729" y="6222160"/>
                </a:moveTo>
                <a:lnTo>
                  <a:pt x="5992639" y="6222160"/>
                </a:lnTo>
                <a:lnTo>
                  <a:pt x="5996658" y="6226198"/>
                </a:lnTo>
                <a:lnTo>
                  <a:pt x="5996658" y="6236069"/>
                </a:lnTo>
                <a:lnTo>
                  <a:pt x="5992639" y="6240109"/>
                </a:lnTo>
                <a:lnTo>
                  <a:pt x="5982729" y="6240109"/>
                </a:lnTo>
                <a:lnTo>
                  <a:pt x="5978710" y="6236069"/>
                </a:lnTo>
                <a:lnTo>
                  <a:pt x="5978710" y="6226198"/>
                </a:lnTo>
                <a:close/>
                <a:moveTo>
                  <a:pt x="5743412" y="6222160"/>
                </a:moveTo>
                <a:lnTo>
                  <a:pt x="5753323" y="6222160"/>
                </a:lnTo>
                <a:lnTo>
                  <a:pt x="5757342" y="6226198"/>
                </a:lnTo>
                <a:lnTo>
                  <a:pt x="5757342" y="6236069"/>
                </a:lnTo>
                <a:lnTo>
                  <a:pt x="5753323" y="6240109"/>
                </a:lnTo>
                <a:lnTo>
                  <a:pt x="5743412" y="6240109"/>
                </a:lnTo>
                <a:lnTo>
                  <a:pt x="5739393" y="6236069"/>
                </a:lnTo>
                <a:lnTo>
                  <a:pt x="5739393" y="6226198"/>
                </a:lnTo>
                <a:close/>
                <a:moveTo>
                  <a:pt x="5504099" y="6222160"/>
                </a:moveTo>
                <a:lnTo>
                  <a:pt x="5514010" y="6222160"/>
                </a:lnTo>
                <a:lnTo>
                  <a:pt x="5518029" y="6226198"/>
                </a:lnTo>
                <a:lnTo>
                  <a:pt x="5518029" y="6236069"/>
                </a:lnTo>
                <a:lnTo>
                  <a:pt x="5514010" y="6240109"/>
                </a:lnTo>
                <a:lnTo>
                  <a:pt x="5504099" y="6240109"/>
                </a:lnTo>
                <a:lnTo>
                  <a:pt x="5500080" y="6236069"/>
                </a:lnTo>
                <a:lnTo>
                  <a:pt x="5500080" y="6226198"/>
                </a:lnTo>
                <a:close/>
                <a:moveTo>
                  <a:pt x="5264784" y="6222160"/>
                </a:moveTo>
                <a:lnTo>
                  <a:pt x="5274694" y="6222160"/>
                </a:lnTo>
                <a:lnTo>
                  <a:pt x="5278713" y="6226198"/>
                </a:lnTo>
                <a:lnTo>
                  <a:pt x="5278713" y="6236069"/>
                </a:lnTo>
                <a:lnTo>
                  <a:pt x="5274694" y="6240109"/>
                </a:lnTo>
                <a:lnTo>
                  <a:pt x="5264784" y="6240109"/>
                </a:lnTo>
                <a:lnTo>
                  <a:pt x="5260765" y="6236069"/>
                </a:lnTo>
                <a:lnTo>
                  <a:pt x="5260765" y="6226198"/>
                </a:lnTo>
                <a:close/>
                <a:moveTo>
                  <a:pt x="5025470" y="6222160"/>
                </a:moveTo>
                <a:lnTo>
                  <a:pt x="5035381" y="6222160"/>
                </a:lnTo>
                <a:lnTo>
                  <a:pt x="5039400" y="6226198"/>
                </a:lnTo>
                <a:lnTo>
                  <a:pt x="5039400" y="6236069"/>
                </a:lnTo>
                <a:lnTo>
                  <a:pt x="5035381" y="6240109"/>
                </a:lnTo>
                <a:lnTo>
                  <a:pt x="5025470" y="6240109"/>
                </a:lnTo>
                <a:lnTo>
                  <a:pt x="5021451" y="6236069"/>
                </a:lnTo>
                <a:lnTo>
                  <a:pt x="5021451" y="6226198"/>
                </a:lnTo>
                <a:close/>
                <a:moveTo>
                  <a:pt x="4786241" y="6222160"/>
                </a:moveTo>
                <a:lnTo>
                  <a:pt x="4796152" y="6222160"/>
                </a:lnTo>
                <a:lnTo>
                  <a:pt x="4800171" y="6226198"/>
                </a:lnTo>
                <a:lnTo>
                  <a:pt x="4800171" y="6236069"/>
                </a:lnTo>
                <a:lnTo>
                  <a:pt x="4796152" y="6240109"/>
                </a:lnTo>
                <a:lnTo>
                  <a:pt x="4786241" y="6240109"/>
                </a:lnTo>
                <a:lnTo>
                  <a:pt x="4782224" y="6236069"/>
                </a:lnTo>
                <a:lnTo>
                  <a:pt x="4782224" y="6226198"/>
                </a:lnTo>
                <a:close/>
                <a:moveTo>
                  <a:pt x="4546929" y="6222160"/>
                </a:moveTo>
                <a:lnTo>
                  <a:pt x="4556840" y="6222160"/>
                </a:lnTo>
                <a:lnTo>
                  <a:pt x="4560859" y="6226198"/>
                </a:lnTo>
                <a:lnTo>
                  <a:pt x="4560859" y="6236069"/>
                </a:lnTo>
                <a:lnTo>
                  <a:pt x="4556840" y="6240109"/>
                </a:lnTo>
                <a:lnTo>
                  <a:pt x="4546929" y="6240109"/>
                </a:lnTo>
                <a:lnTo>
                  <a:pt x="4542910" y="6236069"/>
                </a:lnTo>
                <a:lnTo>
                  <a:pt x="4542910" y="6226198"/>
                </a:lnTo>
                <a:close/>
                <a:moveTo>
                  <a:pt x="4307612" y="6222160"/>
                </a:moveTo>
                <a:lnTo>
                  <a:pt x="4317523" y="6222160"/>
                </a:lnTo>
                <a:lnTo>
                  <a:pt x="4321543" y="6226198"/>
                </a:lnTo>
                <a:lnTo>
                  <a:pt x="4321543" y="6236069"/>
                </a:lnTo>
                <a:lnTo>
                  <a:pt x="4317523" y="6240109"/>
                </a:lnTo>
                <a:lnTo>
                  <a:pt x="4307612" y="6240109"/>
                </a:lnTo>
                <a:lnTo>
                  <a:pt x="4303595" y="6236069"/>
                </a:lnTo>
                <a:lnTo>
                  <a:pt x="4303595" y="6226198"/>
                </a:lnTo>
                <a:close/>
                <a:moveTo>
                  <a:pt x="4068297" y="6222160"/>
                </a:moveTo>
                <a:lnTo>
                  <a:pt x="4078210" y="6222160"/>
                </a:lnTo>
                <a:lnTo>
                  <a:pt x="4082229" y="6226198"/>
                </a:lnTo>
                <a:lnTo>
                  <a:pt x="4082229" y="6236069"/>
                </a:lnTo>
                <a:lnTo>
                  <a:pt x="4078210" y="6240109"/>
                </a:lnTo>
                <a:lnTo>
                  <a:pt x="4068297" y="6240109"/>
                </a:lnTo>
                <a:lnTo>
                  <a:pt x="4064278" y="6236069"/>
                </a:lnTo>
                <a:lnTo>
                  <a:pt x="4064278" y="6226198"/>
                </a:lnTo>
                <a:close/>
                <a:moveTo>
                  <a:pt x="3828990" y="6222160"/>
                </a:moveTo>
                <a:lnTo>
                  <a:pt x="3838899" y="6222160"/>
                </a:lnTo>
                <a:lnTo>
                  <a:pt x="3842917" y="6226198"/>
                </a:lnTo>
                <a:lnTo>
                  <a:pt x="3842917" y="6236069"/>
                </a:lnTo>
                <a:lnTo>
                  <a:pt x="3838899" y="6240109"/>
                </a:lnTo>
                <a:lnTo>
                  <a:pt x="3828990" y="6240109"/>
                </a:lnTo>
                <a:lnTo>
                  <a:pt x="3824971" y="6236069"/>
                </a:lnTo>
                <a:lnTo>
                  <a:pt x="3824971" y="6226198"/>
                </a:lnTo>
                <a:close/>
                <a:moveTo>
                  <a:pt x="3589676" y="6222160"/>
                </a:moveTo>
                <a:lnTo>
                  <a:pt x="3599585" y="6222160"/>
                </a:lnTo>
                <a:lnTo>
                  <a:pt x="3603604" y="6226198"/>
                </a:lnTo>
                <a:lnTo>
                  <a:pt x="3603604" y="6236069"/>
                </a:lnTo>
                <a:lnTo>
                  <a:pt x="3599585" y="6240109"/>
                </a:lnTo>
                <a:lnTo>
                  <a:pt x="3589676" y="6240109"/>
                </a:lnTo>
                <a:lnTo>
                  <a:pt x="3585657" y="6236069"/>
                </a:lnTo>
                <a:lnTo>
                  <a:pt x="3585657" y="6226198"/>
                </a:lnTo>
                <a:close/>
                <a:moveTo>
                  <a:pt x="3350359" y="6222160"/>
                </a:moveTo>
                <a:lnTo>
                  <a:pt x="3360268" y="6222160"/>
                </a:lnTo>
                <a:lnTo>
                  <a:pt x="3364287" y="6226198"/>
                </a:lnTo>
                <a:lnTo>
                  <a:pt x="3364287" y="6236069"/>
                </a:lnTo>
                <a:lnTo>
                  <a:pt x="3360268" y="6240109"/>
                </a:lnTo>
                <a:lnTo>
                  <a:pt x="3350359" y="6240109"/>
                </a:lnTo>
                <a:lnTo>
                  <a:pt x="3346340" y="6236069"/>
                </a:lnTo>
                <a:lnTo>
                  <a:pt x="3346340" y="6226198"/>
                </a:lnTo>
                <a:close/>
                <a:moveTo>
                  <a:pt x="3111048" y="6222160"/>
                </a:moveTo>
                <a:lnTo>
                  <a:pt x="3120959" y="6222160"/>
                </a:lnTo>
                <a:lnTo>
                  <a:pt x="3124977" y="6226198"/>
                </a:lnTo>
                <a:lnTo>
                  <a:pt x="3124977" y="6236069"/>
                </a:lnTo>
                <a:lnTo>
                  <a:pt x="3120959" y="6240109"/>
                </a:lnTo>
                <a:lnTo>
                  <a:pt x="3111048" y="6240109"/>
                </a:lnTo>
                <a:lnTo>
                  <a:pt x="3107029" y="6236069"/>
                </a:lnTo>
                <a:lnTo>
                  <a:pt x="3107029" y="6226198"/>
                </a:lnTo>
                <a:close/>
                <a:moveTo>
                  <a:pt x="2871737" y="6222160"/>
                </a:moveTo>
                <a:lnTo>
                  <a:pt x="2881646" y="6222160"/>
                </a:lnTo>
                <a:lnTo>
                  <a:pt x="2885666" y="6226198"/>
                </a:lnTo>
                <a:lnTo>
                  <a:pt x="2885666" y="6236069"/>
                </a:lnTo>
                <a:lnTo>
                  <a:pt x="2881646" y="6240109"/>
                </a:lnTo>
                <a:lnTo>
                  <a:pt x="2871737" y="6240109"/>
                </a:lnTo>
                <a:lnTo>
                  <a:pt x="2867717" y="6236069"/>
                </a:lnTo>
                <a:lnTo>
                  <a:pt x="2867717" y="6226198"/>
                </a:lnTo>
                <a:close/>
                <a:moveTo>
                  <a:pt x="2632423" y="6222160"/>
                </a:moveTo>
                <a:lnTo>
                  <a:pt x="2642334" y="6222160"/>
                </a:lnTo>
                <a:lnTo>
                  <a:pt x="2646352" y="6226198"/>
                </a:lnTo>
                <a:lnTo>
                  <a:pt x="2646352" y="6236069"/>
                </a:lnTo>
                <a:lnTo>
                  <a:pt x="2642334" y="6240109"/>
                </a:lnTo>
                <a:lnTo>
                  <a:pt x="2632423" y="6240109"/>
                </a:lnTo>
                <a:lnTo>
                  <a:pt x="2628404" y="6236069"/>
                </a:lnTo>
                <a:lnTo>
                  <a:pt x="2628404" y="6226198"/>
                </a:lnTo>
                <a:close/>
                <a:moveTo>
                  <a:pt x="2393104" y="6222160"/>
                </a:moveTo>
                <a:lnTo>
                  <a:pt x="2403015" y="6222160"/>
                </a:lnTo>
                <a:lnTo>
                  <a:pt x="2407034" y="6226198"/>
                </a:lnTo>
                <a:lnTo>
                  <a:pt x="2407034" y="6236069"/>
                </a:lnTo>
                <a:lnTo>
                  <a:pt x="2403015" y="6240109"/>
                </a:lnTo>
                <a:lnTo>
                  <a:pt x="2393104" y="6240109"/>
                </a:lnTo>
                <a:lnTo>
                  <a:pt x="2389087" y="6236069"/>
                </a:lnTo>
                <a:lnTo>
                  <a:pt x="2389087" y="6226198"/>
                </a:lnTo>
                <a:close/>
                <a:moveTo>
                  <a:pt x="2157818" y="6222160"/>
                </a:moveTo>
                <a:lnTo>
                  <a:pt x="2167728" y="6222160"/>
                </a:lnTo>
                <a:lnTo>
                  <a:pt x="2171746" y="6226198"/>
                </a:lnTo>
                <a:lnTo>
                  <a:pt x="2171746" y="6236069"/>
                </a:lnTo>
                <a:lnTo>
                  <a:pt x="2167728" y="6240109"/>
                </a:lnTo>
                <a:lnTo>
                  <a:pt x="2157818" y="6240109"/>
                </a:lnTo>
                <a:lnTo>
                  <a:pt x="2153799" y="6236069"/>
                </a:lnTo>
                <a:lnTo>
                  <a:pt x="2153799" y="6226198"/>
                </a:lnTo>
                <a:close/>
                <a:moveTo>
                  <a:pt x="1918509" y="6222160"/>
                </a:moveTo>
                <a:lnTo>
                  <a:pt x="1928419" y="6222160"/>
                </a:lnTo>
                <a:lnTo>
                  <a:pt x="1932438" y="6226198"/>
                </a:lnTo>
                <a:lnTo>
                  <a:pt x="1932438" y="6236069"/>
                </a:lnTo>
                <a:lnTo>
                  <a:pt x="1928419" y="6240109"/>
                </a:lnTo>
                <a:lnTo>
                  <a:pt x="1918509" y="6240109"/>
                </a:lnTo>
                <a:lnTo>
                  <a:pt x="1914490" y="6236069"/>
                </a:lnTo>
                <a:lnTo>
                  <a:pt x="1914490" y="6226198"/>
                </a:lnTo>
                <a:close/>
                <a:moveTo>
                  <a:pt x="1679200" y="6222160"/>
                </a:moveTo>
                <a:lnTo>
                  <a:pt x="1689110" y="6222160"/>
                </a:lnTo>
                <a:lnTo>
                  <a:pt x="1693129" y="6226198"/>
                </a:lnTo>
                <a:lnTo>
                  <a:pt x="1693129" y="6236069"/>
                </a:lnTo>
                <a:lnTo>
                  <a:pt x="1689110" y="6240109"/>
                </a:lnTo>
                <a:lnTo>
                  <a:pt x="1679200" y="6240109"/>
                </a:lnTo>
                <a:lnTo>
                  <a:pt x="1675182" y="6236069"/>
                </a:lnTo>
                <a:lnTo>
                  <a:pt x="1675182" y="6226198"/>
                </a:lnTo>
                <a:close/>
                <a:moveTo>
                  <a:pt x="1439885" y="6222160"/>
                </a:moveTo>
                <a:lnTo>
                  <a:pt x="1449795" y="6222160"/>
                </a:lnTo>
                <a:lnTo>
                  <a:pt x="1453814" y="6226198"/>
                </a:lnTo>
                <a:lnTo>
                  <a:pt x="1453814" y="6236069"/>
                </a:lnTo>
                <a:lnTo>
                  <a:pt x="1449795" y="6240109"/>
                </a:lnTo>
                <a:lnTo>
                  <a:pt x="1439885" y="6240109"/>
                </a:lnTo>
                <a:lnTo>
                  <a:pt x="1435866" y="6236069"/>
                </a:lnTo>
                <a:lnTo>
                  <a:pt x="1435866" y="6226198"/>
                </a:lnTo>
                <a:close/>
                <a:moveTo>
                  <a:pt x="1200570" y="6222160"/>
                </a:moveTo>
                <a:lnTo>
                  <a:pt x="1210481" y="6222160"/>
                </a:lnTo>
                <a:lnTo>
                  <a:pt x="1214499" y="6226198"/>
                </a:lnTo>
                <a:lnTo>
                  <a:pt x="1214499" y="6236069"/>
                </a:lnTo>
                <a:lnTo>
                  <a:pt x="1210481" y="6240109"/>
                </a:lnTo>
                <a:lnTo>
                  <a:pt x="1200570" y="6240109"/>
                </a:lnTo>
                <a:lnTo>
                  <a:pt x="1196551" y="6236069"/>
                </a:lnTo>
                <a:lnTo>
                  <a:pt x="1196551" y="6226198"/>
                </a:lnTo>
                <a:close/>
                <a:moveTo>
                  <a:pt x="961258" y="6222160"/>
                </a:moveTo>
                <a:lnTo>
                  <a:pt x="971167" y="6222160"/>
                </a:lnTo>
                <a:lnTo>
                  <a:pt x="975186" y="6226198"/>
                </a:lnTo>
                <a:lnTo>
                  <a:pt x="975186" y="6236069"/>
                </a:lnTo>
                <a:lnTo>
                  <a:pt x="971167" y="6240109"/>
                </a:lnTo>
                <a:lnTo>
                  <a:pt x="961258" y="6240109"/>
                </a:lnTo>
                <a:lnTo>
                  <a:pt x="957239" y="6236069"/>
                </a:lnTo>
                <a:lnTo>
                  <a:pt x="957239" y="6226198"/>
                </a:lnTo>
                <a:close/>
                <a:moveTo>
                  <a:pt x="721959" y="6222160"/>
                </a:moveTo>
                <a:lnTo>
                  <a:pt x="731869" y="6222160"/>
                </a:lnTo>
                <a:lnTo>
                  <a:pt x="735888" y="6226198"/>
                </a:lnTo>
                <a:lnTo>
                  <a:pt x="735888" y="6236069"/>
                </a:lnTo>
                <a:lnTo>
                  <a:pt x="731869" y="6240109"/>
                </a:lnTo>
                <a:lnTo>
                  <a:pt x="721959" y="6240109"/>
                </a:lnTo>
                <a:lnTo>
                  <a:pt x="717940" y="6236069"/>
                </a:lnTo>
                <a:lnTo>
                  <a:pt x="717940" y="6226198"/>
                </a:lnTo>
                <a:close/>
                <a:moveTo>
                  <a:pt x="482646" y="6222160"/>
                </a:moveTo>
                <a:lnTo>
                  <a:pt x="492557" y="6222160"/>
                </a:lnTo>
                <a:lnTo>
                  <a:pt x="496576" y="6226198"/>
                </a:lnTo>
                <a:lnTo>
                  <a:pt x="496576" y="6236069"/>
                </a:lnTo>
                <a:lnTo>
                  <a:pt x="492557" y="6240109"/>
                </a:lnTo>
                <a:lnTo>
                  <a:pt x="482646" y="6240109"/>
                </a:lnTo>
                <a:lnTo>
                  <a:pt x="478627" y="6236069"/>
                </a:lnTo>
                <a:lnTo>
                  <a:pt x="478627" y="6226198"/>
                </a:lnTo>
                <a:close/>
                <a:moveTo>
                  <a:pt x="243333" y="6222160"/>
                </a:moveTo>
                <a:lnTo>
                  <a:pt x="253243" y="6222160"/>
                </a:lnTo>
                <a:lnTo>
                  <a:pt x="257263" y="6226198"/>
                </a:lnTo>
                <a:lnTo>
                  <a:pt x="257263" y="6236069"/>
                </a:lnTo>
                <a:lnTo>
                  <a:pt x="253243" y="6240109"/>
                </a:lnTo>
                <a:lnTo>
                  <a:pt x="243333" y="6240109"/>
                </a:lnTo>
                <a:lnTo>
                  <a:pt x="239314" y="6236069"/>
                </a:lnTo>
                <a:lnTo>
                  <a:pt x="239314" y="6226198"/>
                </a:lnTo>
                <a:close/>
                <a:moveTo>
                  <a:pt x="4020" y="6222160"/>
                </a:moveTo>
                <a:lnTo>
                  <a:pt x="13930" y="6222160"/>
                </a:lnTo>
                <a:lnTo>
                  <a:pt x="17949" y="6226198"/>
                </a:lnTo>
                <a:lnTo>
                  <a:pt x="17949" y="6236069"/>
                </a:lnTo>
                <a:lnTo>
                  <a:pt x="13930" y="6240109"/>
                </a:lnTo>
                <a:lnTo>
                  <a:pt x="4020" y="6240109"/>
                </a:lnTo>
                <a:lnTo>
                  <a:pt x="1" y="6236069"/>
                </a:lnTo>
                <a:lnTo>
                  <a:pt x="1" y="6226198"/>
                </a:lnTo>
                <a:close/>
                <a:moveTo>
                  <a:pt x="2157818" y="5982881"/>
                </a:moveTo>
                <a:lnTo>
                  <a:pt x="2167728" y="5982881"/>
                </a:lnTo>
                <a:lnTo>
                  <a:pt x="2171747" y="5986919"/>
                </a:lnTo>
                <a:lnTo>
                  <a:pt x="2171747" y="5996790"/>
                </a:lnTo>
                <a:lnTo>
                  <a:pt x="2167728" y="6000829"/>
                </a:lnTo>
                <a:lnTo>
                  <a:pt x="2157818" y="6000829"/>
                </a:lnTo>
                <a:lnTo>
                  <a:pt x="2153799" y="5996790"/>
                </a:lnTo>
                <a:lnTo>
                  <a:pt x="2153799" y="5986919"/>
                </a:lnTo>
                <a:close/>
                <a:moveTo>
                  <a:pt x="1918509" y="5982881"/>
                </a:moveTo>
                <a:lnTo>
                  <a:pt x="1928420" y="5982881"/>
                </a:lnTo>
                <a:lnTo>
                  <a:pt x="1932438" y="5986919"/>
                </a:lnTo>
                <a:lnTo>
                  <a:pt x="1932438" y="5996790"/>
                </a:lnTo>
                <a:lnTo>
                  <a:pt x="1928420" y="6000829"/>
                </a:lnTo>
                <a:lnTo>
                  <a:pt x="1918509" y="6000829"/>
                </a:lnTo>
                <a:lnTo>
                  <a:pt x="1914490" y="5996790"/>
                </a:lnTo>
                <a:lnTo>
                  <a:pt x="1914490" y="5986919"/>
                </a:lnTo>
                <a:close/>
                <a:moveTo>
                  <a:pt x="1679201" y="5982881"/>
                </a:moveTo>
                <a:lnTo>
                  <a:pt x="1689111" y="5982881"/>
                </a:lnTo>
                <a:lnTo>
                  <a:pt x="1693129" y="5986919"/>
                </a:lnTo>
                <a:lnTo>
                  <a:pt x="1693129" y="5996790"/>
                </a:lnTo>
                <a:lnTo>
                  <a:pt x="1689111" y="6000829"/>
                </a:lnTo>
                <a:lnTo>
                  <a:pt x="1679201" y="6000829"/>
                </a:lnTo>
                <a:lnTo>
                  <a:pt x="1675182" y="5996790"/>
                </a:lnTo>
                <a:lnTo>
                  <a:pt x="1675182" y="5986919"/>
                </a:lnTo>
                <a:close/>
                <a:moveTo>
                  <a:pt x="1439886" y="5982881"/>
                </a:moveTo>
                <a:lnTo>
                  <a:pt x="1449796" y="5982881"/>
                </a:lnTo>
                <a:lnTo>
                  <a:pt x="1453814" y="5986919"/>
                </a:lnTo>
                <a:lnTo>
                  <a:pt x="1453814" y="5996790"/>
                </a:lnTo>
                <a:lnTo>
                  <a:pt x="1449796" y="6000829"/>
                </a:lnTo>
                <a:lnTo>
                  <a:pt x="1439886" y="6000829"/>
                </a:lnTo>
                <a:lnTo>
                  <a:pt x="1435866" y="5996790"/>
                </a:lnTo>
                <a:lnTo>
                  <a:pt x="1435866" y="5986919"/>
                </a:lnTo>
                <a:close/>
                <a:moveTo>
                  <a:pt x="1200571" y="5982881"/>
                </a:moveTo>
                <a:lnTo>
                  <a:pt x="1210481" y="5982881"/>
                </a:lnTo>
                <a:lnTo>
                  <a:pt x="1214500" y="5986919"/>
                </a:lnTo>
                <a:lnTo>
                  <a:pt x="1214500" y="5996790"/>
                </a:lnTo>
                <a:lnTo>
                  <a:pt x="1210481" y="6000829"/>
                </a:lnTo>
                <a:lnTo>
                  <a:pt x="1200571" y="6000829"/>
                </a:lnTo>
                <a:lnTo>
                  <a:pt x="1196553" y="5996790"/>
                </a:lnTo>
                <a:lnTo>
                  <a:pt x="1196553" y="5986919"/>
                </a:lnTo>
                <a:close/>
                <a:moveTo>
                  <a:pt x="961258" y="5982881"/>
                </a:moveTo>
                <a:lnTo>
                  <a:pt x="971168" y="5982881"/>
                </a:lnTo>
                <a:lnTo>
                  <a:pt x="975187" y="5986919"/>
                </a:lnTo>
                <a:lnTo>
                  <a:pt x="975187" y="5996790"/>
                </a:lnTo>
                <a:lnTo>
                  <a:pt x="971168" y="6000829"/>
                </a:lnTo>
                <a:lnTo>
                  <a:pt x="961258" y="6000829"/>
                </a:lnTo>
                <a:lnTo>
                  <a:pt x="957239" y="5996790"/>
                </a:lnTo>
                <a:lnTo>
                  <a:pt x="957239" y="5986919"/>
                </a:lnTo>
                <a:close/>
                <a:moveTo>
                  <a:pt x="9572438" y="5982829"/>
                </a:moveTo>
                <a:lnTo>
                  <a:pt x="9582349" y="5982829"/>
                </a:lnTo>
                <a:lnTo>
                  <a:pt x="9586368" y="5986868"/>
                </a:lnTo>
                <a:lnTo>
                  <a:pt x="9586368" y="5996739"/>
                </a:lnTo>
                <a:lnTo>
                  <a:pt x="9582349" y="6000778"/>
                </a:lnTo>
                <a:lnTo>
                  <a:pt x="9572438" y="6000778"/>
                </a:lnTo>
                <a:lnTo>
                  <a:pt x="9568419" y="5996739"/>
                </a:lnTo>
                <a:lnTo>
                  <a:pt x="9568419" y="5986868"/>
                </a:lnTo>
                <a:close/>
                <a:moveTo>
                  <a:pt x="9333125" y="5982829"/>
                </a:moveTo>
                <a:lnTo>
                  <a:pt x="9343036" y="5982829"/>
                </a:lnTo>
                <a:lnTo>
                  <a:pt x="9347055" y="5986868"/>
                </a:lnTo>
                <a:lnTo>
                  <a:pt x="9347055" y="5996739"/>
                </a:lnTo>
                <a:lnTo>
                  <a:pt x="9343036" y="6000778"/>
                </a:lnTo>
                <a:lnTo>
                  <a:pt x="9333125" y="6000778"/>
                </a:lnTo>
                <a:lnTo>
                  <a:pt x="9329106" y="5996739"/>
                </a:lnTo>
                <a:lnTo>
                  <a:pt x="9329106" y="5986868"/>
                </a:lnTo>
                <a:close/>
                <a:moveTo>
                  <a:pt x="9093811" y="5982829"/>
                </a:moveTo>
                <a:lnTo>
                  <a:pt x="9103722" y="5982829"/>
                </a:lnTo>
                <a:lnTo>
                  <a:pt x="9107741" y="5986868"/>
                </a:lnTo>
                <a:lnTo>
                  <a:pt x="9107741" y="5996739"/>
                </a:lnTo>
                <a:lnTo>
                  <a:pt x="9103722" y="6000778"/>
                </a:lnTo>
                <a:lnTo>
                  <a:pt x="9093811" y="6000778"/>
                </a:lnTo>
                <a:lnTo>
                  <a:pt x="9089792" y="5996739"/>
                </a:lnTo>
                <a:lnTo>
                  <a:pt x="9089792" y="5986868"/>
                </a:lnTo>
                <a:close/>
                <a:moveTo>
                  <a:pt x="8854496" y="5982829"/>
                </a:moveTo>
                <a:lnTo>
                  <a:pt x="8864407" y="5982829"/>
                </a:lnTo>
                <a:lnTo>
                  <a:pt x="8868426" y="5986868"/>
                </a:lnTo>
                <a:lnTo>
                  <a:pt x="8868426" y="5996739"/>
                </a:lnTo>
                <a:lnTo>
                  <a:pt x="8864407" y="6000778"/>
                </a:lnTo>
                <a:lnTo>
                  <a:pt x="8854496" y="6000778"/>
                </a:lnTo>
                <a:lnTo>
                  <a:pt x="8850477" y="5996739"/>
                </a:lnTo>
                <a:lnTo>
                  <a:pt x="8850477" y="5986868"/>
                </a:lnTo>
                <a:close/>
                <a:moveTo>
                  <a:pt x="8615184" y="5982829"/>
                </a:moveTo>
                <a:lnTo>
                  <a:pt x="8625095" y="5982829"/>
                </a:lnTo>
                <a:lnTo>
                  <a:pt x="8629114" y="5986868"/>
                </a:lnTo>
                <a:lnTo>
                  <a:pt x="8629114" y="5996739"/>
                </a:lnTo>
                <a:lnTo>
                  <a:pt x="8625095" y="6000778"/>
                </a:lnTo>
                <a:lnTo>
                  <a:pt x="8615184" y="6000778"/>
                </a:lnTo>
                <a:lnTo>
                  <a:pt x="8611165" y="5996739"/>
                </a:lnTo>
                <a:lnTo>
                  <a:pt x="8611165" y="5986868"/>
                </a:lnTo>
                <a:close/>
                <a:moveTo>
                  <a:pt x="8375869" y="5982829"/>
                </a:moveTo>
                <a:lnTo>
                  <a:pt x="8385779" y="5982829"/>
                </a:lnTo>
                <a:lnTo>
                  <a:pt x="8389799" y="5986868"/>
                </a:lnTo>
                <a:lnTo>
                  <a:pt x="8389799" y="5996739"/>
                </a:lnTo>
                <a:lnTo>
                  <a:pt x="8385779" y="6000778"/>
                </a:lnTo>
                <a:lnTo>
                  <a:pt x="8375869" y="6000778"/>
                </a:lnTo>
                <a:lnTo>
                  <a:pt x="8371850" y="5996739"/>
                </a:lnTo>
                <a:lnTo>
                  <a:pt x="8371850" y="5986868"/>
                </a:lnTo>
                <a:close/>
                <a:moveTo>
                  <a:pt x="8136553" y="5982829"/>
                </a:moveTo>
                <a:lnTo>
                  <a:pt x="8146464" y="5982829"/>
                </a:lnTo>
                <a:lnTo>
                  <a:pt x="8150483" y="5986868"/>
                </a:lnTo>
                <a:lnTo>
                  <a:pt x="8150483" y="5996739"/>
                </a:lnTo>
                <a:lnTo>
                  <a:pt x="8146464" y="6000778"/>
                </a:lnTo>
                <a:lnTo>
                  <a:pt x="8136553" y="6000778"/>
                </a:lnTo>
                <a:lnTo>
                  <a:pt x="8132534" y="5996739"/>
                </a:lnTo>
                <a:lnTo>
                  <a:pt x="8132534" y="5986868"/>
                </a:lnTo>
                <a:close/>
                <a:moveTo>
                  <a:pt x="7897241" y="5982829"/>
                </a:moveTo>
                <a:lnTo>
                  <a:pt x="7907151" y="5982829"/>
                </a:lnTo>
                <a:lnTo>
                  <a:pt x="7911170" y="5986868"/>
                </a:lnTo>
                <a:lnTo>
                  <a:pt x="7911170" y="5996739"/>
                </a:lnTo>
                <a:lnTo>
                  <a:pt x="7907151" y="6000778"/>
                </a:lnTo>
                <a:lnTo>
                  <a:pt x="7897241" y="6000778"/>
                </a:lnTo>
                <a:lnTo>
                  <a:pt x="7893222" y="5996739"/>
                </a:lnTo>
                <a:lnTo>
                  <a:pt x="7893222" y="5986868"/>
                </a:lnTo>
                <a:close/>
                <a:moveTo>
                  <a:pt x="7657926" y="5982829"/>
                </a:moveTo>
                <a:lnTo>
                  <a:pt x="7667836" y="5982829"/>
                </a:lnTo>
                <a:lnTo>
                  <a:pt x="7671855" y="5986868"/>
                </a:lnTo>
                <a:lnTo>
                  <a:pt x="7671855" y="5996739"/>
                </a:lnTo>
                <a:lnTo>
                  <a:pt x="7667836" y="6000778"/>
                </a:lnTo>
                <a:lnTo>
                  <a:pt x="7657926" y="6000778"/>
                </a:lnTo>
                <a:lnTo>
                  <a:pt x="7653906" y="5996739"/>
                </a:lnTo>
                <a:lnTo>
                  <a:pt x="7653906" y="5986868"/>
                </a:lnTo>
                <a:close/>
                <a:moveTo>
                  <a:pt x="7418611" y="5982829"/>
                </a:moveTo>
                <a:lnTo>
                  <a:pt x="7428521" y="5982829"/>
                </a:lnTo>
                <a:lnTo>
                  <a:pt x="7432540" y="5986868"/>
                </a:lnTo>
                <a:lnTo>
                  <a:pt x="7432540" y="5996739"/>
                </a:lnTo>
                <a:lnTo>
                  <a:pt x="7428521" y="6000778"/>
                </a:lnTo>
                <a:lnTo>
                  <a:pt x="7418611" y="6000778"/>
                </a:lnTo>
                <a:lnTo>
                  <a:pt x="7414592" y="5996739"/>
                </a:lnTo>
                <a:lnTo>
                  <a:pt x="7414592" y="5986868"/>
                </a:lnTo>
                <a:close/>
                <a:moveTo>
                  <a:pt x="7179298" y="5982829"/>
                </a:moveTo>
                <a:lnTo>
                  <a:pt x="7189209" y="5982829"/>
                </a:lnTo>
                <a:lnTo>
                  <a:pt x="7193228" y="5986868"/>
                </a:lnTo>
                <a:lnTo>
                  <a:pt x="7193228" y="5996739"/>
                </a:lnTo>
                <a:lnTo>
                  <a:pt x="7189209" y="6000778"/>
                </a:lnTo>
                <a:lnTo>
                  <a:pt x="7179298" y="6000778"/>
                </a:lnTo>
                <a:lnTo>
                  <a:pt x="7175279" y="5996739"/>
                </a:lnTo>
                <a:lnTo>
                  <a:pt x="7175279" y="5986868"/>
                </a:lnTo>
                <a:close/>
                <a:moveTo>
                  <a:pt x="6939983" y="5982829"/>
                </a:moveTo>
                <a:lnTo>
                  <a:pt x="6949894" y="5982829"/>
                </a:lnTo>
                <a:lnTo>
                  <a:pt x="6953913" y="5986868"/>
                </a:lnTo>
                <a:lnTo>
                  <a:pt x="6953913" y="5996739"/>
                </a:lnTo>
                <a:lnTo>
                  <a:pt x="6949894" y="6000778"/>
                </a:lnTo>
                <a:lnTo>
                  <a:pt x="6939983" y="6000778"/>
                </a:lnTo>
                <a:lnTo>
                  <a:pt x="6935964" y="5996739"/>
                </a:lnTo>
                <a:lnTo>
                  <a:pt x="6935964" y="5986868"/>
                </a:lnTo>
                <a:close/>
                <a:moveTo>
                  <a:pt x="6700670" y="5982829"/>
                </a:moveTo>
                <a:lnTo>
                  <a:pt x="6710581" y="5982829"/>
                </a:lnTo>
                <a:lnTo>
                  <a:pt x="6714600" y="5986868"/>
                </a:lnTo>
                <a:lnTo>
                  <a:pt x="6714600" y="5996739"/>
                </a:lnTo>
                <a:lnTo>
                  <a:pt x="6710581" y="6000778"/>
                </a:lnTo>
                <a:lnTo>
                  <a:pt x="6700670" y="6000778"/>
                </a:lnTo>
                <a:lnTo>
                  <a:pt x="6696651" y="5996739"/>
                </a:lnTo>
                <a:lnTo>
                  <a:pt x="6696651" y="5986868"/>
                </a:lnTo>
                <a:close/>
                <a:moveTo>
                  <a:pt x="6461356" y="5982829"/>
                </a:moveTo>
                <a:lnTo>
                  <a:pt x="6471266" y="5982829"/>
                </a:lnTo>
                <a:lnTo>
                  <a:pt x="6475285" y="5986868"/>
                </a:lnTo>
                <a:lnTo>
                  <a:pt x="6475285" y="5996739"/>
                </a:lnTo>
                <a:lnTo>
                  <a:pt x="6471266" y="6000778"/>
                </a:lnTo>
                <a:lnTo>
                  <a:pt x="6461356" y="6000778"/>
                </a:lnTo>
                <a:lnTo>
                  <a:pt x="6457337" y="5996739"/>
                </a:lnTo>
                <a:lnTo>
                  <a:pt x="6457337" y="5986868"/>
                </a:lnTo>
                <a:close/>
                <a:moveTo>
                  <a:pt x="6222042" y="5982829"/>
                </a:moveTo>
                <a:lnTo>
                  <a:pt x="6231952" y="5982829"/>
                </a:lnTo>
                <a:lnTo>
                  <a:pt x="6235971" y="5986868"/>
                </a:lnTo>
                <a:lnTo>
                  <a:pt x="6235971" y="5996739"/>
                </a:lnTo>
                <a:lnTo>
                  <a:pt x="6231952" y="6000778"/>
                </a:lnTo>
                <a:lnTo>
                  <a:pt x="6222042" y="6000778"/>
                </a:lnTo>
                <a:lnTo>
                  <a:pt x="6218023" y="5996739"/>
                </a:lnTo>
                <a:lnTo>
                  <a:pt x="6218023" y="5986868"/>
                </a:lnTo>
                <a:close/>
                <a:moveTo>
                  <a:pt x="5982729" y="5982829"/>
                </a:moveTo>
                <a:lnTo>
                  <a:pt x="5992639" y="5982829"/>
                </a:lnTo>
                <a:lnTo>
                  <a:pt x="5996658" y="5986868"/>
                </a:lnTo>
                <a:lnTo>
                  <a:pt x="5996658" y="5996739"/>
                </a:lnTo>
                <a:lnTo>
                  <a:pt x="5992639" y="6000778"/>
                </a:lnTo>
                <a:lnTo>
                  <a:pt x="5982729" y="6000778"/>
                </a:lnTo>
                <a:lnTo>
                  <a:pt x="5978710" y="5996739"/>
                </a:lnTo>
                <a:lnTo>
                  <a:pt x="5978710" y="5986868"/>
                </a:lnTo>
                <a:close/>
                <a:moveTo>
                  <a:pt x="5743412" y="5982829"/>
                </a:moveTo>
                <a:lnTo>
                  <a:pt x="5753323" y="5982829"/>
                </a:lnTo>
                <a:lnTo>
                  <a:pt x="5757342" y="5986868"/>
                </a:lnTo>
                <a:lnTo>
                  <a:pt x="5757342" y="5996739"/>
                </a:lnTo>
                <a:lnTo>
                  <a:pt x="5753323" y="6000778"/>
                </a:lnTo>
                <a:lnTo>
                  <a:pt x="5743412" y="6000778"/>
                </a:lnTo>
                <a:lnTo>
                  <a:pt x="5739393" y="5996739"/>
                </a:lnTo>
                <a:lnTo>
                  <a:pt x="5739393" y="5986868"/>
                </a:lnTo>
                <a:close/>
                <a:moveTo>
                  <a:pt x="5504099" y="5982829"/>
                </a:moveTo>
                <a:lnTo>
                  <a:pt x="5514010" y="5982829"/>
                </a:lnTo>
                <a:lnTo>
                  <a:pt x="5518029" y="5986868"/>
                </a:lnTo>
                <a:lnTo>
                  <a:pt x="5518029" y="5996739"/>
                </a:lnTo>
                <a:lnTo>
                  <a:pt x="5514010" y="6000778"/>
                </a:lnTo>
                <a:lnTo>
                  <a:pt x="5504099" y="6000778"/>
                </a:lnTo>
                <a:lnTo>
                  <a:pt x="5500080" y="5996739"/>
                </a:lnTo>
                <a:lnTo>
                  <a:pt x="5500080" y="5986868"/>
                </a:lnTo>
                <a:close/>
                <a:moveTo>
                  <a:pt x="5264784" y="5982829"/>
                </a:moveTo>
                <a:lnTo>
                  <a:pt x="5274694" y="5982829"/>
                </a:lnTo>
                <a:lnTo>
                  <a:pt x="5278713" y="5986868"/>
                </a:lnTo>
                <a:lnTo>
                  <a:pt x="5278713" y="5996739"/>
                </a:lnTo>
                <a:lnTo>
                  <a:pt x="5274694" y="6000778"/>
                </a:lnTo>
                <a:lnTo>
                  <a:pt x="5264784" y="6000778"/>
                </a:lnTo>
                <a:lnTo>
                  <a:pt x="5260765" y="5996739"/>
                </a:lnTo>
                <a:lnTo>
                  <a:pt x="5260765" y="5986868"/>
                </a:lnTo>
                <a:close/>
                <a:moveTo>
                  <a:pt x="5025470" y="5982829"/>
                </a:moveTo>
                <a:lnTo>
                  <a:pt x="5035381" y="5982829"/>
                </a:lnTo>
                <a:lnTo>
                  <a:pt x="5039400" y="5986868"/>
                </a:lnTo>
                <a:lnTo>
                  <a:pt x="5039400" y="5996739"/>
                </a:lnTo>
                <a:lnTo>
                  <a:pt x="5035381" y="6000778"/>
                </a:lnTo>
                <a:lnTo>
                  <a:pt x="5025470" y="6000778"/>
                </a:lnTo>
                <a:lnTo>
                  <a:pt x="5021451" y="5996739"/>
                </a:lnTo>
                <a:lnTo>
                  <a:pt x="5021451" y="5986868"/>
                </a:lnTo>
                <a:close/>
                <a:moveTo>
                  <a:pt x="4786241" y="5982829"/>
                </a:moveTo>
                <a:lnTo>
                  <a:pt x="4796152" y="5982829"/>
                </a:lnTo>
                <a:lnTo>
                  <a:pt x="4800171" y="5986868"/>
                </a:lnTo>
                <a:lnTo>
                  <a:pt x="4800171" y="5996739"/>
                </a:lnTo>
                <a:lnTo>
                  <a:pt x="4796152" y="6000778"/>
                </a:lnTo>
                <a:lnTo>
                  <a:pt x="4786241" y="6000778"/>
                </a:lnTo>
                <a:lnTo>
                  <a:pt x="4782224" y="5996739"/>
                </a:lnTo>
                <a:lnTo>
                  <a:pt x="4782224" y="5986868"/>
                </a:lnTo>
                <a:close/>
                <a:moveTo>
                  <a:pt x="4546929" y="5982829"/>
                </a:moveTo>
                <a:lnTo>
                  <a:pt x="4556840" y="5982829"/>
                </a:lnTo>
                <a:lnTo>
                  <a:pt x="4560859" y="5986868"/>
                </a:lnTo>
                <a:lnTo>
                  <a:pt x="4560859" y="5996739"/>
                </a:lnTo>
                <a:lnTo>
                  <a:pt x="4556840" y="6000778"/>
                </a:lnTo>
                <a:lnTo>
                  <a:pt x="4546929" y="6000778"/>
                </a:lnTo>
                <a:lnTo>
                  <a:pt x="4542910" y="5996739"/>
                </a:lnTo>
                <a:lnTo>
                  <a:pt x="4542910" y="5986868"/>
                </a:lnTo>
                <a:close/>
                <a:moveTo>
                  <a:pt x="4307612" y="5982829"/>
                </a:moveTo>
                <a:lnTo>
                  <a:pt x="4317523" y="5982829"/>
                </a:lnTo>
                <a:lnTo>
                  <a:pt x="4321543" y="5986868"/>
                </a:lnTo>
                <a:lnTo>
                  <a:pt x="4321543" y="5996739"/>
                </a:lnTo>
                <a:lnTo>
                  <a:pt x="4317523" y="6000778"/>
                </a:lnTo>
                <a:lnTo>
                  <a:pt x="4307612" y="6000778"/>
                </a:lnTo>
                <a:lnTo>
                  <a:pt x="4303595" y="5996739"/>
                </a:lnTo>
                <a:lnTo>
                  <a:pt x="4303595" y="5986868"/>
                </a:lnTo>
                <a:close/>
                <a:moveTo>
                  <a:pt x="4068297" y="5982829"/>
                </a:moveTo>
                <a:lnTo>
                  <a:pt x="4078210" y="5982829"/>
                </a:lnTo>
                <a:lnTo>
                  <a:pt x="4082229" y="5986868"/>
                </a:lnTo>
                <a:lnTo>
                  <a:pt x="4082229" y="5996739"/>
                </a:lnTo>
                <a:lnTo>
                  <a:pt x="4078210" y="6000778"/>
                </a:lnTo>
                <a:lnTo>
                  <a:pt x="4068297" y="6000778"/>
                </a:lnTo>
                <a:lnTo>
                  <a:pt x="4064278" y="5996739"/>
                </a:lnTo>
                <a:lnTo>
                  <a:pt x="4064278" y="5986868"/>
                </a:lnTo>
                <a:close/>
                <a:moveTo>
                  <a:pt x="3828990" y="5982829"/>
                </a:moveTo>
                <a:lnTo>
                  <a:pt x="3838899" y="5982829"/>
                </a:lnTo>
                <a:lnTo>
                  <a:pt x="3842917" y="5986868"/>
                </a:lnTo>
                <a:lnTo>
                  <a:pt x="3842917" y="5996739"/>
                </a:lnTo>
                <a:lnTo>
                  <a:pt x="3838899" y="6000778"/>
                </a:lnTo>
                <a:lnTo>
                  <a:pt x="3828990" y="6000778"/>
                </a:lnTo>
                <a:lnTo>
                  <a:pt x="3824971" y="5996739"/>
                </a:lnTo>
                <a:lnTo>
                  <a:pt x="3824971" y="5986868"/>
                </a:lnTo>
                <a:close/>
                <a:moveTo>
                  <a:pt x="3589676" y="5982829"/>
                </a:moveTo>
                <a:lnTo>
                  <a:pt x="3599585" y="5982829"/>
                </a:lnTo>
                <a:lnTo>
                  <a:pt x="3603604" y="5986868"/>
                </a:lnTo>
                <a:lnTo>
                  <a:pt x="3603604" y="5996739"/>
                </a:lnTo>
                <a:lnTo>
                  <a:pt x="3599585" y="6000778"/>
                </a:lnTo>
                <a:lnTo>
                  <a:pt x="3589676" y="6000778"/>
                </a:lnTo>
                <a:lnTo>
                  <a:pt x="3585657" y="5996739"/>
                </a:lnTo>
                <a:lnTo>
                  <a:pt x="3585657" y="5986868"/>
                </a:lnTo>
                <a:close/>
                <a:moveTo>
                  <a:pt x="3350359" y="5982829"/>
                </a:moveTo>
                <a:lnTo>
                  <a:pt x="3360268" y="5982829"/>
                </a:lnTo>
                <a:lnTo>
                  <a:pt x="3364287" y="5986868"/>
                </a:lnTo>
                <a:lnTo>
                  <a:pt x="3364287" y="5996739"/>
                </a:lnTo>
                <a:lnTo>
                  <a:pt x="3360268" y="6000778"/>
                </a:lnTo>
                <a:lnTo>
                  <a:pt x="3350359" y="6000778"/>
                </a:lnTo>
                <a:lnTo>
                  <a:pt x="3346340" y="5996739"/>
                </a:lnTo>
                <a:lnTo>
                  <a:pt x="3346340" y="5986868"/>
                </a:lnTo>
                <a:close/>
                <a:moveTo>
                  <a:pt x="3111048" y="5982829"/>
                </a:moveTo>
                <a:lnTo>
                  <a:pt x="3120959" y="5982829"/>
                </a:lnTo>
                <a:lnTo>
                  <a:pt x="3124977" y="5986868"/>
                </a:lnTo>
                <a:lnTo>
                  <a:pt x="3124977" y="5996739"/>
                </a:lnTo>
                <a:lnTo>
                  <a:pt x="3120959" y="6000778"/>
                </a:lnTo>
                <a:lnTo>
                  <a:pt x="3111048" y="6000778"/>
                </a:lnTo>
                <a:lnTo>
                  <a:pt x="3107029" y="5996739"/>
                </a:lnTo>
                <a:lnTo>
                  <a:pt x="3107029" y="5986868"/>
                </a:lnTo>
                <a:close/>
                <a:moveTo>
                  <a:pt x="2871737" y="5982829"/>
                </a:moveTo>
                <a:lnTo>
                  <a:pt x="2881646" y="5982829"/>
                </a:lnTo>
                <a:lnTo>
                  <a:pt x="2885666" y="5986868"/>
                </a:lnTo>
                <a:lnTo>
                  <a:pt x="2885666" y="5996739"/>
                </a:lnTo>
                <a:lnTo>
                  <a:pt x="2881646" y="6000778"/>
                </a:lnTo>
                <a:lnTo>
                  <a:pt x="2871737" y="6000778"/>
                </a:lnTo>
                <a:lnTo>
                  <a:pt x="2867717" y="5996739"/>
                </a:lnTo>
                <a:lnTo>
                  <a:pt x="2867717" y="5986868"/>
                </a:lnTo>
                <a:close/>
                <a:moveTo>
                  <a:pt x="2632423" y="5982829"/>
                </a:moveTo>
                <a:lnTo>
                  <a:pt x="2642334" y="5982829"/>
                </a:lnTo>
                <a:lnTo>
                  <a:pt x="2646352" y="5986868"/>
                </a:lnTo>
                <a:lnTo>
                  <a:pt x="2646352" y="5996739"/>
                </a:lnTo>
                <a:lnTo>
                  <a:pt x="2642334" y="6000778"/>
                </a:lnTo>
                <a:lnTo>
                  <a:pt x="2632423" y="6000778"/>
                </a:lnTo>
                <a:lnTo>
                  <a:pt x="2628404" y="5996739"/>
                </a:lnTo>
                <a:lnTo>
                  <a:pt x="2628404" y="5986868"/>
                </a:lnTo>
                <a:close/>
                <a:moveTo>
                  <a:pt x="2393104" y="5982829"/>
                </a:moveTo>
                <a:lnTo>
                  <a:pt x="2403015" y="5982829"/>
                </a:lnTo>
                <a:lnTo>
                  <a:pt x="2407034" y="5986868"/>
                </a:lnTo>
                <a:lnTo>
                  <a:pt x="2407034" y="5996739"/>
                </a:lnTo>
                <a:lnTo>
                  <a:pt x="2403015" y="6000778"/>
                </a:lnTo>
                <a:lnTo>
                  <a:pt x="2393104" y="6000778"/>
                </a:lnTo>
                <a:lnTo>
                  <a:pt x="2389087" y="5996739"/>
                </a:lnTo>
                <a:lnTo>
                  <a:pt x="2389087" y="5986868"/>
                </a:lnTo>
                <a:close/>
                <a:moveTo>
                  <a:pt x="721960" y="5982829"/>
                </a:moveTo>
                <a:lnTo>
                  <a:pt x="731869" y="5982829"/>
                </a:lnTo>
                <a:lnTo>
                  <a:pt x="735888" y="5986868"/>
                </a:lnTo>
                <a:lnTo>
                  <a:pt x="735888" y="5996739"/>
                </a:lnTo>
                <a:lnTo>
                  <a:pt x="731869" y="6000778"/>
                </a:lnTo>
                <a:lnTo>
                  <a:pt x="721960" y="6000778"/>
                </a:lnTo>
                <a:lnTo>
                  <a:pt x="717940" y="5996739"/>
                </a:lnTo>
                <a:lnTo>
                  <a:pt x="717940" y="5986868"/>
                </a:lnTo>
                <a:close/>
                <a:moveTo>
                  <a:pt x="482647" y="5982829"/>
                </a:moveTo>
                <a:lnTo>
                  <a:pt x="492557" y="5982829"/>
                </a:lnTo>
                <a:lnTo>
                  <a:pt x="496576" y="5986868"/>
                </a:lnTo>
                <a:lnTo>
                  <a:pt x="496576" y="5996739"/>
                </a:lnTo>
                <a:lnTo>
                  <a:pt x="492557" y="6000778"/>
                </a:lnTo>
                <a:lnTo>
                  <a:pt x="482647" y="6000778"/>
                </a:lnTo>
                <a:lnTo>
                  <a:pt x="478628" y="5996739"/>
                </a:lnTo>
                <a:lnTo>
                  <a:pt x="478628" y="5986868"/>
                </a:lnTo>
                <a:close/>
                <a:moveTo>
                  <a:pt x="243334" y="5982829"/>
                </a:moveTo>
                <a:lnTo>
                  <a:pt x="253244" y="5982829"/>
                </a:lnTo>
                <a:lnTo>
                  <a:pt x="257263" y="5986868"/>
                </a:lnTo>
                <a:lnTo>
                  <a:pt x="257263" y="5996739"/>
                </a:lnTo>
                <a:lnTo>
                  <a:pt x="253244" y="6000778"/>
                </a:lnTo>
                <a:lnTo>
                  <a:pt x="243334" y="6000778"/>
                </a:lnTo>
                <a:lnTo>
                  <a:pt x="239315" y="5996739"/>
                </a:lnTo>
                <a:lnTo>
                  <a:pt x="239315" y="5986868"/>
                </a:lnTo>
                <a:close/>
                <a:moveTo>
                  <a:pt x="4021" y="5982829"/>
                </a:moveTo>
                <a:lnTo>
                  <a:pt x="13931" y="5982829"/>
                </a:lnTo>
                <a:lnTo>
                  <a:pt x="17950" y="5986868"/>
                </a:lnTo>
                <a:lnTo>
                  <a:pt x="17950" y="5996739"/>
                </a:lnTo>
                <a:lnTo>
                  <a:pt x="13931" y="6000778"/>
                </a:lnTo>
                <a:lnTo>
                  <a:pt x="4021" y="6000778"/>
                </a:lnTo>
                <a:lnTo>
                  <a:pt x="1" y="5996739"/>
                </a:lnTo>
                <a:lnTo>
                  <a:pt x="1" y="5986868"/>
                </a:lnTo>
                <a:close/>
                <a:moveTo>
                  <a:pt x="2157818" y="5743551"/>
                </a:moveTo>
                <a:lnTo>
                  <a:pt x="2167728" y="5743551"/>
                </a:lnTo>
                <a:lnTo>
                  <a:pt x="2171747" y="5747589"/>
                </a:lnTo>
                <a:lnTo>
                  <a:pt x="2171747" y="5757460"/>
                </a:lnTo>
                <a:lnTo>
                  <a:pt x="2167728" y="5761499"/>
                </a:lnTo>
                <a:lnTo>
                  <a:pt x="2157818" y="5761499"/>
                </a:lnTo>
                <a:lnTo>
                  <a:pt x="2153799" y="5757460"/>
                </a:lnTo>
                <a:lnTo>
                  <a:pt x="2153799" y="5747589"/>
                </a:lnTo>
                <a:close/>
                <a:moveTo>
                  <a:pt x="1918510" y="5743551"/>
                </a:moveTo>
                <a:lnTo>
                  <a:pt x="1928420" y="5743551"/>
                </a:lnTo>
                <a:lnTo>
                  <a:pt x="1932438" y="5747589"/>
                </a:lnTo>
                <a:lnTo>
                  <a:pt x="1932438" y="5757460"/>
                </a:lnTo>
                <a:lnTo>
                  <a:pt x="1928420" y="5761499"/>
                </a:lnTo>
                <a:lnTo>
                  <a:pt x="1918510" y="5761499"/>
                </a:lnTo>
                <a:lnTo>
                  <a:pt x="1914490" y="5757460"/>
                </a:lnTo>
                <a:lnTo>
                  <a:pt x="1914490" y="5747589"/>
                </a:lnTo>
                <a:close/>
                <a:moveTo>
                  <a:pt x="1679201" y="5743551"/>
                </a:moveTo>
                <a:lnTo>
                  <a:pt x="1689112" y="5743551"/>
                </a:lnTo>
                <a:lnTo>
                  <a:pt x="1693131" y="5747589"/>
                </a:lnTo>
                <a:lnTo>
                  <a:pt x="1693131" y="5757460"/>
                </a:lnTo>
                <a:lnTo>
                  <a:pt x="1689112" y="5761499"/>
                </a:lnTo>
                <a:lnTo>
                  <a:pt x="1679201" y="5761499"/>
                </a:lnTo>
                <a:lnTo>
                  <a:pt x="1675183" y="5757460"/>
                </a:lnTo>
                <a:lnTo>
                  <a:pt x="1675183" y="5747589"/>
                </a:lnTo>
                <a:close/>
                <a:moveTo>
                  <a:pt x="1439886" y="5743551"/>
                </a:moveTo>
                <a:lnTo>
                  <a:pt x="1449797" y="5743551"/>
                </a:lnTo>
                <a:lnTo>
                  <a:pt x="1453815" y="5747589"/>
                </a:lnTo>
                <a:lnTo>
                  <a:pt x="1453815" y="5757460"/>
                </a:lnTo>
                <a:lnTo>
                  <a:pt x="1449797" y="5761499"/>
                </a:lnTo>
                <a:lnTo>
                  <a:pt x="1439886" y="5761499"/>
                </a:lnTo>
                <a:lnTo>
                  <a:pt x="1435868" y="5757460"/>
                </a:lnTo>
                <a:lnTo>
                  <a:pt x="1435868" y="5747589"/>
                </a:lnTo>
                <a:close/>
                <a:moveTo>
                  <a:pt x="1200572" y="5743551"/>
                </a:moveTo>
                <a:lnTo>
                  <a:pt x="1210482" y="5743551"/>
                </a:lnTo>
                <a:lnTo>
                  <a:pt x="1214500" y="5747589"/>
                </a:lnTo>
                <a:lnTo>
                  <a:pt x="1214500" y="5757460"/>
                </a:lnTo>
                <a:lnTo>
                  <a:pt x="1210482" y="5761499"/>
                </a:lnTo>
                <a:lnTo>
                  <a:pt x="1200572" y="5761499"/>
                </a:lnTo>
                <a:lnTo>
                  <a:pt x="1196553" y="5757460"/>
                </a:lnTo>
                <a:lnTo>
                  <a:pt x="1196553" y="5747589"/>
                </a:lnTo>
                <a:close/>
                <a:moveTo>
                  <a:pt x="961259" y="5743551"/>
                </a:moveTo>
                <a:lnTo>
                  <a:pt x="971169" y="5743551"/>
                </a:lnTo>
                <a:lnTo>
                  <a:pt x="975188" y="5747589"/>
                </a:lnTo>
                <a:lnTo>
                  <a:pt x="975188" y="5757460"/>
                </a:lnTo>
                <a:lnTo>
                  <a:pt x="971169" y="5761499"/>
                </a:lnTo>
                <a:lnTo>
                  <a:pt x="961259" y="5761499"/>
                </a:lnTo>
                <a:lnTo>
                  <a:pt x="957240" y="5757460"/>
                </a:lnTo>
                <a:lnTo>
                  <a:pt x="957240" y="5747589"/>
                </a:lnTo>
                <a:close/>
                <a:moveTo>
                  <a:pt x="9572438" y="5743499"/>
                </a:moveTo>
                <a:lnTo>
                  <a:pt x="9582349" y="5743499"/>
                </a:lnTo>
                <a:lnTo>
                  <a:pt x="9586368" y="5747537"/>
                </a:lnTo>
                <a:lnTo>
                  <a:pt x="9586368" y="5757408"/>
                </a:lnTo>
                <a:lnTo>
                  <a:pt x="9582349" y="5761447"/>
                </a:lnTo>
                <a:lnTo>
                  <a:pt x="9572438" y="5761447"/>
                </a:lnTo>
                <a:lnTo>
                  <a:pt x="9568419" y="5757408"/>
                </a:lnTo>
                <a:lnTo>
                  <a:pt x="9568419" y="5747537"/>
                </a:lnTo>
                <a:close/>
                <a:moveTo>
                  <a:pt x="9333125" y="5743499"/>
                </a:moveTo>
                <a:lnTo>
                  <a:pt x="9343036" y="5743499"/>
                </a:lnTo>
                <a:lnTo>
                  <a:pt x="9347055" y="5747537"/>
                </a:lnTo>
                <a:lnTo>
                  <a:pt x="9347055" y="5757408"/>
                </a:lnTo>
                <a:lnTo>
                  <a:pt x="9343036" y="5761447"/>
                </a:lnTo>
                <a:lnTo>
                  <a:pt x="9333125" y="5761447"/>
                </a:lnTo>
                <a:lnTo>
                  <a:pt x="9329106" y="5757408"/>
                </a:lnTo>
                <a:lnTo>
                  <a:pt x="9329106" y="5747537"/>
                </a:lnTo>
                <a:close/>
                <a:moveTo>
                  <a:pt x="9093811" y="5743499"/>
                </a:moveTo>
                <a:lnTo>
                  <a:pt x="9103722" y="5743499"/>
                </a:lnTo>
                <a:lnTo>
                  <a:pt x="9107741" y="5747537"/>
                </a:lnTo>
                <a:lnTo>
                  <a:pt x="9107741" y="5757408"/>
                </a:lnTo>
                <a:lnTo>
                  <a:pt x="9103722" y="5761447"/>
                </a:lnTo>
                <a:lnTo>
                  <a:pt x="9093811" y="5761447"/>
                </a:lnTo>
                <a:lnTo>
                  <a:pt x="9089792" y="5757408"/>
                </a:lnTo>
                <a:lnTo>
                  <a:pt x="9089792" y="5747537"/>
                </a:lnTo>
                <a:close/>
                <a:moveTo>
                  <a:pt x="8854496" y="5743499"/>
                </a:moveTo>
                <a:lnTo>
                  <a:pt x="8864407" y="5743499"/>
                </a:lnTo>
                <a:lnTo>
                  <a:pt x="8868426" y="5747537"/>
                </a:lnTo>
                <a:lnTo>
                  <a:pt x="8868426" y="5757408"/>
                </a:lnTo>
                <a:lnTo>
                  <a:pt x="8864407" y="5761447"/>
                </a:lnTo>
                <a:lnTo>
                  <a:pt x="8854496" y="5761447"/>
                </a:lnTo>
                <a:lnTo>
                  <a:pt x="8850477" y="5757408"/>
                </a:lnTo>
                <a:lnTo>
                  <a:pt x="8850477" y="5747537"/>
                </a:lnTo>
                <a:close/>
                <a:moveTo>
                  <a:pt x="8615184" y="5743499"/>
                </a:moveTo>
                <a:lnTo>
                  <a:pt x="8625095" y="5743499"/>
                </a:lnTo>
                <a:lnTo>
                  <a:pt x="8629114" y="5747537"/>
                </a:lnTo>
                <a:lnTo>
                  <a:pt x="8629114" y="5757408"/>
                </a:lnTo>
                <a:lnTo>
                  <a:pt x="8625095" y="5761447"/>
                </a:lnTo>
                <a:lnTo>
                  <a:pt x="8615184" y="5761447"/>
                </a:lnTo>
                <a:lnTo>
                  <a:pt x="8611165" y="5757408"/>
                </a:lnTo>
                <a:lnTo>
                  <a:pt x="8611165" y="5747537"/>
                </a:lnTo>
                <a:close/>
                <a:moveTo>
                  <a:pt x="8375869" y="5743499"/>
                </a:moveTo>
                <a:lnTo>
                  <a:pt x="8385779" y="5743499"/>
                </a:lnTo>
                <a:lnTo>
                  <a:pt x="8389799" y="5747537"/>
                </a:lnTo>
                <a:lnTo>
                  <a:pt x="8389799" y="5757408"/>
                </a:lnTo>
                <a:lnTo>
                  <a:pt x="8385779" y="5761447"/>
                </a:lnTo>
                <a:lnTo>
                  <a:pt x="8375869" y="5761447"/>
                </a:lnTo>
                <a:lnTo>
                  <a:pt x="8371850" y="5757408"/>
                </a:lnTo>
                <a:lnTo>
                  <a:pt x="8371850" y="5747537"/>
                </a:lnTo>
                <a:close/>
                <a:moveTo>
                  <a:pt x="8136553" y="5743499"/>
                </a:moveTo>
                <a:lnTo>
                  <a:pt x="8146464" y="5743499"/>
                </a:lnTo>
                <a:lnTo>
                  <a:pt x="8150483" y="5747537"/>
                </a:lnTo>
                <a:lnTo>
                  <a:pt x="8150483" y="5757408"/>
                </a:lnTo>
                <a:lnTo>
                  <a:pt x="8146464" y="5761447"/>
                </a:lnTo>
                <a:lnTo>
                  <a:pt x="8136553" y="5761447"/>
                </a:lnTo>
                <a:lnTo>
                  <a:pt x="8132534" y="5757408"/>
                </a:lnTo>
                <a:lnTo>
                  <a:pt x="8132534" y="5747537"/>
                </a:lnTo>
                <a:close/>
                <a:moveTo>
                  <a:pt x="7897241" y="5743499"/>
                </a:moveTo>
                <a:lnTo>
                  <a:pt x="7907151" y="5743499"/>
                </a:lnTo>
                <a:lnTo>
                  <a:pt x="7911170" y="5747537"/>
                </a:lnTo>
                <a:lnTo>
                  <a:pt x="7911170" y="5757408"/>
                </a:lnTo>
                <a:lnTo>
                  <a:pt x="7907151" y="5761447"/>
                </a:lnTo>
                <a:lnTo>
                  <a:pt x="7897241" y="5761447"/>
                </a:lnTo>
                <a:lnTo>
                  <a:pt x="7893222" y="5757408"/>
                </a:lnTo>
                <a:lnTo>
                  <a:pt x="7893222" y="5747537"/>
                </a:lnTo>
                <a:close/>
                <a:moveTo>
                  <a:pt x="7657926" y="5743499"/>
                </a:moveTo>
                <a:lnTo>
                  <a:pt x="7667836" y="5743499"/>
                </a:lnTo>
                <a:lnTo>
                  <a:pt x="7671855" y="5747537"/>
                </a:lnTo>
                <a:lnTo>
                  <a:pt x="7671855" y="5757408"/>
                </a:lnTo>
                <a:lnTo>
                  <a:pt x="7667836" y="5761447"/>
                </a:lnTo>
                <a:lnTo>
                  <a:pt x="7657926" y="5761447"/>
                </a:lnTo>
                <a:lnTo>
                  <a:pt x="7653906" y="5757408"/>
                </a:lnTo>
                <a:lnTo>
                  <a:pt x="7653906" y="5747537"/>
                </a:lnTo>
                <a:close/>
                <a:moveTo>
                  <a:pt x="7418611" y="5743499"/>
                </a:moveTo>
                <a:lnTo>
                  <a:pt x="7428521" y="5743499"/>
                </a:lnTo>
                <a:lnTo>
                  <a:pt x="7432540" y="5747537"/>
                </a:lnTo>
                <a:lnTo>
                  <a:pt x="7432540" y="5757408"/>
                </a:lnTo>
                <a:lnTo>
                  <a:pt x="7428521" y="5761447"/>
                </a:lnTo>
                <a:lnTo>
                  <a:pt x="7418611" y="5761447"/>
                </a:lnTo>
                <a:lnTo>
                  <a:pt x="7414592" y="5757408"/>
                </a:lnTo>
                <a:lnTo>
                  <a:pt x="7414592" y="5747537"/>
                </a:lnTo>
                <a:close/>
                <a:moveTo>
                  <a:pt x="7179298" y="5743499"/>
                </a:moveTo>
                <a:lnTo>
                  <a:pt x="7189209" y="5743499"/>
                </a:lnTo>
                <a:lnTo>
                  <a:pt x="7193228" y="5747537"/>
                </a:lnTo>
                <a:lnTo>
                  <a:pt x="7193228" y="5757408"/>
                </a:lnTo>
                <a:lnTo>
                  <a:pt x="7189209" y="5761447"/>
                </a:lnTo>
                <a:lnTo>
                  <a:pt x="7179298" y="5761447"/>
                </a:lnTo>
                <a:lnTo>
                  <a:pt x="7175279" y="5757408"/>
                </a:lnTo>
                <a:lnTo>
                  <a:pt x="7175279" y="5747537"/>
                </a:lnTo>
                <a:close/>
                <a:moveTo>
                  <a:pt x="6939983" y="5743499"/>
                </a:moveTo>
                <a:lnTo>
                  <a:pt x="6949894" y="5743499"/>
                </a:lnTo>
                <a:lnTo>
                  <a:pt x="6953913" y="5747537"/>
                </a:lnTo>
                <a:lnTo>
                  <a:pt x="6953913" y="5757408"/>
                </a:lnTo>
                <a:lnTo>
                  <a:pt x="6949894" y="5761447"/>
                </a:lnTo>
                <a:lnTo>
                  <a:pt x="6939983" y="5761447"/>
                </a:lnTo>
                <a:lnTo>
                  <a:pt x="6935964" y="5757408"/>
                </a:lnTo>
                <a:lnTo>
                  <a:pt x="6935964" y="5747537"/>
                </a:lnTo>
                <a:close/>
                <a:moveTo>
                  <a:pt x="6700670" y="5743499"/>
                </a:moveTo>
                <a:lnTo>
                  <a:pt x="6710581" y="5743499"/>
                </a:lnTo>
                <a:lnTo>
                  <a:pt x="6714600" y="5747537"/>
                </a:lnTo>
                <a:lnTo>
                  <a:pt x="6714600" y="5757408"/>
                </a:lnTo>
                <a:lnTo>
                  <a:pt x="6710581" y="5761447"/>
                </a:lnTo>
                <a:lnTo>
                  <a:pt x="6700670" y="5761447"/>
                </a:lnTo>
                <a:lnTo>
                  <a:pt x="6696651" y="5757408"/>
                </a:lnTo>
                <a:lnTo>
                  <a:pt x="6696651" y="5747537"/>
                </a:lnTo>
                <a:close/>
                <a:moveTo>
                  <a:pt x="6461356" y="5743499"/>
                </a:moveTo>
                <a:lnTo>
                  <a:pt x="6471266" y="5743499"/>
                </a:lnTo>
                <a:lnTo>
                  <a:pt x="6475285" y="5747537"/>
                </a:lnTo>
                <a:lnTo>
                  <a:pt x="6475285" y="5757408"/>
                </a:lnTo>
                <a:lnTo>
                  <a:pt x="6471266" y="5761447"/>
                </a:lnTo>
                <a:lnTo>
                  <a:pt x="6461356" y="5761447"/>
                </a:lnTo>
                <a:lnTo>
                  <a:pt x="6457337" y="5757408"/>
                </a:lnTo>
                <a:lnTo>
                  <a:pt x="6457337" y="5747537"/>
                </a:lnTo>
                <a:close/>
                <a:moveTo>
                  <a:pt x="6222042" y="5743499"/>
                </a:moveTo>
                <a:lnTo>
                  <a:pt x="6231952" y="5743499"/>
                </a:lnTo>
                <a:lnTo>
                  <a:pt x="6235971" y="5747537"/>
                </a:lnTo>
                <a:lnTo>
                  <a:pt x="6235971" y="5757408"/>
                </a:lnTo>
                <a:lnTo>
                  <a:pt x="6231952" y="5761447"/>
                </a:lnTo>
                <a:lnTo>
                  <a:pt x="6222042" y="5761447"/>
                </a:lnTo>
                <a:lnTo>
                  <a:pt x="6218023" y="5757408"/>
                </a:lnTo>
                <a:lnTo>
                  <a:pt x="6218023" y="5747537"/>
                </a:lnTo>
                <a:close/>
                <a:moveTo>
                  <a:pt x="5982729" y="5743499"/>
                </a:moveTo>
                <a:lnTo>
                  <a:pt x="5992639" y="5743499"/>
                </a:lnTo>
                <a:lnTo>
                  <a:pt x="5996658" y="5747537"/>
                </a:lnTo>
                <a:lnTo>
                  <a:pt x="5996658" y="5757408"/>
                </a:lnTo>
                <a:lnTo>
                  <a:pt x="5992639" y="5761447"/>
                </a:lnTo>
                <a:lnTo>
                  <a:pt x="5982729" y="5761447"/>
                </a:lnTo>
                <a:lnTo>
                  <a:pt x="5978710" y="5757408"/>
                </a:lnTo>
                <a:lnTo>
                  <a:pt x="5978710" y="5747537"/>
                </a:lnTo>
                <a:close/>
                <a:moveTo>
                  <a:pt x="5743412" y="5743499"/>
                </a:moveTo>
                <a:lnTo>
                  <a:pt x="5753323" y="5743499"/>
                </a:lnTo>
                <a:lnTo>
                  <a:pt x="5757342" y="5747537"/>
                </a:lnTo>
                <a:lnTo>
                  <a:pt x="5757342" y="5757408"/>
                </a:lnTo>
                <a:lnTo>
                  <a:pt x="5753323" y="5761447"/>
                </a:lnTo>
                <a:lnTo>
                  <a:pt x="5743412" y="5761447"/>
                </a:lnTo>
                <a:lnTo>
                  <a:pt x="5739393" y="5757408"/>
                </a:lnTo>
                <a:lnTo>
                  <a:pt x="5739393" y="5747537"/>
                </a:lnTo>
                <a:close/>
                <a:moveTo>
                  <a:pt x="5504099" y="5743499"/>
                </a:moveTo>
                <a:lnTo>
                  <a:pt x="5514010" y="5743499"/>
                </a:lnTo>
                <a:lnTo>
                  <a:pt x="5518029" y="5747537"/>
                </a:lnTo>
                <a:lnTo>
                  <a:pt x="5518029" y="5757408"/>
                </a:lnTo>
                <a:lnTo>
                  <a:pt x="5514010" y="5761447"/>
                </a:lnTo>
                <a:lnTo>
                  <a:pt x="5504099" y="5761447"/>
                </a:lnTo>
                <a:lnTo>
                  <a:pt x="5500080" y="5757408"/>
                </a:lnTo>
                <a:lnTo>
                  <a:pt x="5500080" y="5747537"/>
                </a:lnTo>
                <a:close/>
                <a:moveTo>
                  <a:pt x="5264784" y="5743499"/>
                </a:moveTo>
                <a:lnTo>
                  <a:pt x="5274694" y="5743499"/>
                </a:lnTo>
                <a:lnTo>
                  <a:pt x="5278713" y="5747537"/>
                </a:lnTo>
                <a:lnTo>
                  <a:pt x="5278713" y="5757408"/>
                </a:lnTo>
                <a:lnTo>
                  <a:pt x="5274694" y="5761447"/>
                </a:lnTo>
                <a:lnTo>
                  <a:pt x="5264784" y="5761447"/>
                </a:lnTo>
                <a:lnTo>
                  <a:pt x="5260765" y="5757408"/>
                </a:lnTo>
                <a:lnTo>
                  <a:pt x="5260765" y="5747537"/>
                </a:lnTo>
                <a:close/>
                <a:moveTo>
                  <a:pt x="5025470" y="5743499"/>
                </a:moveTo>
                <a:lnTo>
                  <a:pt x="5035381" y="5743499"/>
                </a:lnTo>
                <a:lnTo>
                  <a:pt x="5039400" y="5747537"/>
                </a:lnTo>
                <a:lnTo>
                  <a:pt x="5039400" y="5757408"/>
                </a:lnTo>
                <a:lnTo>
                  <a:pt x="5035381" y="5761447"/>
                </a:lnTo>
                <a:lnTo>
                  <a:pt x="5025470" y="5761447"/>
                </a:lnTo>
                <a:lnTo>
                  <a:pt x="5021451" y="5757408"/>
                </a:lnTo>
                <a:lnTo>
                  <a:pt x="5021451" y="5747537"/>
                </a:lnTo>
                <a:close/>
                <a:moveTo>
                  <a:pt x="4786241" y="5743499"/>
                </a:moveTo>
                <a:lnTo>
                  <a:pt x="4796152" y="5743499"/>
                </a:lnTo>
                <a:lnTo>
                  <a:pt x="4800171" y="5747537"/>
                </a:lnTo>
                <a:lnTo>
                  <a:pt x="4800171" y="5757408"/>
                </a:lnTo>
                <a:lnTo>
                  <a:pt x="4796152" y="5761447"/>
                </a:lnTo>
                <a:lnTo>
                  <a:pt x="4786241" y="5761447"/>
                </a:lnTo>
                <a:lnTo>
                  <a:pt x="4782224" y="5757408"/>
                </a:lnTo>
                <a:lnTo>
                  <a:pt x="4782224" y="5747537"/>
                </a:lnTo>
                <a:close/>
                <a:moveTo>
                  <a:pt x="4546929" y="5743499"/>
                </a:moveTo>
                <a:lnTo>
                  <a:pt x="4556840" y="5743499"/>
                </a:lnTo>
                <a:lnTo>
                  <a:pt x="4560859" y="5747537"/>
                </a:lnTo>
                <a:lnTo>
                  <a:pt x="4560859" y="5757408"/>
                </a:lnTo>
                <a:lnTo>
                  <a:pt x="4556840" y="5761447"/>
                </a:lnTo>
                <a:lnTo>
                  <a:pt x="4546929" y="5761447"/>
                </a:lnTo>
                <a:lnTo>
                  <a:pt x="4542910" y="5757408"/>
                </a:lnTo>
                <a:lnTo>
                  <a:pt x="4542910" y="5747537"/>
                </a:lnTo>
                <a:close/>
                <a:moveTo>
                  <a:pt x="4307612" y="5743499"/>
                </a:moveTo>
                <a:lnTo>
                  <a:pt x="4317523" y="5743499"/>
                </a:lnTo>
                <a:lnTo>
                  <a:pt x="4321543" y="5747537"/>
                </a:lnTo>
                <a:lnTo>
                  <a:pt x="4321543" y="5757408"/>
                </a:lnTo>
                <a:lnTo>
                  <a:pt x="4317523" y="5761447"/>
                </a:lnTo>
                <a:lnTo>
                  <a:pt x="4307612" y="5761447"/>
                </a:lnTo>
                <a:lnTo>
                  <a:pt x="4303595" y="5757408"/>
                </a:lnTo>
                <a:lnTo>
                  <a:pt x="4303595" y="5747537"/>
                </a:lnTo>
                <a:close/>
                <a:moveTo>
                  <a:pt x="4068297" y="5743499"/>
                </a:moveTo>
                <a:lnTo>
                  <a:pt x="4078210" y="5743499"/>
                </a:lnTo>
                <a:lnTo>
                  <a:pt x="4082229" y="5747537"/>
                </a:lnTo>
                <a:lnTo>
                  <a:pt x="4082229" y="5757408"/>
                </a:lnTo>
                <a:lnTo>
                  <a:pt x="4078210" y="5761447"/>
                </a:lnTo>
                <a:lnTo>
                  <a:pt x="4068297" y="5761447"/>
                </a:lnTo>
                <a:lnTo>
                  <a:pt x="4064278" y="5757408"/>
                </a:lnTo>
                <a:lnTo>
                  <a:pt x="4064278" y="5747537"/>
                </a:lnTo>
                <a:close/>
                <a:moveTo>
                  <a:pt x="3828990" y="5743499"/>
                </a:moveTo>
                <a:lnTo>
                  <a:pt x="3838899" y="5743499"/>
                </a:lnTo>
                <a:lnTo>
                  <a:pt x="3842917" y="5747537"/>
                </a:lnTo>
                <a:lnTo>
                  <a:pt x="3842917" y="5757408"/>
                </a:lnTo>
                <a:lnTo>
                  <a:pt x="3838899" y="5761447"/>
                </a:lnTo>
                <a:lnTo>
                  <a:pt x="3828990" y="5761447"/>
                </a:lnTo>
                <a:lnTo>
                  <a:pt x="3824971" y="5757408"/>
                </a:lnTo>
                <a:lnTo>
                  <a:pt x="3824971" y="5747537"/>
                </a:lnTo>
                <a:close/>
                <a:moveTo>
                  <a:pt x="3589676" y="5743499"/>
                </a:moveTo>
                <a:lnTo>
                  <a:pt x="3599585" y="5743499"/>
                </a:lnTo>
                <a:lnTo>
                  <a:pt x="3603604" y="5747537"/>
                </a:lnTo>
                <a:lnTo>
                  <a:pt x="3603604" y="5757408"/>
                </a:lnTo>
                <a:lnTo>
                  <a:pt x="3599585" y="5761447"/>
                </a:lnTo>
                <a:lnTo>
                  <a:pt x="3589676" y="5761447"/>
                </a:lnTo>
                <a:lnTo>
                  <a:pt x="3585657" y="5757408"/>
                </a:lnTo>
                <a:lnTo>
                  <a:pt x="3585657" y="5747537"/>
                </a:lnTo>
                <a:close/>
                <a:moveTo>
                  <a:pt x="3350359" y="5743499"/>
                </a:moveTo>
                <a:lnTo>
                  <a:pt x="3360268" y="5743499"/>
                </a:lnTo>
                <a:lnTo>
                  <a:pt x="3364287" y="5747537"/>
                </a:lnTo>
                <a:lnTo>
                  <a:pt x="3364287" y="5757408"/>
                </a:lnTo>
                <a:lnTo>
                  <a:pt x="3360268" y="5761447"/>
                </a:lnTo>
                <a:lnTo>
                  <a:pt x="3350359" y="5761447"/>
                </a:lnTo>
                <a:lnTo>
                  <a:pt x="3346340" y="5757408"/>
                </a:lnTo>
                <a:lnTo>
                  <a:pt x="3346340" y="5747537"/>
                </a:lnTo>
                <a:close/>
                <a:moveTo>
                  <a:pt x="3111048" y="5743499"/>
                </a:moveTo>
                <a:lnTo>
                  <a:pt x="3120959" y="5743499"/>
                </a:lnTo>
                <a:lnTo>
                  <a:pt x="3124977" y="5747537"/>
                </a:lnTo>
                <a:lnTo>
                  <a:pt x="3124977" y="5757408"/>
                </a:lnTo>
                <a:lnTo>
                  <a:pt x="3120959" y="5761447"/>
                </a:lnTo>
                <a:lnTo>
                  <a:pt x="3111048" y="5761447"/>
                </a:lnTo>
                <a:lnTo>
                  <a:pt x="3107029" y="5757408"/>
                </a:lnTo>
                <a:lnTo>
                  <a:pt x="3107029" y="5747537"/>
                </a:lnTo>
                <a:close/>
                <a:moveTo>
                  <a:pt x="2871737" y="5743499"/>
                </a:moveTo>
                <a:lnTo>
                  <a:pt x="2881646" y="5743499"/>
                </a:lnTo>
                <a:lnTo>
                  <a:pt x="2885666" y="5747537"/>
                </a:lnTo>
                <a:lnTo>
                  <a:pt x="2885666" y="5757408"/>
                </a:lnTo>
                <a:lnTo>
                  <a:pt x="2881646" y="5761447"/>
                </a:lnTo>
                <a:lnTo>
                  <a:pt x="2871737" y="5761447"/>
                </a:lnTo>
                <a:lnTo>
                  <a:pt x="2867717" y="5757408"/>
                </a:lnTo>
                <a:lnTo>
                  <a:pt x="2867717" y="5747537"/>
                </a:lnTo>
                <a:close/>
                <a:moveTo>
                  <a:pt x="2632423" y="5743499"/>
                </a:moveTo>
                <a:lnTo>
                  <a:pt x="2642334" y="5743499"/>
                </a:lnTo>
                <a:lnTo>
                  <a:pt x="2646352" y="5747537"/>
                </a:lnTo>
                <a:lnTo>
                  <a:pt x="2646352" y="5757408"/>
                </a:lnTo>
                <a:lnTo>
                  <a:pt x="2642334" y="5761447"/>
                </a:lnTo>
                <a:lnTo>
                  <a:pt x="2632423" y="5761447"/>
                </a:lnTo>
                <a:lnTo>
                  <a:pt x="2628404" y="5757408"/>
                </a:lnTo>
                <a:lnTo>
                  <a:pt x="2628404" y="5747537"/>
                </a:lnTo>
                <a:close/>
                <a:moveTo>
                  <a:pt x="2393104" y="5743499"/>
                </a:moveTo>
                <a:lnTo>
                  <a:pt x="2403015" y="5743499"/>
                </a:lnTo>
                <a:lnTo>
                  <a:pt x="2407034" y="5747537"/>
                </a:lnTo>
                <a:lnTo>
                  <a:pt x="2407034" y="5757408"/>
                </a:lnTo>
                <a:lnTo>
                  <a:pt x="2403015" y="5761447"/>
                </a:lnTo>
                <a:lnTo>
                  <a:pt x="2393104" y="5761447"/>
                </a:lnTo>
                <a:lnTo>
                  <a:pt x="2389087" y="5757408"/>
                </a:lnTo>
                <a:lnTo>
                  <a:pt x="2389087" y="5747537"/>
                </a:lnTo>
                <a:close/>
                <a:moveTo>
                  <a:pt x="721960" y="5743499"/>
                </a:moveTo>
                <a:lnTo>
                  <a:pt x="731871" y="5743499"/>
                </a:lnTo>
                <a:lnTo>
                  <a:pt x="735889" y="5747537"/>
                </a:lnTo>
                <a:lnTo>
                  <a:pt x="735889" y="5757408"/>
                </a:lnTo>
                <a:lnTo>
                  <a:pt x="731871" y="5761447"/>
                </a:lnTo>
                <a:lnTo>
                  <a:pt x="721960" y="5761447"/>
                </a:lnTo>
                <a:lnTo>
                  <a:pt x="717941" y="5757408"/>
                </a:lnTo>
                <a:lnTo>
                  <a:pt x="717941" y="5747537"/>
                </a:lnTo>
                <a:close/>
                <a:moveTo>
                  <a:pt x="482648" y="5743499"/>
                </a:moveTo>
                <a:lnTo>
                  <a:pt x="492558" y="5743499"/>
                </a:lnTo>
                <a:lnTo>
                  <a:pt x="496578" y="5747537"/>
                </a:lnTo>
                <a:lnTo>
                  <a:pt x="496578" y="5757408"/>
                </a:lnTo>
                <a:lnTo>
                  <a:pt x="492558" y="5761447"/>
                </a:lnTo>
                <a:lnTo>
                  <a:pt x="482648" y="5761447"/>
                </a:lnTo>
                <a:lnTo>
                  <a:pt x="478629" y="5757408"/>
                </a:lnTo>
                <a:lnTo>
                  <a:pt x="478629" y="5747537"/>
                </a:lnTo>
                <a:close/>
                <a:moveTo>
                  <a:pt x="243334" y="5743499"/>
                </a:moveTo>
                <a:lnTo>
                  <a:pt x="253245" y="5743499"/>
                </a:lnTo>
                <a:lnTo>
                  <a:pt x="257264" y="5747537"/>
                </a:lnTo>
                <a:lnTo>
                  <a:pt x="257264" y="5757408"/>
                </a:lnTo>
                <a:lnTo>
                  <a:pt x="253245" y="5761447"/>
                </a:lnTo>
                <a:lnTo>
                  <a:pt x="243334" y="5761447"/>
                </a:lnTo>
                <a:lnTo>
                  <a:pt x="239315" y="5757408"/>
                </a:lnTo>
                <a:lnTo>
                  <a:pt x="239315" y="5747537"/>
                </a:lnTo>
                <a:close/>
                <a:moveTo>
                  <a:pt x="4021" y="5743499"/>
                </a:moveTo>
                <a:lnTo>
                  <a:pt x="13932" y="5743499"/>
                </a:lnTo>
                <a:lnTo>
                  <a:pt x="17950" y="5747537"/>
                </a:lnTo>
                <a:lnTo>
                  <a:pt x="17950" y="5757408"/>
                </a:lnTo>
                <a:lnTo>
                  <a:pt x="13932" y="5761447"/>
                </a:lnTo>
                <a:lnTo>
                  <a:pt x="4021" y="5761447"/>
                </a:lnTo>
                <a:lnTo>
                  <a:pt x="2" y="5757408"/>
                </a:lnTo>
                <a:lnTo>
                  <a:pt x="2" y="5747537"/>
                </a:lnTo>
                <a:close/>
                <a:moveTo>
                  <a:pt x="9572438" y="5504220"/>
                </a:moveTo>
                <a:lnTo>
                  <a:pt x="9582349" y="5504220"/>
                </a:lnTo>
                <a:lnTo>
                  <a:pt x="9586368" y="5508258"/>
                </a:lnTo>
                <a:lnTo>
                  <a:pt x="9586368" y="5518129"/>
                </a:lnTo>
                <a:lnTo>
                  <a:pt x="9582349" y="5522168"/>
                </a:lnTo>
                <a:lnTo>
                  <a:pt x="9572438" y="5522168"/>
                </a:lnTo>
                <a:lnTo>
                  <a:pt x="9568419" y="5518129"/>
                </a:lnTo>
                <a:lnTo>
                  <a:pt x="9568419" y="5508258"/>
                </a:lnTo>
                <a:close/>
                <a:moveTo>
                  <a:pt x="9333125" y="5504220"/>
                </a:moveTo>
                <a:lnTo>
                  <a:pt x="9343036" y="5504220"/>
                </a:lnTo>
                <a:lnTo>
                  <a:pt x="9347055" y="5508258"/>
                </a:lnTo>
                <a:lnTo>
                  <a:pt x="9347055" y="5518129"/>
                </a:lnTo>
                <a:lnTo>
                  <a:pt x="9343036" y="5522168"/>
                </a:lnTo>
                <a:lnTo>
                  <a:pt x="9333125" y="5522168"/>
                </a:lnTo>
                <a:lnTo>
                  <a:pt x="9329106" y="5518129"/>
                </a:lnTo>
                <a:lnTo>
                  <a:pt x="9329106" y="5508258"/>
                </a:lnTo>
                <a:close/>
                <a:moveTo>
                  <a:pt x="9093811" y="5504220"/>
                </a:moveTo>
                <a:lnTo>
                  <a:pt x="9103722" y="5504220"/>
                </a:lnTo>
                <a:lnTo>
                  <a:pt x="9107741" y="5508258"/>
                </a:lnTo>
                <a:lnTo>
                  <a:pt x="9107741" y="5518129"/>
                </a:lnTo>
                <a:lnTo>
                  <a:pt x="9103722" y="5522168"/>
                </a:lnTo>
                <a:lnTo>
                  <a:pt x="9093811" y="5522168"/>
                </a:lnTo>
                <a:lnTo>
                  <a:pt x="9089792" y="5518129"/>
                </a:lnTo>
                <a:lnTo>
                  <a:pt x="9089792" y="5508258"/>
                </a:lnTo>
                <a:close/>
                <a:moveTo>
                  <a:pt x="8854496" y="5504220"/>
                </a:moveTo>
                <a:lnTo>
                  <a:pt x="8864407" y="5504220"/>
                </a:lnTo>
                <a:lnTo>
                  <a:pt x="8868426" y="5508258"/>
                </a:lnTo>
                <a:lnTo>
                  <a:pt x="8868426" y="5518129"/>
                </a:lnTo>
                <a:lnTo>
                  <a:pt x="8864407" y="5522168"/>
                </a:lnTo>
                <a:lnTo>
                  <a:pt x="8854496" y="5522168"/>
                </a:lnTo>
                <a:lnTo>
                  <a:pt x="8850477" y="5518129"/>
                </a:lnTo>
                <a:lnTo>
                  <a:pt x="8850477" y="5508258"/>
                </a:lnTo>
                <a:close/>
                <a:moveTo>
                  <a:pt x="8615184" y="5504220"/>
                </a:moveTo>
                <a:lnTo>
                  <a:pt x="8625095" y="5504220"/>
                </a:lnTo>
                <a:lnTo>
                  <a:pt x="8629114" y="5508258"/>
                </a:lnTo>
                <a:lnTo>
                  <a:pt x="8629114" y="5518129"/>
                </a:lnTo>
                <a:lnTo>
                  <a:pt x="8625095" y="5522168"/>
                </a:lnTo>
                <a:lnTo>
                  <a:pt x="8615184" y="5522168"/>
                </a:lnTo>
                <a:lnTo>
                  <a:pt x="8611165" y="5518129"/>
                </a:lnTo>
                <a:lnTo>
                  <a:pt x="8611165" y="5508258"/>
                </a:lnTo>
                <a:close/>
                <a:moveTo>
                  <a:pt x="8375869" y="5504220"/>
                </a:moveTo>
                <a:lnTo>
                  <a:pt x="8385779" y="5504220"/>
                </a:lnTo>
                <a:lnTo>
                  <a:pt x="8389799" y="5508258"/>
                </a:lnTo>
                <a:lnTo>
                  <a:pt x="8389799" y="5518129"/>
                </a:lnTo>
                <a:lnTo>
                  <a:pt x="8385779" y="5522168"/>
                </a:lnTo>
                <a:lnTo>
                  <a:pt x="8375869" y="5522168"/>
                </a:lnTo>
                <a:lnTo>
                  <a:pt x="8371850" y="5518129"/>
                </a:lnTo>
                <a:lnTo>
                  <a:pt x="8371850" y="5508258"/>
                </a:lnTo>
                <a:close/>
                <a:moveTo>
                  <a:pt x="8136553" y="5504220"/>
                </a:moveTo>
                <a:lnTo>
                  <a:pt x="8146464" y="5504220"/>
                </a:lnTo>
                <a:lnTo>
                  <a:pt x="8150483" y="5508258"/>
                </a:lnTo>
                <a:lnTo>
                  <a:pt x="8150483" y="5518129"/>
                </a:lnTo>
                <a:lnTo>
                  <a:pt x="8146464" y="5522168"/>
                </a:lnTo>
                <a:lnTo>
                  <a:pt x="8136553" y="5522168"/>
                </a:lnTo>
                <a:lnTo>
                  <a:pt x="8132534" y="5518129"/>
                </a:lnTo>
                <a:lnTo>
                  <a:pt x="8132534" y="5508258"/>
                </a:lnTo>
                <a:close/>
                <a:moveTo>
                  <a:pt x="7897241" y="5504220"/>
                </a:moveTo>
                <a:lnTo>
                  <a:pt x="7907151" y="5504220"/>
                </a:lnTo>
                <a:lnTo>
                  <a:pt x="7911170" y="5508258"/>
                </a:lnTo>
                <a:lnTo>
                  <a:pt x="7911170" y="5518129"/>
                </a:lnTo>
                <a:lnTo>
                  <a:pt x="7907151" y="5522168"/>
                </a:lnTo>
                <a:lnTo>
                  <a:pt x="7897241" y="5522168"/>
                </a:lnTo>
                <a:lnTo>
                  <a:pt x="7893222" y="5518129"/>
                </a:lnTo>
                <a:lnTo>
                  <a:pt x="7893222" y="5508258"/>
                </a:lnTo>
                <a:close/>
                <a:moveTo>
                  <a:pt x="7657926" y="5504220"/>
                </a:moveTo>
                <a:lnTo>
                  <a:pt x="7667836" y="5504220"/>
                </a:lnTo>
                <a:lnTo>
                  <a:pt x="7671855" y="5508258"/>
                </a:lnTo>
                <a:lnTo>
                  <a:pt x="7671855" y="5518129"/>
                </a:lnTo>
                <a:lnTo>
                  <a:pt x="7667836" y="5522168"/>
                </a:lnTo>
                <a:lnTo>
                  <a:pt x="7657926" y="5522168"/>
                </a:lnTo>
                <a:lnTo>
                  <a:pt x="7653906" y="5518129"/>
                </a:lnTo>
                <a:lnTo>
                  <a:pt x="7653906" y="5508258"/>
                </a:lnTo>
                <a:close/>
                <a:moveTo>
                  <a:pt x="7418611" y="5504220"/>
                </a:moveTo>
                <a:lnTo>
                  <a:pt x="7428521" y="5504220"/>
                </a:lnTo>
                <a:lnTo>
                  <a:pt x="7432540" y="5508258"/>
                </a:lnTo>
                <a:lnTo>
                  <a:pt x="7432540" y="5518129"/>
                </a:lnTo>
                <a:lnTo>
                  <a:pt x="7428521" y="5522168"/>
                </a:lnTo>
                <a:lnTo>
                  <a:pt x="7418611" y="5522168"/>
                </a:lnTo>
                <a:lnTo>
                  <a:pt x="7414592" y="5518129"/>
                </a:lnTo>
                <a:lnTo>
                  <a:pt x="7414592" y="5508258"/>
                </a:lnTo>
                <a:close/>
                <a:moveTo>
                  <a:pt x="7179298" y="5504220"/>
                </a:moveTo>
                <a:lnTo>
                  <a:pt x="7189209" y="5504220"/>
                </a:lnTo>
                <a:lnTo>
                  <a:pt x="7193228" y="5508258"/>
                </a:lnTo>
                <a:lnTo>
                  <a:pt x="7193228" y="5518129"/>
                </a:lnTo>
                <a:lnTo>
                  <a:pt x="7189209" y="5522168"/>
                </a:lnTo>
                <a:lnTo>
                  <a:pt x="7179298" y="5522168"/>
                </a:lnTo>
                <a:lnTo>
                  <a:pt x="7175279" y="5518129"/>
                </a:lnTo>
                <a:lnTo>
                  <a:pt x="7175279" y="5508258"/>
                </a:lnTo>
                <a:close/>
                <a:moveTo>
                  <a:pt x="6939983" y="5504220"/>
                </a:moveTo>
                <a:lnTo>
                  <a:pt x="6949894" y="5504220"/>
                </a:lnTo>
                <a:lnTo>
                  <a:pt x="6953913" y="5508258"/>
                </a:lnTo>
                <a:lnTo>
                  <a:pt x="6953913" y="5518129"/>
                </a:lnTo>
                <a:lnTo>
                  <a:pt x="6949894" y="5522168"/>
                </a:lnTo>
                <a:lnTo>
                  <a:pt x="6939983" y="5522168"/>
                </a:lnTo>
                <a:lnTo>
                  <a:pt x="6935964" y="5518129"/>
                </a:lnTo>
                <a:lnTo>
                  <a:pt x="6935964" y="5508258"/>
                </a:lnTo>
                <a:close/>
                <a:moveTo>
                  <a:pt x="6700670" y="5504220"/>
                </a:moveTo>
                <a:lnTo>
                  <a:pt x="6710581" y="5504220"/>
                </a:lnTo>
                <a:lnTo>
                  <a:pt x="6714600" y="5508258"/>
                </a:lnTo>
                <a:lnTo>
                  <a:pt x="6714600" y="5518129"/>
                </a:lnTo>
                <a:lnTo>
                  <a:pt x="6710581" y="5522168"/>
                </a:lnTo>
                <a:lnTo>
                  <a:pt x="6700670" y="5522168"/>
                </a:lnTo>
                <a:lnTo>
                  <a:pt x="6696651" y="5518129"/>
                </a:lnTo>
                <a:lnTo>
                  <a:pt x="6696651" y="5508258"/>
                </a:lnTo>
                <a:close/>
                <a:moveTo>
                  <a:pt x="6461356" y="5504220"/>
                </a:moveTo>
                <a:lnTo>
                  <a:pt x="6471266" y="5504220"/>
                </a:lnTo>
                <a:lnTo>
                  <a:pt x="6475285" y="5508258"/>
                </a:lnTo>
                <a:lnTo>
                  <a:pt x="6475285" y="5518129"/>
                </a:lnTo>
                <a:lnTo>
                  <a:pt x="6471266" y="5522168"/>
                </a:lnTo>
                <a:lnTo>
                  <a:pt x="6461356" y="5522168"/>
                </a:lnTo>
                <a:lnTo>
                  <a:pt x="6457337" y="5518129"/>
                </a:lnTo>
                <a:lnTo>
                  <a:pt x="6457337" y="5508258"/>
                </a:lnTo>
                <a:close/>
                <a:moveTo>
                  <a:pt x="6222042" y="5504220"/>
                </a:moveTo>
                <a:lnTo>
                  <a:pt x="6231952" y="5504220"/>
                </a:lnTo>
                <a:lnTo>
                  <a:pt x="6235971" y="5508258"/>
                </a:lnTo>
                <a:lnTo>
                  <a:pt x="6235971" y="5518129"/>
                </a:lnTo>
                <a:lnTo>
                  <a:pt x="6231952" y="5522168"/>
                </a:lnTo>
                <a:lnTo>
                  <a:pt x="6222042" y="5522168"/>
                </a:lnTo>
                <a:lnTo>
                  <a:pt x="6218023" y="5518129"/>
                </a:lnTo>
                <a:lnTo>
                  <a:pt x="6218023" y="5508258"/>
                </a:lnTo>
                <a:close/>
                <a:moveTo>
                  <a:pt x="5982729" y="5504220"/>
                </a:moveTo>
                <a:lnTo>
                  <a:pt x="5992639" y="5504220"/>
                </a:lnTo>
                <a:lnTo>
                  <a:pt x="5996658" y="5508258"/>
                </a:lnTo>
                <a:lnTo>
                  <a:pt x="5996658" y="5518129"/>
                </a:lnTo>
                <a:lnTo>
                  <a:pt x="5992639" y="5522168"/>
                </a:lnTo>
                <a:lnTo>
                  <a:pt x="5982729" y="5522168"/>
                </a:lnTo>
                <a:lnTo>
                  <a:pt x="5978710" y="5518129"/>
                </a:lnTo>
                <a:lnTo>
                  <a:pt x="5978710" y="5508258"/>
                </a:lnTo>
                <a:close/>
                <a:moveTo>
                  <a:pt x="5743412" y="5504220"/>
                </a:moveTo>
                <a:lnTo>
                  <a:pt x="5753323" y="5504220"/>
                </a:lnTo>
                <a:lnTo>
                  <a:pt x="5757342" y="5508258"/>
                </a:lnTo>
                <a:lnTo>
                  <a:pt x="5757342" y="5518129"/>
                </a:lnTo>
                <a:lnTo>
                  <a:pt x="5753323" y="5522168"/>
                </a:lnTo>
                <a:lnTo>
                  <a:pt x="5743412" y="5522168"/>
                </a:lnTo>
                <a:lnTo>
                  <a:pt x="5739393" y="5518129"/>
                </a:lnTo>
                <a:lnTo>
                  <a:pt x="5739393" y="5508258"/>
                </a:lnTo>
                <a:close/>
                <a:moveTo>
                  <a:pt x="5504099" y="5504220"/>
                </a:moveTo>
                <a:lnTo>
                  <a:pt x="5514010" y="5504220"/>
                </a:lnTo>
                <a:lnTo>
                  <a:pt x="5518029" y="5508258"/>
                </a:lnTo>
                <a:lnTo>
                  <a:pt x="5518029" y="5518129"/>
                </a:lnTo>
                <a:lnTo>
                  <a:pt x="5514010" y="5522168"/>
                </a:lnTo>
                <a:lnTo>
                  <a:pt x="5504099" y="5522168"/>
                </a:lnTo>
                <a:lnTo>
                  <a:pt x="5500080" y="5518129"/>
                </a:lnTo>
                <a:lnTo>
                  <a:pt x="5500080" y="5508258"/>
                </a:lnTo>
                <a:close/>
                <a:moveTo>
                  <a:pt x="5264784" y="5504220"/>
                </a:moveTo>
                <a:lnTo>
                  <a:pt x="5274694" y="5504220"/>
                </a:lnTo>
                <a:lnTo>
                  <a:pt x="5278713" y="5508258"/>
                </a:lnTo>
                <a:lnTo>
                  <a:pt x="5278713" y="5518129"/>
                </a:lnTo>
                <a:lnTo>
                  <a:pt x="5274694" y="5522168"/>
                </a:lnTo>
                <a:lnTo>
                  <a:pt x="5264784" y="5522168"/>
                </a:lnTo>
                <a:lnTo>
                  <a:pt x="5260765" y="5518129"/>
                </a:lnTo>
                <a:lnTo>
                  <a:pt x="5260765" y="5508258"/>
                </a:lnTo>
                <a:close/>
                <a:moveTo>
                  <a:pt x="5025470" y="5504220"/>
                </a:moveTo>
                <a:lnTo>
                  <a:pt x="5035381" y="5504220"/>
                </a:lnTo>
                <a:lnTo>
                  <a:pt x="5039400" y="5508258"/>
                </a:lnTo>
                <a:lnTo>
                  <a:pt x="5039400" y="5518129"/>
                </a:lnTo>
                <a:lnTo>
                  <a:pt x="5035381" y="5522168"/>
                </a:lnTo>
                <a:lnTo>
                  <a:pt x="5025470" y="5522168"/>
                </a:lnTo>
                <a:lnTo>
                  <a:pt x="5021451" y="5518129"/>
                </a:lnTo>
                <a:lnTo>
                  <a:pt x="5021451" y="5508258"/>
                </a:lnTo>
                <a:close/>
                <a:moveTo>
                  <a:pt x="4786241" y="5504220"/>
                </a:moveTo>
                <a:lnTo>
                  <a:pt x="4796152" y="5504220"/>
                </a:lnTo>
                <a:lnTo>
                  <a:pt x="4800171" y="5508258"/>
                </a:lnTo>
                <a:lnTo>
                  <a:pt x="4800171" y="5518129"/>
                </a:lnTo>
                <a:lnTo>
                  <a:pt x="4796152" y="5522168"/>
                </a:lnTo>
                <a:lnTo>
                  <a:pt x="4786241" y="5522168"/>
                </a:lnTo>
                <a:lnTo>
                  <a:pt x="4782224" y="5518129"/>
                </a:lnTo>
                <a:lnTo>
                  <a:pt x="4782224" y="5508258"/>
                </a:lnTo>
                <a:close/>
                <a:moveTo>
                  <a:pt x="4546929" y="5504220"/>
                </a:moveTo>
                <a:lnTo>
                  <a:pt x="4556840" y="5504220"/>
                </a:lnTo>
                <a:lnTo>
                  <a:pt x="4560859" y="5508258"/>
                </a:lnTo>
                <a:lnTo>
                  <a:pt x="4560859" y="5518129"/>
                </a:lnTo>
                <a:lnTo>
                  <a:pt x="4556840" y="5522168"/>
                </a:lnTo>
                <a:lnTo>
                  <a:pt x="4546929" y="5522168"/>
                </a:lnTo>
                <a:lnTo>
                  <a:pt x="4542910" y="5518129"/>
                </a:lnTo>
                <a:lnTo>
                  <a:pt x="4542910" y="5508258"/>
                </a:lnTo>
                <a:close/>
                <a:moveTo>
                  <a:pt x="4307612" y="5504220"/>
                </a:moveTo>
                <a:lnTo>
                  <a:pt x="4317523" y="5504220"/>
                </a:lnTo>
                <a:lnTo>
                  <a:pt x="4321543" y="5508258"/>
                </a:lnTo>
                <a:lnTo>
                  <a:pt x="4321543" y="5518129"/>
                </a:lnTo>
                <a:lnTo>
                  <a:pt x="4317523" y="5522168"/>
                </a:lnTo>
                <a:lnTo>
                  <a:pt x="4307612" y="5522168"/>
                </a:lnTo>
                <a:lnTo>
                  <a:pt x="4303595" y="5518129"/>
                </a:lnTo>
                <a:lnTo>
                  <a:pt x="4303595" y="5508258"/>
                </a:lnTo>
                <a:close/>
                <a:moveTo>
                  <a:pt x="4068297" y="5504220"/>
                </a:moveTo>
                <a:lnTo>
                  <a:pt x="4078210" y="5504220"/>
                </a:lnTo>
                <a:lnTo>
                  <a:pt x="4082229" y="5508258"/>
                </a:lnTo>
                <a:lnTo>
                  <a:pt x="4082229" y="5518129"/>
                </a:lnTo>
                <a:lnTo>
                  <a:pt x="4078210" y="5522168"/>
                </a:lnTo>
                <a:lnTo>
                  <a:pt x="4068297" y="5522168"/>
                </a:lnTo>
                <a:lnTo>
                  <a:pt x="4064278" y="5518129"/>
                </a:lnTo>
                <a:lnTo>
                  <a:pt x="4064278" y="5508258"/>
                </a:lnTo>
                <a:close/>
                <a:moveTo>
                  <a:pt x="3828990" y="5504220"/>
                </a:moveTo>
                <a:lnTo>
                  <a:pt x="3838899" y="5504220"/>
                </a:lnTo>
                <a:lnTo>
                  <a:pt x="3842917" y="5508258"/>
                </a:lnTo>
                <a:lnTo>
                  <a:pt x="3842917" y="5518129"/>
                </a:lnTo>
                <a:lnTo>
                  <a:pt x="3838899" y="5522168"/>
                </a:lnTo>
                <a:lnTo>
                  <a:pt x="3828990" y="5522168"/>
                </a:lnTo>
                <a:lnTo>
                  <a:pt x="3824971" y="5518129"/>
                </a:lnTo>
                <a:lnTo>
                  <a:pt x="3824971" y="5508258"/>
                </a:lnTo>
                <a:close/>
                <a:moveTo>
                  <a:pt x="3589676" y="5504220"/>
                </a:moveTo>
                <a:lnTo>
                  <a:pt x="3599585" y="5504220"/>
                </a:lnTo>
                <a:lnTo>
                  <a:pt x="3603604" y="5508258"/>
                </a:lnTo>
                <a:lnTo>
                  <a:pt x="3603604" y="5518129"/>
                </a:lnTo>
                <a:lnTo>
                  <a:pt x="3599585" y="5522168"/>
                </a:lnTo>
                <a:lnTo>
                  <a:pt x="3589676" y="5522168"/>
                </a:lnTo>
                <a:lnTo>
                  <a:pt x="3585657" y="5518129"/>
                </a:lnTo>
                <a:lnTo>
                  <a:pt x="3585657" y="5508258"/>
                </a:lnTo>
                <a:close/>
                <a:moveTo>
                  <a:pt x="3350359" y="5504220"/>
                </a:moveTo>
                <a:lnTo>
                  <a:pt x="3360268" y="5504220"/>
                </a:lnTo>
                <a:lnTo>
                  <a:pt x="3364287" y="5508258"/>
                </a:lnTo>
                <a:lnTo>
                  <a:pt x="3364287" y="5518129"/>
                </a:lnTo>
                <a:lnTo>
                  <a:pt x="3360268" y="5522168"/>
                </a:lnTo>
                <a:lnTo>
                  <a:pt x="3350359" y="5522168"/>
                </a:lnTo>
                <a:lnTo>
                  <a:pt x="3346340" y="5518129"/>
                </a:lnTo>
                <a:lnTo>
                  <a:pt x="3346340" y="5508258"/>
                </a:lnTo>
                <a:close/>
                <a:moveTo>
                  <a:pt x="3111048" y="5504220"/>
                </a:moveTo>
                <a:lnTo>
                  <a:pt x="3120959" y="5504220"/>
                </a:lnTo>
                <a:lnTo>
                  <a:pt x="3124977" y="5508258"/>
                </a:lnTo>
                <a:lnTo>
                  <a:pt x="3124977" y="5518129"/>
                </a:lnTo>
                <a:lnTo>
                  <a:pt x="3120959" y="5522168"/>
                </a:lnTo>
                <a:lnTo>
                  <a:pt x="3111048" y="5522168"/>
                </a:lnTo>
                <a:lnTo>
                  <a:pt x="3107029" y="5518129"/>
                </a:lnTo>
                <a:lnTo>
                  <a:pt x="3107029" y="5508258"/>
                </a:lnTo>
                <a:close/>
                <a:moveTo>
                  <a:pt x="2871737" y="5504220"/>
                </a:moveTo>
                <a:lnTo>
                  <a:pt x="2881646" y="5504220"/>
                </a:lnTo>
                <a:lnTo>
                  <a:pt x="2885666" y="5508258"/>
                </a:lnTo>
                <a:lnTo>
                  <a:pt x="2885666" y="5518129"/>
                </a:lnTo>
                <a:lnTo>
                  <a:pt x="2881646" y="5522168"/>
                </a:lnTo>
                <a:lnTo>
                  <a:pt x="2871737" y="5522168"/>
                </a:lnTo>
                <a:lnTo>
                  <a:pt x="2867717" y="5518129"/>
                </a:lnTo>
                <a:lnTo>
                  <a:pt x="2867717" y="5508258"/>
                </a:lnTo>
                <a:close/>
                <a:moveTo>
                  <a:pt x="2632423" y="5504220"/>
                </a:moveTo>
                <a:lnTo>
                  <a:pt x="2642334" y="5504220"/>
                </a:lnTo>
                <a:lnTo>
                  <a:pt x="2646352" y="5508258"/>
                </a:lnTo>
                <a:lnTo>
                  <a:pt x="2646352" y="5518129"/>
                </a:lnTo>
                <a:lnTo>
                  <a:pt x="2642334" y="5522168"/>
                </a:lnTo>
                <a:lnTo>
                  <a:pt x="2632423" y="5522168"/>
                </a:lnTo>
                <a:lnTo>
                  <a:pt x="2628404" y="5518129"/>
                </a:lnTo>
                <a:lnTo>
                  <a:pt x="2628404" y="5508258"/>
                </a:lnTo>
                <a:close/>
                <a:moveTo>
                  <a:pt x="2393104" y="5504220"/>
                </a:moveTo>
                <a:lnTo>
                  <a:pt x="2403015" y="5504220"/>
                </a:lnTo>
                <a:lnTo>
                  <a:pt x="2407034" y="5508258"/>
                </a:lnTo>
                <a:lnTo>
                  <a:pt x="2407034" y="5518129"/>
                </a:lnTo>
                <a:lnTo>
                  <a:pt x="2403015" y="5522168"/>
                </a:lnTo>
                <a:lnTo>
                  <a:pt x="2393104" y="5522168"/>
                </a:lnTo>
                <a:lnTo>
                  <a:pt x="2389087" y="5518129"/>
                </a:lnTo>
                <a:lnTo>
                  <a:pt x="2389087" y="5508258"/>
                </a:lnTo>
                <a:close/>
                <a:moveTo>
                  <a:pt x="2157818" y="5504220"/>
                </a:moveTo>
                <a:lnTo>
                  <a:pt x="2167728" y="5504220"/>
                </a:lnTo>
                <a:lnTo>
                  <a:pt x="2171748" y="5508258"/>
                </a:lnTo>
                <a:lnTo>
                  <a:pt x="2171748" y="5518129"/>
                </a:lnTo>
                <a:lnTo>
                  <a:pt x="2167728" y="5522168"/>
                </a:lnTo>
                <a:lnTo>
                  <a:pt x="2157818" y="5522168"/>
                </a:lnTo>
                <a:lnTo>
                  <a:pt x="2153799" y="5518129"/>
                </a:lnTo>
                <a:lnTo>
                  <a:pt x="2153799" y="5508258"/>
                </a:lnTo>
                <a:close/>
                <a:moveTo>
                  <a:pt x="1918510" y="5504220"/>
                </a:moveTo>
                <a:lnTo>
                  <a:pt x="1928420" y="5504220"/>
                </a:lnTo>
                <a:lnTo>
                  <a:pt x="1932438" y="5508258"/>
                </a:lnTo>
                <a:lnTo>
                  <a:pt x="1932438" y="5518129"/>
                </a:lnTo>
                <a:lnTo>
                  <a:pt x="1928420" y="5522168"/>
                </a:lnTo>
                <a:lnTo>
                  <a:pt x="1918510" y="5522168"/>
                </a:lnTo>
                <a:lnTo>
                  <a:pt x="1914490" y="5518129"/>
                </a:lnTo>
                <a:lnTo>
                  <a:pt x="1914490" y="5508258"/>
                </a:lnTo>
                <a:close/>
                <a:moveTo>
                  <a:pt x="1679202" y="5504220"/>
                </a:moveTo>
                <a:lnTo>
                  <a:pt x="1689112" y="5504220"/>
                </a:lnTo>
                <a:lnTo>
                  <a:pt x="1693132" y="5508258"/>
                </a:lnTo>
                <a:lnTo>
                  <a:pt x="1693132" y="5518129"/>
                </a:lnTo>
                <a:lnTo>
                  <a:pt x="1689112" y="5522168"/>
                </a:lnTo>
                <a:lnTo>
                  <a:pt x="1679202" y="5522168"/>
                </a:lnTo>
                <a:lnTo>
                  <a:pt x="1675184" y="5518129"/>
                </a:lnTo>
                <a:lnTo>
                  <a:pt x="1675184" y="5508258"/>
                </a:lnTo>
                <a:close/>
                <a:moveTo>
                  <a:pt x="1439887" y="5504220"/>
                </a:moveTo>
                <a:lnTo>
                  <a:pt x="1449797" y="5504220"/>
                </a:lnTo>
                <a:lnTo>
                  <a:pt x="1453815" y="5508258"/>
                </a:lnTo>
                <a:lnTo>
                  <a:pt x="1453815" y="5518129"/>
                </a:lnTo>
                <a:lnTo>
                  <a:pt x="1449797" y="5522168"/>
                </a:lnTo>
                <a:lnTo>
                  <a:pt x="1439887" y="5522168"/>
                </a:lnTo>
                <a:lnTo>
                  <a:pt x="1435869" y="5518129"/>
                </a:lnTo>
                <a:lnTo>
                  <a:pt x="1435869" y="5508258"/>
                </a:lnTo>
                <a:close/>
                <a:moveTo>
                  <a:pt x="1200572" y="5504220"/>
                </a:moveTo>
                <a:lnTo>
                  <a:pt x="1210483" y="5504220"/>
                </a:lnTo>
                <a:lnTo>
                  <a:pt x="1214501" y="5508258"/>
                </a:lnTo>
                <a:lnTo>
                  <a:pt x="1214501" y="5518129"/>
                </a:lnTo>
                <a:lnTo>
                  <a:pt x="1210483" y="5522168"/>
                </a:lnTo>
                <a:lnTo>
                  <a:pt x="1200572" y="5522168"/>
                </a:lnTo>
                <a:lnTo>
                  <a:pt x="1196554" y="5518129"/>
                </a:lnTo>
                <a:lnTo>
                  <a:pt x="1196554" y="5508258"/>
                </a:lnTo>
                <a:close/>
                <a:moveTo>
                  <a:pt x="961260" y="5504220"/>
                </a:moveTo>
                <a:lnTo>
                  <a:pt x="971169" y="5504220"/>
                </a:lnTo>
                <a:lnTo>
                  <a:pt x="975189" y="5508258"/>
                </a:lnTo>
                <a:lnTo>
                  <a:pt x="975189" y="5518129"/>
                </a:lnTo>
                <a:lnTo>
                  <a:pt x="971169" y="5522168"/>
                </a:lnTo>
                <a:lnTo>
                  <a:pt x="961260" y="5522168"/>
                </a:lnTo>
                <a:lnTo>
                  <a:pt x="957241" y="5518129"/>
                </a:lnTo>
                <a:lnTo>
                  <a:pt x="957241" y="5508258"/>
                </a:lnTo>
                <a:close/>
                <a:moveTo>
                  <a:pt x="721961" y="5504220"/>
                </a:moveTo>
                <a:lnTo>
                  <a:pt x="731871" y="5504220"/>
                </a:lnTo>
                <a:lnTo>
                  <a:pt x="735890" y="5508258"/>
                </a:lnTo>
                <a:lnTo>
                  <a:pt x="735890" y="5518129"/>
                </a:lnTo>
                <a:lnTo>
                  <a:pt x="731871" y="5522168"/>
                </a:lnTo>
                <a:lnTo>
                  <a:pt x="721961" y="5522168"/>
                </a:lnTo>
                <a:lnTo>
                  <a:pt x="717942" y="5518129"/>
                </a:lnTo>
                <a:lnTo>
                  <a:pt x="717942" y="5508258"/>
                </a:lnTo>
                <a:close/>
                <a:moveTo>
                  <a:pt x="482649" y="5504220"/>
                </a:moveTo>
                <a:lnTo>
                  <a:pt x="492559" y="5504220"/>
                </a:lnTo>
                <a:lnTo>
                  <a:pt x="496578" y="5508258"/>
                </a:lnTo>
                <a:lnTo>
                  <a:pt x="496578" y="5518129"/>
                </a:lnTo>
                <a:lnTo>
                  <a:pt x="492559" y="5522168"/>
                </a:lnTo>
                <a:lnTo>
                  <a:pt x="482649" y="5522168"/>
                </a:lnTo>
                <a:lnTo>
                  <a:pt x="478630" y="5518129"/>
                </a:lnTo>
                <a:lnTo>
                  <a:pt x="478630" y="5508258"/>
                </a:lnTo>
                <a:close/>
                <a:moveTo>
                  <a:pt x="243335" y="5504220"/>
                </a:moveTo>
                <a:lnTo>
                  <a:pt x="253245" y="5504220"/>
                </a:lnTo>
                <a:lnTo>
                  <a:pt x="257264" y="5508258"/>
                </a:lnTo>
                <a:lnTo>
                  <a:pt x="257264" y="5518129"/>
                </a:lnTo>
                <a:lnTo>
                  <a:pt x="253245" y="5522168"/>
                </a:lnTo>
                <a:lnTo>
                  <a:pt x="243335" y="5522168"/>
                </a:lnTo>
                <a:lnTo>
                  <a:pt x="239316" y="5518129"/>
                </a:lnTo>
                <a:lnTo>
                  <a:pt x="239316" y="5508258"/>
                </a:lnTo>
                <a:close/>
                <a:moveTo>
                  <a:pt x="4022" y="5504220"/>
                </a:moveTo>
                <a:lnTo>
                  <a:pt x="13932" y="5504220"/>
                </a:lnTo>
                <a:lnTo>
                  <a:pt x="17951" y="5508258"/>
                </a:lnTo>
                <a:lnTo>
                  <a:pt x="17951" y="5518129"/>
                </a:lnTo>
                <a:lnTo>
                  <a:pt x="13932" y="5522168"/>
                </a:lnTo>
                <a:lnTo>
                  <a:pt x="4022" y="5522168"/>
                </a:lnTo>
                <a:lnTo>
                  <a:pt x="3" y="5518129"/>
                </a:lnTo>
                <a:lnTo>
                  <a:pt x="3" y="5508258"/>
                </a:lnTo>
                <a:close/>
                <a:moveTo>
                  <a:pt x="2157818" y="5264940"/>
                </a:moveTo>
                <a:lnTo>
                  <a:pt x="2167729" y="5264940"/>
                </a:lnTo>
                <a:lnTo>
                  <a:pt x="2171748" y="5268978"/>
                </a:lnTo>
                <a:lnTo>
                  <a:pt x="2171748" y="5278849"/>
                </a:lnTo>
                <a:lnTo>
                  <a:pt x="2167729" y="5282888"/>
                </a:lnTo>
                <a:lnTo>
                  <a:pt x="2157818" y="5282888"/>
                </a:lnTo>
                <a:lnTo>
                  <a:pt x="2153799" y="5278849"/>
                </a:lnTo>
                <a:lnTo>
                  <a:pt x="2153799" y="5268978"/>
                </a:lnTo>
                <a:close/>
                <a:moveTo>
                  <a:pt x="1918510" y="5264940"/>
                </a:moveTo>
                <a:lnTo>
                  <a:pt x="1928420" y="5264940"/>
                </a:lnTo>
                <a:lnTo>
                  <a:pt x="1932438" y="5268978"/>
                </a:lnTo>
                <a:lnTo>
                  <a:pt x="1932438" y="5278849"/>
                </a:lnTo>
                <a:lnTo>
                  <a:pt x="1928420" y="5282888"/>
                </a:lnTo>
                <a:lnTo>
                  <a:pt x="1918510" y="5282888"/>
                </a:lnTo>
                <a:lnTo>
                  <a:pt x="1914492" y="5278849"/>
                </a:lnTo>
                <a:lnTo>
                  <a:pt x="1914492" y="5268978"/>
                </a:lnTo>
                <a:close/>
                <a:moveTo>
                  <a:pt x="1679204" y="5264940"/>
                </a:moveTo>
                <a:lnTo>
                  <a:pt x="1689113" y="5264940"/>
                </a:lnTo>
                <a:lnTo>
                  <a:pt x="1693132" y="5268978"/>
                </a:lnTo>
                <a:lnTo>
                  <a:pt x="1693132" y="5278849"/>
                </a:lnTo>
                <a:lnTo>
                  <a:pt x="1689113" y="5282888"/>
                </a:lnTo>
                <a:lnTo>
                  <a:pt x="1679204" y="5282888"/>
                </a:lnTo>
                <a:lnTo>
                  <a:pt x="1675184" y="5278849"/>
                </a:lnTo>
                <a:lnTo>
                  <a:pt x="1675184" y="5268978"/>
                </a:lnTo>
                <a:close/>
                <a:moveTo>
                  <a:pt x="1439889" y="5264940"/>
                </a:moveTo>
                <a:lnTo>
                  <a:pt x="1449798" y="5264940"/>
                </a:lnTo>
                <a:lnTo>
                  <a:pt x="1453817" y="5268978"/>
                </a:lnTo>
                <a:lnTo>
                  <a:pt x="1453817" y="5278849"/>
                </a:lnTo>
                <a:lnTo>
                  <a:pt x="1449798" y="5282888"/>
                </a:lnTo>
                <a:lnTo>
                  <a:pt x="1439889" y="5282888"/>
                </a:lnTo>
                <a:lnTo>
                  <a:pt x="1435869" y="5278849"/>
                </a:lnTo>
                <a:lnTo>
                  <a:pt x="1435869" y="5268978"/>
                </a:lnTo>
                <a:close/>
                <a:moveTo>
                  <a:pt x="1200573" y="5264940"/>
                </a:moveTo>
                <a:lnTo>
                  <a:pt x="1210483" y="5264940"/>
                </a:lnTo>
                <a:lnTo>
                  <a:pt x="1214502" y="5268978"/>
                </a:lnTo>
                <a:lnTo>
                  <a:pt x="1214502" y="5278849"/>
                </a:lnTo>
                <a:lnTo>
                  <a:pt x="1210483" y="5282888"/>
                </a:lnTo>
                <a:lnTo>
                  <a:pt x="1200573" y="5282888"/>
                </a:lnTo>
                <a:lnTo>
                  <a:pt x="1196554" y="5278849"/>
                </a:lnTo>
                <a:lnTo>
                  <a:pt x="1196554" y="5268978"/>
                </a:lnTo>
                <a:close/>
                <a:moveTo>
                  <a:pt x="961260" y="5264940"/>
                </a:moveTo>
                <a:lnTo>
                  <a:pt x="971171" y="5264940"/>
                </a:lnTo>
                <a:lnTo>
                  <a:pt x="975189" y="5268978"/>
                </a:lnTo>
                <a:lnTo>
                  <a:pt x="975189" y="5278849"/>
                </a:lnTo>
                <a:lnTo>
                  <a:pt x="971171" y="5282888"/>
                </a:lnTo>
                <a:lnTo>
                  <a:pt x="961260" y="5282888"/>
                </a:lnTo>
                <a:lnTo>
                  <a:pt x="957241" y="5278849"/>
                </a:lnTo>
                <a:lnTo>
                  <a:pt x="957241" y="5268978"/>
                </a:lnTo>
                <a:close/>
                <a:moveTo>
                  <a:pt x="9572438" y="5264889"/>
                </a:moveTo>
                <a:lnTo>
                  <a:pt x="9582349" y="5264889"/>
                </a:lnTo>
                <a:lnTo>
                  <a:pt x="9586368" y="5268928"/>
                </a:lnTo>
                <a:lnTo>
                  <a:pt x="9586368" y="5278799"/>
                </a:lnTo>
                <a:lnTo>
                  <a:pt x="9582349" y="5282838"/>
                </a:lnTo>
                <a:lnTo>
                  <a:pt x="9572438" y="5282838"/>
                </a:lnTo>
                <a:lnTo>
                  <a:pt x="9568419" y="5278799"/>
                </a:lnTo>
                <a:lnTo>
                  <a:pt x="9568419" y="5268928"/>
                </a:lnTo>
                <a:close/>
                <a:moveTo>
                  <a:pt x="9333125" y="5264889"/>
                </a:moveTo>
                <a:lnTo>
                  <a:pt x="9343036" y="5264889"/>
                </a:lnTo>
                <a:lnTo>
                  <a:pt x="9347055" y="5268928"/>
                </a:lnTo>
                <a:lnTo>
                  <a:pt x="9347055" y="5278799"/>
                </a:lnTo>
                <a:lnTo>
                  <a:pt x="9343036" y="5282838"/>
                </a:lnTo>
                <a:lnTo>
                  <a:pt x="9333125" y="5282838"/>
                </a:lnTo>
                <a:lnTo>
                  <a:pt x="9329106" y="5278799"/>
                </a:lnTo>
                <a:lnTo>
                  <a:pt x="9329106" y="5268928"/>
                </a:lnTo>
                <a:close/>
                <a:moveTo>
                  <a:pt x="9093811" y="5264889"/>
                </a:moveTo>
                <a:lnTo>
                  <a:pt x="9103722" y="5264889"/>
                </a:lnTo>
                <a:lnTo>
                  <a:pt x="9107741" y="5268928"/>
                </a:lnTo>
                <a:lnTo>
                  <a:pt x="9107741" y="5278799"/>
                </a:lnTo>
                <a:lnTo>
                  <a:pt x="9103722" y="5282838"/>
                </a:lnTo>
                <a:lnTo>
                  <a:pt x="9093811" y="5282838"/>
                </a:lnTo>
                <a:lnTo>
                  <a:pt x="9089792" y="5278799"/>
                </a:lnTo>
                <a:lnTo>
                  <a:pt x="9089792" y="5268928"/>
                </a:lnTo>
                <a:close/>
                <a:moveTo>
                  <a:pt x="8854496" y="5264889"/>
                </a:moveTo>
                <a:lnTo>
                  <a:pt x="8864407" y="5264889"/>
                </a:lnTo>
                <a:lnTo>
                  <a:pt x="8868426" y="5268928"/>
                </a:lnTo>
                <a:lnTo>
                  <a:pt x="8868426" y="5278799"/>
                </a:lnTo>
                <a:lnTo>
                  <a:pt x="8864407" y="5282838"/>
                </a:lnTo>
                <a:lnTo>
                  <a:pt x="8854496" y="5282838"/>
                </a:lnTo>
                <a:lnTo>
                  <a:pt x="8850477" y="5278799"/>
                </a:lnTo>
                <a:lnTo>
                  <a:pt x="8850477" y="5268928"/>
                </a:lnTo>
                <a:close/>
                <a:moveTo>
                  <a:pt x="8615184" y="5264889"/>
                </a:moveTo>
                <a:lnTo>
                  <a:pt x="8625095" y="5264889"/>
                </a:lnTo>
                <a:lnTo>
                  <a:pt x="8629114" y="5268928"/>
                </a:lnTo>
                <a:lnTo>
                  <a:pt x="8629114" y="5278799"/>
                </a:lnTo>
                <a:lnTo>
                  <a:pt x="8625095" y="5282838"/>
                </a:lnTo>
                <a:lnTo>
                  <a:pt x="8615184" y="5282838"/>
                </a:lnTo>
                <a:lnTo>
                  <a:pt x="8611165" y="5278799"/>
                </a:lnTo>
                <a:lnTo>
                  <a:pt x="8611165" y="5268928"/>
                </a:lnTo>
                <a:close/>
                <a:moveTo>
                  <a:pt x="8375869" y="5264889"/>
                </a:moveTo>
                <a:lnTo>
                  <a:pt x="8385779" y="5264889"/>
                </a:lnTo>
                <a:lnTo>
                  <a:pt x="8389799" y="5268928"/>
                </a:lnTo>
                <a:lnTo>
                  <a:pt x="8389799" y="5278799"/>
                </a:lnTo>
                <a:lnTo>
                  <a:pt x="8385779" y="5282838"/>
                </a:lnTo>
                <a:lnTo>
                  <a:pt x="8375869" y="5282838"/>
                </a:lnTo>
                <a:lnTo>
                  <a:pt x="8371850" y="5278799"/>
                </a:lnTo>
                <a:lnTo>
                  <a:pt x="8371850" y="5268928"/>
                </a:lnTo>
                <a:close/>
                <a:moveTo>
                  <a:pt x="8136553" y="5264889"/>
                </a:moveTo>
                <a:lnTo>
                  <a:pt x="8146464" y="5264889"/>
                </a:lnTo>
                <a:lnTo>
                  <a:pt x="8150483" y="5268928"/>
                </a:lnTo>
                <a:lnTo>
                  <a:pt x="8150483" y="5278799"/>
                </a:lnTo>
                <a:lnTo>
                  <a:pt x="8146464" y="5282838"/>
                </a:lnTo>
                <a:lnTo>
                  <a:pt x="8136553" y="5282838"/>
                </a:lnTo>
                <a:lnTo>
                  <a:pt x="8132534" y="5278799"/>
                </a:lnTo>
                <a:lnTo>
                  <a:pt x="8132534" y="5268928"/>
                </a:lnTo>
                <a:close/>
                <a:moveTo>
                  <a:pt x="7897241" y="5264889"/>
                </a:moveTo>
                <a:lnTo>
                  <a:pt x="7907151" y="5264889"/>
                </a:lnTo>
                <a:lnTo>
                  <a:pt x="7911170" y="5268928"/>
                </a:lnTo>
                <a:lnTo>
                  <a:pt x="7911170" y="5278799"/>
                </a:lnTo>
                <a:lnTo>
                  <a:pt x="7907151" y="5282838"/>
                </a:lnTo>
                <a:lnTo>
                  <a:pt x="7897241" y="5282838"/>
                </a:lnTo>
                <a:lnTo>
                  <a:pt x="7893222" y="5278799"/>
                </a:lnTo>
                <a:lnTo>
                  <a:pt x="7893222" y="5268928"/>
                </a:lnTo>
                <a:close/>
                <a:moveTo>
                  <a:pt x="7657926" y="5264889"/>
                </a:moveTo>
                <a:lnTo>
                  <a:pt x="7667836" y="5264889"/>
                </a:lnTo>
                <a:lnTo>
                  <a:pt x="7671855" y="5268928"/>
                </a:lnTo>
                <a:lnTo>
                  <a:pt x="7671855" y="5278799"/>
                </a:lnTo>
                <a:lnTo>
                  <a:pt x="7667836" y="5282838"/>
                </a:lnTo>
                <a:lnTo>
                  <a:pt x="7657926" y="5282838"/>
                </a:lnTo>
                <a:lnTo>
                  <a:pt x="7653906" y="5278799"/>
                </a:lnTo>
                <a:lnTo>
                  <a:pt x="7653906" y="5268928"/>
                </a:lnTo>
                <a:close/>
                <a:moveTo>
                  <a:pt x="7418611" y="5264889"/>
                </a:moveTo>
                <a:lnTo>
                  <a:pt x="7428521" y="5264889"/>
                </a:lnTo>
                <a:lnTo>
                  <a:pt x="7432540" y="5268928"/>
                </a:lnTo>
                <a:lnTo>
                  <a:pt x="7432540" y="5278799"/>
                </a:lnTo>
                <a:lnTo>
                  <a:pt x="7428521" y="5282838"/>
                </a:lnTo>
                <a:lnTo>
                  <a:pt x="7418611" y="5282838"/>
                </a:lnTo>
                <a:lnTo>
                  <a:pt x="7414592" y="5278799"/>
                </a:lnTo>
                <a:lnTo>
                  <a:pt x="7414592" y="5268928"/>
                </a:lnTo>
                <a:close/>
                <a:moveTo>
                  <a:pt x="7179298" y="5264889"/>
                </a:moveTo>
                <a:lnTo>
                  <a:pt x="7189209" y="5264889"/>
                </a:lnTo>
                <a:lnTo>
                  <a:pt x="7193228" y="5268928"/>
                </a:lnTo>
                <a:lnTo>
                  <a:pt x="7193228" y="5278799"/>
                </a:lnTo>
                <a:lnTo>
                  <a:pt x="7189209" y="5282838"/>
                </a:lnTo>
                <a:lnTo>
                  <a:pt x="7179298" y="5282838"/>
                </a:lnTo>
                <a:lnTo>
                  <a:pt x="7175279" y="5278799"/>
                </a:lnTo>
                <a:lnTo>
                  <a:pt x="7175279" y="5268928"/>
                </a:lnTo>
                <a:close/>
                <a:moveTo>
                  <a:pt x="6939983" y="5264889"/>
                </a:moveTo>
                <a:lnTo>
                  <a:pt x="6949894" y="5264889"/>
                </a:lnTo>
                <a:lnTo>
                  <a:pt x="6953913" y="5268928"/>
                </a:lnTo>
                <a:lnTo>
                  <a:pt x="6953913" y="5278799"/>
                </a:lnTo>
                <a:lnTo>
                  <a:pt x="6949894" y="5282838"/>
                </a:lnTo>
                <a:lnTo>
                  <a:pt x="6939983" y="5282838"/>
                </a:lnTo>
                <a:lnTo>
                  <a:pt x="6935964" y="5278799"/>
                </a:lnTo>
                <a:lnTo>
                  <a:pt x="6935964" y="5268928"/>
                </a:lnTo>
                <a:close/>
                <a:moveTo>
                  <a:pt x="6700670" y="5264889"/>
                </a:moveTo>
                <a:lnTo>
                  <a:pt x="6710581" y="5264889"/>
                </a:lnTo>
                <a:lnTo>
                  <a:pt x="6714600" y="5268928"/>
                </a:lnTo>
                <a:lnTo>
                  <a:pt x="6714600" y="5278799"/>
                </a:lnTo>
                <a:lnTo>
                  <a:pt x="6710581" y="5282838"/>
                </a:lnTo>
                <a:lnTo>
                  <a:pt x="6700670" y="5282838"/>
                </a:lnTo>
                <a:lnTo>
                  <a:pt x="6696651" y="5278799"/>
                </a:lnTo>
                <a:lnTo>
                  <a:pt x="6696651" y="5268928"/>
                </a:lnTo>
                <a:close/>
                <a:moveTo>
                  <a:pt x="6461356" y="5264889"/>
                </a:moveTo>
                <a:lnTo>
                  <a:pt x="6471266" y="5264889"/>
                </a:lnTo>
                <a:lnTo>
                  <a:pt x="6475285" y="5268928"/>
                </a:lnTo>
                <a:lnTo>
                  <a:pt x="6475285" y="5278799"/>
                </a:lnTo>
                <a:lnTo>
                  <a:pt x="6471266" y="5282838"/>
                </a:lnTo>
                <a:lnTo>
                  <a:pt x="6461356" y="5282838"/>
                </a:lnTo>
                <a:lnTo>
                  <a:pt x="6457337" y="5278799"/>
                </a:lnTo>
                <a:lnTo>
                  <a:pt x="6457337" y="5268928"/>
                </a:lnTo>
                <a:close/>
                <a:moveTo>
                  <a:pt x="6222042" y="5264889"/>
                </a:moveTo>
                <a:lnTo>
                  <a:pt x="6231952" y="5264889"/>
                </a:lnTo>
                <a:lnTo>
                  <a:pt x="6235971" y="5268928"/>
                </a:lnTo>
                <a:lnTo>
                  <a:pt x="6235971" y="5278799"/>
                </a:lnTo>
                <a:lnTo>
                  <a:pt x="6231952" y="5282838"/>
                </a:lnTo>
                <a:lnTo>
                  <a:pt x="6222042" y="5282838"/>
                </a:lnTo>
                <a:lnTo>
                  <a:pt x="6218023" y="5278799"/>
                </a:lnTo>
                <a:lnTo>
                  <a:pt x="6218023" y="5268928"/>
                </a:lnTo>
                <a:close/>
                <a:moveTo>
                  <a:pt x="5982729" y="5264889"/>
                </a:moveTo>
                <a:lnTo>
                  <a:pt x="5992639" y="5264889"/>
                </a:lnTo>
                <a:lnTo>
                  <a:pt x="5996658" y="5268928"/>
                </a:lnTo>
                <a:lnTo>
                  <a:pt x="5996658" y="5278799"/>
                </a:lnTo>
                <a:lnTo>
                  <a:pt x="5992639" y="5282838"/>
                </a:lnTo>
                <a:lnTo>
                  <a:pt x="5982729" y="5282838"/>
                </a:lnTo>
                <a:lnTo>
                  <a:pt x="5978710" y="5278799"/>
                </a:lnTo>
                <a:lnTo>
                  <a:pt x="5978710" y="5268928"/>
                </a:lnTo>
                <a:close/>
                <a:moveTo>
                  <a:pt x="5743412" y="5264889"/>
                </a:moveTo>
                <a:lnTo>
                  <a:pt x="5753323" y="5264889"/>
                </a:lnTo>
                <a:lnTo>
                  <a:pt x="5757342" y="5268928"/>
                </a:lnTo>
                <a:lnTo>
                  <a:pt x="5757342" y="5278799"/>
                </a:lnTo>
                <a:lnTo>
                  <a:pt x="5753323" y="5282838"/>
                </a:lnTo>
                <a:lnTo>
                  <a:pt x="5743412" y="5282838"/>
                </a:lnTo>
                <a:lnTo>
                  <a:pt x="5739393" y="5278799"/>
                </a:lnTo>
                <a:lnTo>
                  <a:pt x="5739393" y="5268928"/>
                </a:lnTo>
                <a:close/>
                <a:moveTo>
                  <a:pt x="5504099" y="5264889"/>
                </a:moveTo>
                <a:lnTo>
                  <a:pt x="5514010" y="5264889"/>
                </a:lnTo>
                <a:lnTo>
                  <a:pt x="5518029" y="5268928"/>
                </a:lnTo>
                <a:lnTo>
                  <a:pt x="5518029" y="5278799"/>
                </a:lnTo>
                <a:lnTo>
                  <a:pt x="5514010" y="5282838"/>
                </a:lnTo>
                <a:lnTo>
                  <a:pt x="5504099" y="5282838"/>
                </a:lnTo>
                <a:lnTo>
                  <a:pt x="5500080" y="5278799"/>
                </a:lnTo>
                <a:lnTo>
                  <a:pt x="5500080" y="5268928"/>
                </a:lnTo>
                <a:close/>
                <a:moveTo>
                  <a:pt x="5264784" y="5264889"/>
                </a:moveTo>
                <a:lnTo>
                  <a:pt x="5274694" y="5264889"/>
                </a:lnTo>
                <a:lnTo>
                  <a:pt x="5278713" y="5268928"/>
                </a:lnTo>
                <a:lnTo>
                  <a:pt x="5278713" y="5278799"/>
                </a:lnTo>
                <a:lnTo>
                  <a:pt x="5274694" y="5282838"/>
                </a:lnTo>
                <a:lnTo>
                  <a:pt x="5264784" y="5282838"/>
                </a:lnTo>
                <a:lnTo>
                  <a:pt x="5260765" y="5278799"/>
                </a:lnTo>
                <a:lnTo>
                  <a:pt x="5260765" y="5268928"/>
                </a:lnTo>
                <a:close/>
                <a:moveTo>
                  <a:pt x="5025470" y="5264889"/>
                </a:moveTo>
                <a:lnTo>
                  <a:pt x="5035381" y="5264889"/>
                </a:lnTo>
                <a:lnTo>
                  <a:pt x="5039400" y="5268928"/>
                </a:lnTo>
                <a:lnTo>
                  <a:pt x="5039400" y="5278799"/>
                </a:lnTo>
                <a:lnTo>
                  <a:pt x="5035381" y="5282838"/>
                </a:lnTo>
                <a:lnTo>
                  <a:pt x="5025470" y="5282838"/>
                </a:lnTo>
                <a:lnTo>
                  <a:pt x="5021451" y="5278799"/>
                </a:lnTo>
                <a:lnTo>
                  <a:pt x="5021451" y="5268928"/>
                </a:lnTo>
                <a:close/>
                <a:moveTo>
                  <a:pt x="4786241" y="5264889"/>
                </a:moveTo>
                <a:lnTo>
                  <a:pt x="4796152" y="5264889"/>
                </a:lnTo>
                <a:lnTo>
                  <a:pt x="4800171" y="5268928"/>
                </a:lnTo>
                <a:lnTo>
                  <a:pt x="4800171" y="5278799"/>
                </a:lnTo>
                <a:lnTo>
                  <a:pt x="4796152" y="5282838"/>
                </a:lnTo>
                <a:lnTo>
                  <a:pt x="4786241" y="5282838"/>
                </a:lnTo>
                <a:lnTo>
                  <a:pt x="4782224" y="5278799"/>
                </a:lnTo>
                <a:lnTo>
                  <a:pt x="4782224" y="5268928"/>
                </a:lnTo>
                <a:close/>
                <a:moveTo>
                  <a:pt x="4546929" y="5264889"/>
                </a:moveTo>
                <a:lnTo>
                  <a:pt x="4556840" y="5264889"/>
                </a:lnTo>
                <a:lnTo>
                  <a:pt x="4560859" y="5268928"/>
                </a:lnTo>
                <a:lnTo>
                  <a:pt x="4560859" y="5278799"/>
                </a:lnTo>
                <a:lnTo>
                  <a:pt x="4556840" y="5282838"/>
                </a:lnTo>
                <a:lnTo>
                  <a:pt x="4546929" y="5282838"/>
                </a:lnTo>
                <a:lnTo>
                  <a:pt x="4542910" y="5278799"/>
                </a:lnTo>
                <a:lnTo>
                  <a:pt x="4542910" y="5268928"/>
                </a:lnTo>
                <a:close/>
                <a:moveTo>
                  <a:pt x="4307612" y="5264889"/>
                </a:moveTo>
                <a:lnTo>
                  <a:pt x="4317523" y="5264889"/>
                </a:lnTo>
                <a:lnTo>
                  <a:pt x="4321543" y="5268928"/>
                </a:lnTo>
                <a:lnTo>
                  <a:pt x="4321543" y="5278799"/>
                </a:lnTo>
                <a:lnTo>
                  <a:pt x="4317523" y="5282838"/>
                </a:lnTo>
                <a:lnTo>
                  <a:pt x="4307612" y="5282838"/>
                </a:lnTo>
                <a:lnTo>
                  <a:pt x="4303595" y="5278799"/>
                </a:lnTo>
                <a:lnTo>
                  <a:pt x="4303595" y="5268928"/>
                </a:lnTo>
                <a:close/>
                <a:moveTo>
                  <a:pt x="4068297" y="5264889"/>
                </a:moveTo>
                <a:lnTo>
                  <a:pt x="4078210" y="5264889"/>
                </a:lnTo>
                <a:lnTo>
                  <a:pt x="4082229" y="5268928"/>
                </a:lnTo>
                <a:lnTo>
                  <a:pt x="4082229" y="5278799"/>
                </a:lnTo>
                <a:lnTo>
                  <a:pt x="4078210" y="5282838"/>
                </a:lnTo>
                <a:lnTo>
                  <a:pt x="4068297" y="5282838"/>
                </a:lnTo>
                <a:lnTo>
                  <a:pt x="4064278" y="5278799"/>
                </a:lnTo>
                <a:lnTo>
                  <a:pt x="4064278" y="5268928"/>
                </a:lnTo>
                <a:close/>
                <a:moveTo>
                  <a:pt x="3828990" y="5264889"/>
                </a:moveTo>
                <a:lnTo>
                  <a:pt x="3838899" y="5264889"/>
                </a:lnTo>
                <a:lnTo>
                  <a:pt x="3842917" y="5268928"/>
                </a:lnTo>
                <a:lnTo>
                  <a:pt x="3842917" y="5278799"/>
                </a:lnTo>
                <a:lnTo>
                  <a:pt x="3838899" y="5282838"/>
                </a:lnTo>
                <a:lnTo>
                  <a:pt x="3828990" y="5282838"/>
                </a:lnTo>
                <a:lnTo>
                  <a:pt x="3824971" y="5278799"/>
                </a:lnTo>
                <a:lnTo>
                  <a:pt x="3824971" y="5268928"/>
                </a:lnTo>
                <a:close/>
                <a:moveTo>
                  <a:pt x="3589676" y="5264889"/>
                </a:moveTo>
                <a:lnTo>
                  <a:pt x="3599585" y="5264889"/>
                </a:lnTo>
                <a:lnTo>
                  <a:pt x="3603604" y="5268928"/>
                </a:lnTo>
                <a:lnTo>
                  <a:pt x="3603604" y="5278799"/>
                </a:lnTo>
                <a:lnTo>
                  <a:pt x="3599585" y="5282838"/>
                </a:lnTo>
                <a:lnTo>
                  <a:pt x="3589676" y="5282838"/>
                </a:lnTo>
                <a:lnTo>
                  <a:pt x="3585657" y="5278799"/>
                </a:lnTo>
                <a:lnTo>
                  <a:pt x="3585657" y="5268928"/>
                </a:lnTo>
                <a:close/>
                <a:moveTo>
                  <a:pt x="3350359" y="5264889"/>
                </a:moveTo>
                <a:lnTo>
                  <a:pt x="3360268" y="5264889"/>
                </a:lnTo>
                <a:lnTo>
                  <a:pt x="3364287" y="5268928"/>
                </a:lnTo>
                <a:lnTo>
                  <a:pt x="3364287" y="5278799"/>
                </a:lnTo>
                <a:lnTo>
                  <a:pt x="3360268" y="5282838"/>
                </a:lnTo>
                <a:lnTo>
                  <a:pt x="3350359" y="5282838"/>
                </a:lnTo>
                <a:lnTo>
                  <a:pt x="3346340" y="5278799"/>
                </a:lnTo>
                <a:lnTo>
                  <a:pt x="3346340" y="5268928"/>
                </a:lnTo>
                <a:close/>
                <a:moveTo>
                  <a:pt x="3111048" y="5264889"/>
                </a:moveTo>
                <a:lnTo>
                  <a:pt x="3120959" y="5264889"/>
                </a:lnTo>
                <a:lnTo>
                  <a:pt x="3124977" y="5268928"/>
                </a:lnTo>
                <a:lnTo>
                  <a:pt x="3124977" y="5278799"/>
                </a:lnTo>
                <a:lnTo>
                  <a:pt x="3120959" y="5282838"/>
                </a:lnTo>
                <a:lnTo>
                  <a:pt x="3111048" y="5282838"/>
                </a:lnTo>
                <a:lnTo>
                  <a:pt x="3107029" y="5278799"/>
                </a:lnTo>
                <a:lnTo>
                  <a:pt x="3107029" y="5268928"/>
                </a:lnTo>
                <a:close/>
                <a:moveTo>
                  <a:pt x="2871737" y="5264889"/>
                </a:moveTo>
                <a:lnTo>
                  <a:pt x="2881646" y="5264889"/>
                </a:lnTo>
                <a:lnTo>
                  <a:pt x="2885666" y="5268928"/>
                </a:lnTo>
                <a:lnTo>
                  <a:pt x="2885666" y="5278799"/>
                </a:lnTo>
                <a:lnTo>
                  <a:pt x="2881646" y="5282838"/>
                </a:lnTo>
                <a:lnTo>
                  <a:pt x="2871737" y="5282838"/>
                </a:lnTo>
                <a:lnTo>
                  <a:pt x="2867717" y="5278799"/>
                </a:lnTo>
                <a:lnTo>
                  <a:pt x="2867717" y="5268928"/>
                </a:lnTo>
                <a:close/>
                <a:moveTo>
                  <a:pt x="2632423" y="5264889"/>
                </a:moveTo>
                <a:lnTo>
                  <a:pt x="2642334" y="5264889"/>
                </a:lnTo>
                <a:lnTo>
                  <a:pt x="2646352" y="5268928"/>
                </a:lnTo>
                <a:lnTo>
                  <a:pt x="2646352" y="5278799"/>
                </a:lnTo>
                <a:lnTo>
                  <a:pt x="2642334" y="5282838"/>
                </a:lnTo>
                <a:lnTo>
                  <a:pt x="2632423" y="5282838"/>
                </a:lnTo>
                <a:lnTo>
                  <a:pt x="2628404" y="5278799"/>
                </a:lnTo>
                <a:lnTo>
                  <a:pt x="2628404" y="5268928"/>
                </a:lnTo>
                <a:close/>
                <a:moveTo>
                  <a:pt x="2393104" y="5264889"/>
                </a:moveTo>
                <a:lnTo>
                  <a:pt x="2403015" y="5264889"/>
                </a:lnTo>
                <a:lnTo>
                  <a:pt x="2407034" y="5268928"/>
                </a:lnTo>
                <a:lnTo>
                  <a:pt x="2407034" y="5278799"/>
                </a:lnTo>
                <a:lnTo>
                  <a:pt x="2403015" y="5282838"/>
                </a:lnTo>
                <a:lnTo>
                  <a:pt x="2393104" y="5282838"/>
                </a:lnTo>
                <a:lnTo>
                  <a:pt x="2389087" y="5278799"/>
                </a:lnTo>
                <a:lnTo>
                  <a:pt x="2389087" y="5268928"/>
                </a:lnTo>
                <a:close/>
                <a:moveTo>
                  <a:pt x="721961" y="5264889"/>
                </a:moveTo>
                <a:lnTo>
                  <a:pt x="731872" y="5264889"/>
                </a:lnTo>
                <a:lnTo>
                  <a:pt x="735891" y="5268928"/>
                </a:lnTo>
                <a:lnTo>
                  <a:pt x="735891" y="5278799"/>
                </a:lnTo>
                <a:lnTo>
                  <a:pt x="731872" y="5282838"/>
                </a:lnTo>
                <a:lnTo>
                  <a:pt x="721961" y="5282838"/>
                </a:lnTo>
                <a:lnTo>
                  <a:pt x="717943" y="5278799"/>
                </a:lnTo>
                <a:lnTo>
                  <a:pt x="717943" y="5268928"/>
                </a:lnTo>
                <a:close/>
                <a:moveTo>
                  <a:pt x="482649" y="5264889"/>
                </a:moveTo>
                <a:lnTo>
                  <a:pt x="492560" y="5264889"/>
                </a:lnTo>
                <a:lnTo>
                  <a:pt x="496579" y="5268928"/>
                </a:lnTo>
                <a:lnTo>
                  <a:pt x="496579" y="5278799"/>
                </a:lnTo>
                <a:lnTo>
                  <a:pt x="492560" y="5282838"/>
                </a:lnTo>
                <a:lnTo>
                  <a:pt x="482649" y="5282838"/>
                </a:lnTo>
                <a:lnTo>
                  <a:pt x="478630" y="5278799"/>
                </a:lnTo>
                <a:lnTo>
                  <a:pt x="478630" y="5268928"/>
                </a:lnTo>
                <a:close/>
                <a:moveTo>
                  <a:pt x="243336" y="5264889"/>
                </a:moveTo>
                <a:lnTo>
                  <a:pt x="253246" y="5264889"/>
                </a:lnTo>
                <a:lnTo>
                  <a:pt x="257265" y="5268928"/>
                </a:lnTo>
                <a:lnTo>
                  <a:pt x="257265" y="5278799"/>
                </a:lnTo>
                <a:lnTo>
                  <a:pt x="253246" y="5282838"/>
                </a:lnTo>
                <a:lnTo>
                  <a:pt x="243336" y="5282838"/>
                </a:lnTo>
                <a:lnTo>
                  <a:pt x="239317" y="5278799"/>
                </a:lnTo>
                <a:lnTo>
                  <a:pt x="239317" y="5268928"/>
                </a:lnTo>
                <a:close/>
                <a:moveTo>
                  <a:pt x="4022" y="5264889"/>
                </a:moveTo>
                <a:lnTo>
                  <a:pt x="13933" y="5264889"/>
                </a:lnTo>
                <a:lnTo>
                  <a:pt x="17952" y="5268928"/>
                </a:lnTo>
                <a:lnTo>
                  <a:pt x="17952" y="5278799"/>
                </a:lnTo>
                <a:lnTo>
                  <a:pt x="13933" y="5282838"/>
                </a:lnTo>
                <a:lnTo>
                  <a:pt x="4022" y="5282838"/>
                </a:lnTo>
                <a:lnTo>
                  <a:pt x="3" y="5278799"/>
                </a:lnTo>
                <a:lnTo>
                  <a:pt x="3" y="5268928"/>
                </a:lnTo>
                <a:close/>
                <a:moveTo>
                  <a:pt x="2157819" y="5025610"/>
                </a:moveTo>
                <a:lnTo>
                  <a:pt x="2167729" y="5025610"/>
                </a:lnTo>
                <a:lnTo>
                  <a:pt x="2171748" y="5029648"/>
                </a:lnTo>
                <a:lnTo>
                  <a:pt x="2171748" y="5039519"/>
                </a:lnTo>
                <a:lnTo>
                  <a:pt x="2167729" y="5043558"/>
                </a:lnTo>
                <a:lnTo>
                  <a:pt x="2157819" y="5043558"/>
                </a:lnTo>
                <a:lnTo>
                  <a:pt x="2153800" y="5039519"/>
                </a:lnTo>
                <a:lnTo>
                  <a:pt x="2153800" y="5029648"/>
                </a:lnTo>
                <a:close/>
                <a:moveTo>
                  <a:pt x="1918510" y="5025610"/>
                </a:moveTo>
                <a:lnTo>
                  <a:pt x="1928420" y="5025610"/>
                </a:lnTo>
                <a:lnTo>
                  <a:pt x="1932440" y="5029648"/>
                </a:lnTo>
                <a:lnTo>
                  <a:pt x="1932440" y="5039519"/>
                </a:lnTo>
                <a:lnTo>
                  <a:pt x="1928420" y="5043558"/>
                </a:lnTo>
                <a:lnTo>
                  <a:pt x="1918510" y="5043558"/>
                </a:lnTo>
                <a:lnTo>
                  <a:pt x="1914492" y="5039519"/>
                </a:lnTo>
                <a:lnTo>
                  <a:pt x="1914492" y="5029648"/>
                </a:lnTo>
                <a:close/>
                <a:moveTo>
                  <a:pt x="1679204" y="5025610"/>
                </a:moveTo>
                <a:lnTo>
                  <a:pt x="1689115" y="5025610"/>
                </a:lnTo>
                <a:lnTo>
                  <a:pt x="1693133" y="5029648"/>
                </a:lnTo>
                <a:lnTo>
                  <a:pt x="1693133" y="5039519"/>
                </a:lnTo>
                <a:lnTo>
                  <a:pt x="1689115" y="5043558"/>
                </a:lnTo>
                <a:lnTo>
                  <a:pt x="1679204" y="5043558"/>
                </a:lnTo>
                <a:lnTo>
                  <a:pt x="1675185" y="5039519"/>
                </a:lnTo>
                <a:lnTo>
                  <a:pt x="1675185" y="5029648"/>
                </a:lnTo>
                <a:close/>
                <a:moveTo>
                  <a:pt x="1439889" y="5025610"/>
                </a:moveTo>
                <a:lnTo>
                  <a:pt x="1449798" y="5025610"/>
                </a:lnTo>
                <a:lnTo>
                  <a:pt x="1453818" y="5029648"/>
                </a:lnTo>
                <a:lnTo>
                  <a:pt x="1453818" y="5039519"/>
                </a:lnTo>
                <a:lnTo>
                  <a:pt x="1449798" y="5043558"/>
                </a:lnTo>
                <a:lnTo>
                  <a:pt x="1439889" y="5043558"/>
                </a:lnTo>
                <a:lnTo>
                  <a:pt x="1435870" y="5039519"/>
                </a:lnTo>
                <a:lnTo>
                  <a:pt x="1435870" y="5029648"/>
                </a:lnTo>
                <a:close/>
                <a:moveTo>
                  <a:pt x="1200573" y="5025610"/>
                </a:moveTo>
                <a:lnTo>
                  <a:pt x="1210484" y="5025610"/>
                </a:lnTo>
                <a:lnTo>
                  <a:pt x="1214502" y="5029648"/>
                </a:lnTo>
                <a:lnTo>
                  <a:pt x="1214502" y="5039519"/>
                </a:lnTo>
                <a:lnTo>
                  <a:pt x="1210484" y="5043558"/>
                </a:lnTo>
                <a:lnTo>
                  <a:pt x="1200573" y="5043558"/>
                </a:lnTo>
                <a:lnTo>
                  <a:pt x="1196555" y="5039519"/>
                </a:lnTo>
                <a:lnTo>
                  <a:pt x="1196555" y="5029648"/>
                </a:lnTo>
                <a:close/>
                <a:moveTo>
                  <a:pt x="961261" y="5025610"/>
                </a:moveTo>
                <a:lnTo>
                  <a:pt x="971171" y="5025610"/>
                </a:lnTo>
                <a:lnTo>
                  <a:pt x="975190" y="5029648"/>
                </a:lnTo>
                <a:lnTo>
                  <a:pt x="975190" y="5039519"/>
                </a:lnTo>
                <a:lnTo>
                  <a:pt x="971171" y="5043558"/>
                </a:lnTo>
                <a:lnTo>
                  <a:pt x="961261" y="5043558"/>
                </a:lnTo>
                <a:lnTo>
                  <a:pt x="957242" y="5039519"/>
                </a:lnTo>
                <a:lnTo>
                  <a:pt x="957242" y="5029648"/>
                </a:lnTo>
                <a:close/>
                <a:moveTo>
                  <a:pt x="9572438" y="5025558"/>
                </a:moveTo>
                <a:lnTo>
                  <a:pt x="9582349" y="5025558"/>
                </a:lnTo>
                <a:lnTo>
                  <a:pt x="9586368" y="5029597"/>
                </a:lnTo>
                <a:lnTo>
                  <a:pt x="9586368" y="5039468"/>
                </a:lnTo>
                <a:lnTo>
                  <a:pt x="9582349" y="5043507"/>
                </a:lnTo>
                <a:lnTo>
                  <a:pt x="9572438" y="5043507"/>
                </a:lnTo>
                <a:lnTo>
                  <a:pt x="9568419" y="5039468"/>
                </a:lnTo>
                <a:lnTo>
                  <a:pt x="9568419" y="5029597"/>
                </a:lnTo>
                <a:close/>
                <a:moveTo>
                  <a:pt x="9333125" y="5025558"/>
                </a:moveTo>
                <a:lnTo>
                  <a:pt x="9343036" y="5025558"/>
                </a:lnTo>
                <a:lnTo>
                  <a:pt x="9347055" y="5029597"/>
                </a:lnTo>
                <a:lnTo>
                  <a:pt x="9347055" y="5039468"/>
                </a:lnTo>
                <a:lnTo>
                  <a:pt x="9343036" y="5043507"/>
                </a:lnTo>
                <a:lnTo>
                  <a:pt x="9333125" y="5043507"/>
                </a:lnTo>
                <a:lnTo>
                  <a:pt x="9329106" y="5039468"/>
                </a:lnTo>
                <a:lnTo>
                  <a:pt x="9329106" y="5029597"/>
                </a:lnTo>
                <a:close/>
                <a:moveTo>
                  <a:pt x="9093811" y="5025558"/>
                </a:moveTo>
                <a:lnTo>
                  <a:pt x="9103722" y="5025558"/>
                </a:lnTo>
                <a:lnTo>
                  <a:pt x="9107741" y="5029597"/>
                </a:lnTo>
                <a:lnTo>
                  <a:pt x="9107741" y="5039468"/>
                </a:lnTo>
                <a:lnTo>
                  <a:pt x="9103722" y="5043507"/>
                </a:lnTo>
                <a:lnTo>
                  <a:pt x="9093811" y="5043507"/>
                </a:lnTo>
                <a:lnTo>
                  <a:pt x="9089792" y="5039468"/>
                </a:lnTo>
                <a:lnTo>
                  <a:pt x="9089792" y="5029597"/>
                </a:lnTo>
                <a:close/>
                <a:moveTo>
                  <a:pt x="8854496" y="5025558"/>
                </a:moveTo>
                <a:lnTo>
                  <a:pt x="8864407" y="5025558"/>
                </a:lnTo>
                <a:lnTo>
                  <a:pt x="8868426" y="5029597"/>
                </a:lnTo>
                <a:lnTo>
                  <a:pt x="8868426" y="5039468"/>
                </a:lnTo>
                <a:lnTo>
                  <a:pt x="8864407" y="5043507"/>
                </a:lnTo>
                <a:lnTo>
                  <a:pt x="8854496" y="5043507"/>
                </a:lnTo>
                <a:lnTo>
                  <a:pt x="8850477" y="5039468"/>
                </a:lnTo>
                <a:lnTo>
                  <a:pt x="8850477" y="5029597"/>
                </a:lnTo>
                <a:close/>
                <a:moveTo>
                  <a:pt x="8615184" y="5025558"/>
                </a:moveTo>
                <a:lnTo>
                  <a:pt x="8625095" y="5025558"/>
                </a:lnTo>
                <a:lnTo>
                  <a:pt x="8629114" y="5029597"/>
                </a:lnTo>
                <a:lnTo>
                  <a:pt x="8629114" y="5039468"/>
                </a:lnTo>
                <a:lnTo>
                  <a:pt x="8625095" y="5043507"/>
                </a:lnTo>
                <a:lnTo>
                  <a:pt x="8615184" y="5043507"/>
                </a:lnTo>
                <a:lnTo>
                  <a:pt x="8611165" y="5039468"/>
                </a:lnTo>
                <a:lnTo>
                  <a:pt x="8611165" y="5029597"/>
                </a:lnTo>
                <a:close/>
                <a:moveTo>
                  <a:pt x="8375869" y="5025558"/>
                </a:moveTo>
                <a:lnTo>
                  <a:pt x="8385779" y="5025558"/>
                </a:lnTo>
                <a:lnTo>
                  <a:pt x="8389799" y="5029597"/>
                </a:lnTo>
                <a:lnTo>
                  <a:pt x="8389799" y="5039468"/>
                </a:lnTo>
                <a:lnTo>
                  <a:pt x="8385779" y="5043507"/>
                </a:lnTo>
                <a:lnTo>
                  <a:pt x="8375869" y="5043507"/>
                </a:lnTo>
                <a:lnTo>
                  <a:pt x="8371850" y="5039468"/>
                </a:lnTo>
                <a:lnTo>
                  <a:pt x="8371850" y="5029597"/>
                </a:lnTo>
                <a:close/>
                <a:moveTo>
                  <a:pt x="8136553" y="5025558"/>
                </a:moveTo>
                <a:lnTo>
                  <a:pt x="8146464" y="5025558"/>
                </a:lnTo>
                <a:lnTo>
                  <a:pt x="8150483" y="5029597"/>
                </a:lnTo>
                <a:lnTo>
                  <a:pt x="8150483" y="5039468"/>
                </a:lnTo>
                <a:lnTo>
                  <a:pt x="8146464" y="5043507"/>
                </a:lnTo>
                <a:lnTo>
                  <a:pt x="8136553" y="5043507"/>
                </a:lnTo>
                <a:lnTo>
                  <a:pt x="8132534" y="5039468"/>
                </a:lnTo>
                <a:lnTo>
                  <a:pt x="8132534" y="5029597"/>
                </a:lnTo>
                <a:close/>
                <a:moveTo>
                  <a:pt x="7897241" y="5025558"/>
                </a:moveTo>
                <a:lnTo>
                  <a:pt x="7907151" y="5025558"/>
                </a:lnTo>
                <a:lnTo>
                  <a:pt x="7911170" y="5029597"/>
                </a:lnTo>
                <a:lnTo>
                  <a:pt x="7911170" y="5039468"/>
                </a:lnTo>
                <a:lnTo>
                  <a:pt x="7907151" y="5043507"/>
                </a:lnTo>
                <a:lnTo>
                  <a:pt x="7897241" y="5043507"/>
                </a:lnTo>
                <a:lnTo>
                  <a:pt x="7893222" y="5039468"/>
                </a:lnTo>
                <a:lnTo>
                  <a:pt x="7893222" y="5029597"/>
                </a:lnTo>
                <a:close/>
                <a:moveTo>
                  <a:pt x="7657926" y="5025558"/>
                </a:moveTo>
                <a:lnTo>
                  <a:pt x="7667836" y="5025558"/>
                </a:lnTo>
                <a:lnTo>
                  <a:pt x="7671855" y="5029597"/>
                </a:lnTo>
                <a:lnTo>
                  <a:pt x="7671855" y="5039468"/>
                </a:lnTo>
                <a:lnTo>
                  <a:pt x="7667836" y="5043507"/>
                </a:lnTo>
                <a:lnTo>
                  <a:pt x="7657926" y="5043507"/>
                </a:lnTo>
                <a:lnTo>
                  <a:pt x="7653906" y="5039468"/>
                </a:lnTo>
                <a:lnTo>
                  <a:pt x="7653906" y="5029597"/>
                </a:lnTo>
                <a:close/>
                <a:moveTo>
                  <a:pt x="7418611" y="5025558"/>
                </a:moveTo>
                <a:lnTo>
                  <a:pt x="7428521" y="5025558"/>
                </a:lnTo>
                <a:lnTo>
                  <a:pt x="7432540" y="5029597"/>
                </a:lnTo>
                <a:lnTo>
                  <a:pt x="7432540" y="5039468"/>
                </a:lnTo>
                <a:lnTo>
                  <a:pt x="7428521" y="5043507"/>
                </a:lnTo>
                <a:lnTo>
                  <a:pt x="7418611" y="5043507"/>
                </a:lnTo>
                <a:lnTo>
                  <a:pt x="7414592" y="5039468"/>
                </a:lnTo>
                <a:lnTo>
                  <a:pt x="7414592" y="5029597"/>
                </a:lnTo>
                <a:close/>
                <a:moveTo>
                  <a:pt x="7179298" y="5025558"/>
                </a:moveTo>
                <a:lnTo>
                  <a:pt x="7189209" y="5025558"/>
                </a:lnTo>
                <a:lnTo>
                  <a:pt x="7193228" y="5029597"/>
                </a:lnTo>
                <a:lnTo>
                  <a:pt x="7193228" y="5039468"/>
                </a:lnTo>
                <a:lnTo>
                  <a:pt x="7189209" y="5043507"/>
                </a:lnTo>
                <a:lnTo>
                  <a:pt x="7179298" y="5043507"/>
                </a:lnTo>
                <a:lnTo>
                  <a:pt x="7175279" y="5039468"/>
                </a:lnTo>
                <a:lnTo>
                  <a:pt x="7175279" y="5029597"/>
                </a:lnTo>
                <a:close/>
                <a:moveTo>
                  <a:pt x="6939983" y="5025558"/>
                </a:moveTo>
                <a:lnTo>
                  <a:pt x="6949894" y="5025558"/>
                </a:lnTo>
                <a:lnTo>
                  <a:pt x="6953913" y="5029597"/>
                </a:lnTo>
                <a:lnTo>
                  <a:pt x="6953913" y="5039468"/>
                </a:lnTo>
                <a:lnTo>
                  <a:pt x="6949894" y="5043507"/>
                </a:lnTo>
                <a:lnTo>
                  <a:pt x="6939983" y="5043507"/>
                </a:lnTo>
                <a:lnTo>
                  <a:pt x="6935964" y="5039468"/>
                </a:lnTo>
                <a:lnTo>
                  <a:pt x="6935964" y="5029597"/>
                </a:lnTo>
                <a:close/>
                <a:moveTo>
                  <a:pt x="6700670" y="5025558"/>
                </a:moveTo>
                <a:lnTo>
                  <a:pt x="6710581" y="5025558"/>
                </a:lnTo>
                <a:lnTo>
                  <a:pt x="6714600" y="5029597"/>
                </a:lnTo>
                <a:lnTo>
                  <a:pt x="6714600" y="5039468"/>
                </a:lnTo>
                <a:lnTo>
                  <a:pt x="6710581" y="5043507"/>
                </a:lnTo>
                <a:lnTo>
                  <a:pt x="6700670" y="5043507"/>
                </a:lnTo>
                <a:lnTo>
                  <a:pt x="6696651" y="5039468"/>
                </a:lnTo>
                <a:lnTo>
                  <a:pt x="6696651" y="5029597"/>
                </a:lnTo>
                <a:close/>
                <a:moveTo>
                  <a:pt x="6461356" y="5025558"/>
                </a:moveTo>
                <a:lnTo>
                  <a:pt x="6471266" y="5025558"/>
                </a:lnTo>
                <a:lnTo>
                  <a:pt x="6475285" y="5029597"/>
                </a:lnTo>
                <a:lnTo>
                  <a:pt x="6475285" y="5039468"/>
                </a:lnTo>
                <a:lnTo>
                  <a:pt x="6471266" y="5043507"/>
                </a:lnTo>
                <a:lnTo>
                  <a:pt x="6461356" y="5043507"/>
                </a:lnTo>
                <a:lnTo>
                  <a:pt x="6457337" y="5039468"/>
                </a:lnTo>
                <a:lnTo>
                  <a:pt x="6457337" y="5029597"/>
                </a:lnTo>
                <a:close/>
                <a:moveTo>
                  <a:pt x="6222042" y="5025558"/>
                </a:moveTo>
                <a:lnTo>
                  <a:pt x="6231952" y="5025558"/>
                </a:lnTo>
                <a:lnTo>
                  <a:pt x="6235971" y="5029597"/>
                </a:lnTo>
                <a:lnTo>
                  <a:pt x="6235971" y="5039468"/>
                </a:lnTo>
                <a:lnTo>
                  <a:pt x="6231952" y="5043507"/>
                </a:lnTo>
                <a:lnTo>
                  <a:pt x="6222042" y="5043507"/>
                </a:lnTo>
                <a:lnTo>
                  <a:pt x="6218023" y="5039468"/>
                </a:lnTo>
                <a:lnTo>
                  <a:pt x="6218023" y="5029597"/>
                </a:lnTo>
                <a:close/>
                <a:moveTo>
                  <a:pt x="5982729" y="5025558"/>
                </a:moveTo>
                <a:lnTo>
                  <a:pt x="5992639" y="5025558"/>
                </a:lnTo>
                <a:lnTo>
                  <a:pt x="5996658" y="5029597"/>
                </a:lnTo>
                <a:lnTo>
                  <a:pt x="5996658" y="5039468"/>
                </a:lnTo>
                <a:lnTo>
                  <a:pt x="5992639" y="5043507"/>
                </a:lnTo>
                <a:lnTo>
                  <a:pt x="5982729" y="5043507"/>
                </a:lnTo>
                <a:lnTo>
                  <a:pt x="5978710" y="5039468"/>
                </a:lnTo>
                <a:lnTo>
                  <a:pt x="5978710" y="5029597"/>
                </a:lnTo>
                <a:close/>
                <a:moveTo>
                  <a:pt x="5743412" y="5025558"/>
                </a:moveTo>
                <a:lnTo>
                  <a:pt x="5753323" y="5025558"/>
                </a:lnTo>
                <a:lnTo>
                  <a:pt x="5757342" y="5029597"/>
                </a:lnTo>
                <a:lnTo>
                  <a:pt x="5757342" y="5039468"/>
                </a:lnTo>
                <a:lnTo>
                  <a:pt x="5753323" y="5043507"/>
                </a:lnTo>
                <a:lnTo>
                  <a:pt x="5743412" y="5043507"/>
                </a:lnTo>
                <a:lnTo>
                  <a:pt x="5739393" y="5039468"/>
                </a:lnTo>
                <a:lnTo>
                  <a:pt x="5739393" y="5029597"/>
                </a:lnTo>
                <a:close/>
                <a:moveTo>
                  <a:pt x="5504099" y="5025558"/>
                </a:moveTo>
                <a:lnTo>
                  <a:pt x="5514010" y="5025558"/>
                </a:lnTo>
                <a:lnTo>
                  <a:pt x="5518029" y="5029597"/>
                </a:lnTo>
                <a:lnTo>
                  <a:pt x="5518029" y="5039468"/>
                </a:lnTo>
                <a:lnTo>
                  <a:pt x="5514010" y="5043507"/>
                </a:lnTo>
                <a:lnTo>
                  <a:pt x="5504099" y="5043507"/>
                </a:lnTo>
                <a:lnTo>
                  <a:pt x="5500080" y="5039468"/>
                </a:lnTo>
                <a:lnTo>
                  <a:pt x="5500080" y="5029597"/>
                </a:lnTo>
                <a:close/>
                <a:moveTo>
                  <a:pt x="5264784" y="5025558"/>
                </a:moveTo>
                <a:lnTo>
                  <a:pt x="5274694" y="5025558"/>
                </a:lnTo>
                <a:lnTo>
                  <a:pt x="5278713" y="5029597"/>
                </a:lnTo>
                <a:lnTo>
                  <a:pt x="5278713" y="5039468"/>
                </a:lnTo>
                <a:lnTo>
                  <a:pt x="5274694" y="5043507"/>
                </a:lnTo>
                <a:lnTo>
                  <a:pt x="5264784" y="5043507"/>
                </a:lnTo>
                <a:lnTo>
                  <a:pt x="5260765" y="5039468"/>
                </a:lnTo>
                <a:lnTo>
                  <a:pt x="5260765" y="5029597"/>
                </a:lnTo>
                <a:close/>
                <a:moveTo>
                  <a:pt x="5025470" y="5025558"/>
                </a:moveTo>
                <a:lnTo>
                  <a:pt x="5035381" y="5025558"/>
                </a:lnTo>
                <a:lnTo>
                  <a:pt x="5039400" y="5029597"/>
                </a:lnTo>
                <a:lnTo>
                  <a:pt x="5039400" y="5039468"/>
                </a:lnTo>
                <a:lnTo>
                  <a:pt x="5035381" y="5043507"/>
                </a:lnTo>
                <a:lnTo>
                  <a:pt x="5025470" y="5043507"/>
                </a:lnTo>
                <a:lnTo>
                  <a:pt x="5021451" y="5039468"/>
                </a:lnTo>
                <a:lnTo>
                  <a:pt x="5021451" y="5029597"/>
                </a:lnTo>
                <a:close/>
                <a:moveTo>
                  <a:pt x="4786241" y="5025558"/>
                </a:moveTo>
                <a:lnTo>
                  <a:pt x="4796152" y="5025558"/>
                </a:lnTo>
                <a:lnTo>
                  <a:pt x="4800171" y="5029597"/>
                </a:lnTo>
                <a:lnTo>
                  <a:pt x="4800171" y="5039468"/>
                </a:lnTo>
                <a:lnTo>
                  <a:pt x="4796152" y="5043507"/>
                </a:lnTo>
                <a:lnTo>
                  <a:pt x="4786241" y="5043507"/>
                </a:lnTo>
                <a:lnTo>
                  <a:pt x="4782224" y="5039468"/>
                </a:lnTo>
                <a:lnTo>
                  <a:pt x="4782224" y="5029597"/>
                </a:lnTo>
                <a:close/>
                <a:moveTo>
                  <a:pt x="4546929" y="5025558"/>
                </a:moveTo>
                <a:lnTo>
                  <a:pt x="4556840" y="5025558"/>
                </a:lnTo>
                <a:lnTo>
                  <a:pt x="4560859" y="5029597"/>
                </a:lnTo>
                <a:lnTo>
                  <a:pt x="4560859" y="5039468"/>
                </a:lnTo>
                <a:lnTo>
                  <a:pt x="4556840" y="5043507"/>
                </a:lnTo>
                <a:lnTo>
                  <a:pt x="4546929" y="5043507"/>
                </a:lnTo>
                <a:lnTo>
                  <a:pt x="4542910" y="5039468"/>
                </a:lnTo>
                <a:lnTo>
                  <a:pt x="4542910" y="5029597"/>
                </a:lnTo>
                <a:close/>
                <a:moveTo>
                  <a:pt x="4307612" y="5025558"/>
                </a:moveTo>
                <a:lnTo>
                  <a:pt x="4317523" y="5025558"/>
                </a:lnTo>
                <a:lnTo>
                  <a:pt x="4321543" y="5029597"/>
                </a:lnTo>
                <a:lnTo>
                  <a:pt x="4321543" y="5039468"/>
                </a:lnTo>
                <a:lnTo>
                  <a:pt x="4317523" y="5043507"/>
                </a:lnTo>
                <a:lnTo>
                  <a:pt x="4307612" y="5043507"/>
                </a:lnTo>
                <a:lnTo>
                  <a:pt x="4303595" y="5039468"/>
                </a:lnTo>
                <a:lnTo>
                  <a:pt x="4303595" y="5029597"/>
                </a:lnTo>
                <a:close/>
                <a:moveTo>
                  <a:pt x="4068297" y="5025558"/>
                </a:moveTo>
                <a:lnTo>
                  <a:pt x="4078210" y="5025558"/>
                </a:lnTo>
                <a:lnTo>
                  <a:pt x="4082229" y="5029597"/>
                </a:lnTo>
                <a:lnTo>
                  <a:pt x="4082229" y="5039468"/>
                </a:lnTo>
                <a:lnTo>
                  <a:pt x="4078210" y="5043507"/>
                </a:lnTo>
                <a:lnTo>
                  <a:pt x="4068297" y="5043507"/>
                </a:lnTo>
                <a:lnTo>
                  <a:pt x="4064278" y="5039468"/>
                </a:lnTo>
                <a:lnTo>
                  <a:pt x="4064278" y="5029597"/>
                </a:lnTo>
                <a:close/>
                <a:moveTo>
                  <a:pt x="3828990" y="5025558"/>
                </a:moveTo>
                <a:lnTo>
                  <a:pt x="3838899" y="5025558"/>
                </a:lnTo>
                <a:lnTo>
                  <a:pt x="3842917" y="5029597"/>
                </a:lnTo>
                <a:lnTo>
                  <a:pt x="3842917" y="5039468"/>
                </a:lnTo>
                <a:lnTo>
                  <a:pt x="3838899" y="5043507"/>
                </a:lnTo>
                <a:lnTo>
                  <a:pt x="3828990" y="5043507"/>
                </a:lnTo>
                <a:lnTo>
                  <a:pt x="3824971" y="5039468"/>
                </a:lnTo>
                <a:lnTo>
                  <a:pt x="3824971" y="5029597"/>
                </a:lnTo>
                <a:close/>
                <a:moveTo>
                  <a:pt x="3589676" y="5025558"/>
                </a:moveTo>
                <a:lnTo>
                  <a:pt x="3599585" y="5025558"/>
                </a:lnTo>
                <a:lnTo>
                  <a:pt x="3603604" y="5029597"/>
                </a:lnTo>
                <a:lnTo>
                  <a:pt x="3603604" y="5039468"/>
                </a:lnTo>
                <a:lnTo>
                  <a:pt x="3599585" y="5043507"/>
                </a:lnTo>
                <a:lnTo>
                  <a:pt x="3589676" y="5043507"/>
                </a:lnTo>
                <a:lnTo>
                  <a:pt x="3585657" y="5039468"/>
                </a:lnTo>
                <a:lnTo>
                  <a:pt x="3585657" y="5029597"/>
                </a:lnTo>
                <a:close/>
                <a:moveTo>
                  <a:pt x="3350359" y="5025558"/>
                </a:moveTo>
                <a:lnTo>
                  <a:pt x="3360268" y="5025558"/>
                </a:lnTo>
                <a:lnTo>
                  <a:pt x="3364287" y="5029597"/>
                </a:lnTo>
                <a:lnTo>
                  <a:pt x="3364287" y="5039468"/>
                </a:lnTo>
                <a:lnTo>
                  <a:pt x="3360268" y="5043507"/>
                </a:lnTo>
                <a:lnTo>
                  <a:pt x="3350359" y="5043507"/>
                </a:lnTo>
                <a:lnTo>
                  <a:pt x="3346340" y="5039468"/>
                </a:lnTo>
                <a:lnTo>
                  <a:pt x="3346340" y="5029597"/>
                </a:lnTo>
                <a:close/>
                <a:moveTo>
                  <a:pt x="3111048" y="5025558"/>
                </a:moveTo>
                <a:lnTo>
                  <a:pt x="3120959" y="5025558"/>
                </a:lnTo>
                <a:lnTo>
                  <a:pt x="3124977" y="5029597"/>
                </a:lnTo>
                <a:lnTo>
                  <a:pt x="3124977" y="5039468"/>
                </a:lnTo>
                <a:lnTo>
                  <a:pt x="3120959" y="5043507"/>
                </a:lnTo>
                <a:lnTo>
                  <a:pt x="3111048" y="5043507"/>
                </a:lnTo>
                <a:lnTo>
                  <a:pt x="3107029" y="5039468"/>
                </a:lnTo>
                <a:lnTo>
                  <a:pt x="3107029" y="5029597"/>
                </a:lnTo>
                <a:close/>
                <a:moveTo>
                  <a:pt x="2871737" y="5025558"/>
                </a:moveTo>
                <a:lnTo>
                  <a:pt x="2881646" y="5025558"/>
                </a:lnTo>
                <a:lnTo>
                  <a:pt x="2885666" y="5029597"/>
                </a:lnTo>
                <a:lnTo>
                  <a:pt x="2885666" y="5039468"/>
                </a:lnTo>
                <a:lnTo>
                  <a:pt x="2881646" y="5043507"/>
                </a:lnTo>
                <a:lnTo>
                  <a:pt x="2871737" y="5043507"/>
                </a:lnTo>
                <a:lnTo>
                  <a:pt x="2867717" y="5039468"/>
                </a:lnTo>
                <a:lnTo>
                  <a:pt x="2867717" y="5029597"/>
                </a:lnTo>
                <a:close/>
                <a:moveTo>
                  <a:pt x="2632423" y="5025558"/>
                </a:moveTo>
                <a:lnTo>
                  <a:pt x="2642334" y="5025558"/>
                </a:lnTo>
                <a:lnTo>
                  <a:pt x="2646352" y="5029597"/>
                </a:lnTo>
                <a:lnTo>
                  <a:pt x="2646352" y="5039468"/>
                </a:lnTo>
                <a:lnTo>
                  <a:pt x="2642334" y="5043507"/>
                </a:lnTo>
                <a:lnTo>
                  <a:pt x="2632423" y="5043507"/>
                </a:lnTo>
                <a:lnTo>
                  <a:pt x="2628404" y="5039468"/>
                </a:lnTo>
                <a:lnTo>
                  <a:pt x="2628404" y="5029597"/>
                </a:lnTo>
                <a:close/>
                <a:moveTo>
                  <a:pt x="2393104" y="5025558"/>
                </a:moveTo>
                <a:lnTo>
                  <a:pt x="2403015" y="5025558"/>
                </a:lnTo>
                <a:lnTo>
                  <a:pt x="2407034" y="5029597"/>
                </a:lnTo>
                <a:lnTo>
                  <a:pt x="2407034" y="5039468"/>
                </a:lnTo>
                <a:lnTo>
                  <a:pt x="2403015" y="5043507"/>
                </a:lnTo>
                <a:lnTo>
                  <a:pt x="2393104" y="5043507"/>
                </a:lnTo>
                <a:lnTo>
                  <a:pt x="2389087" y="5039468"/>
                </a:lnTo>
                <a:lnTo>
                  <a:pt x="2389087" y="5029597"/>
                </a:lnTo>
                <a:close/>
                <a:moveTo>
                  <a:pt x="721962" y="5025558"/>
                </a:moveTo>
                <a:lnTo>
                  <a:pt x="731872" y="5025558"/>
                </a:lnTo>
                <a:lnTo>
                  <a:pt x="735891" y="5029597"/>
                </a:lnTo>
                <a:lnTo>
                  <a:pt x="735891" y="5039468"/>
                </a:lnTo>
                <a:lnTo>
                  <a:pt x="731872" y="5043507"/>
                </a:lnTo>
                <a:lnTo>
                  <a:pt x="721962" y="5043507"/>
                </a:lnTo>
                <a:lnTo>
                  <a:pt x="717944" y="5039468"/>
                </a:lnTo>
                <a:lnTo>
                  <a:pt x="717944" y="5029597"/>
                </a:lnTo>
                <a:close/>
                <a:moveTo>
                  <a:pt x="482650" y="5025558"/>
                </a:moveTo>
                <a:lnTo>
                  <a:pt x="492560" y="5025558"/>
                </a:lnTo>
                <a:lnTo>
                  <a:pt x="496580" y="5029597"/>
                </a:lnTo>
                <a:lnTo>
                  <a:pt x="496580" y="5039468"/>
                </a:lnTo>
                <a:lnTo>
                  <a:pt x="492560" y="5043507"/>
                </a:lnTo>
                <a:lnTo>
                  <a:pt x="482650" y="5043507"/>
                </a:lnTo>
                <a:lnTo>
                  <a:pt x="478631" y="5039468"/>
                </a:lnTo>
                <a:lnTo>
                  <a:pt x="478631" y="5029597"/>
                </a:lnTo>
                <a:close/>
                <a:moveTo>
                  <a:pt x="243336" y="5025558"/>
                </a:moveTo>
                <a:lnTo>
                  <a:pt x="253247" y="5025558"/>
                </a:lnTo>
                <a:lnTo>
                  <a:pt x="257266" y="5029597"/>
                </a:lnTo>
                <a:lnTo>
                  <a:pt x="257266" y="5039468"/>
                </a:lnTo>
                <a:lnTo>
                  <a:pt x="253247" y="5043507"/>
                </a:lnTo>
                <a:lnTo>
                  <a:pt x="243336" y="5043507"/>
                </a:lnTo>
                <a:lnTo>
                  <a:pt x="239317" y="5039468"/>
                </a:lnTo>
                <a:lnTo>
                  <a:pt x="239317" y="5029597"/>
                </a:lnTo>
                <a:close/>
                <a:moveTo>
                  <a:pt x="4024" y="5025558"/>
                </a:moveTo>
                <a:lnTo>
                  <a:pt x="13933" y="5025558"/>
                </a:lnTo>
                <a:lnTo>
                  <a:pt x="17952" y="5029597"/>
                </a:lnTo>
                <a:lnTo>
                  <a:pt x="17952" y="5039468"/>
                </a:lnTo>
                <a:lnTo>
                  <a:pt x="13933" y="5043507"/>
                </a:lnTo>
                <a:lnTo>
                  <a:pt x="4024" y="5043507"/>
                </a:lnTo>
                <a:lnTo>
                  <a:pt x="4" y="5039468"/>
                </a:lnTo>
                <a:lnTo>
                  <a:pt x="4" y="5029597"/>
                </a:lnTo>
                <a:close/>
                <a:moveTo>
                  <a:pt x="9572438" y="4786279"/>
                </a:moveTo>
                <a:lnTo>
                  <a:pt x="9582349" y="4786279"/>
                </a:lnTo>
                <a:lnTo>
                  <a:pt x="9586368" y="4790317"/>
                </a:lnTo>
                <a:lnTo>
                  <a:pt x="9586368" y="4800188"/>
                </a:lnTo>
                <a:lnTo>
                  <a:pt x="9582349" y="4804227"/>
                </a:lnTo>
                <a:lnTo>
                  <a:pt x="9572438" y="4804227"/>
                </a:lnTo>
                <a:lnTo>
                  <a:pt x="9568419" y="4800188"/>
                </a:lnTo>
                <a:lnTo>
                  <a:pt x="9568419" y="4790317"/>
                </a:lnTo>
                <a:close/>
                <a:moveTo>
                  <a:pt x="9333125" y="4786279"/>
                </a:moveTo>
                <a:lnTo>
                  <a:pt x="9343036" y="4786279"/>
                </a:lnTo>
                <a:lnTo>
                  <a:pt x="9347055" y="4790317"/>
                </a:lnTo>
                <a:lnTo>
                  <a:pt x="9347055" y="4800188"/>
                </a:lnTo>
                <a:lnTo>
                  <a:pt x="9343036" y="4804227"/>
                </a:lnTo>
                <a:lnTo>
                  <a:pt x="9333125" y="4804227"/>
                </a:lnTo>
                <a:lnTo>
                  <a:pt x="9329106" y="4800188"/>
                </a:lnTo>
                <a:lnTo>
                  <a:pt x="9329106" y="4790317"/>
                </a:lnTo>
                <a:close/>
                <a:moveTo>
                  <a:pt x="9093811" y="4786279"/>
                </a:moveTo>
                <a:lnTo>
                  <a:pt x="9103722" y="4786279"/>
                </a:lnTo>
                <a:lnTo>
                  <a:pt x="9107741" y="4790317"/>
                </a:lnTo>
                <a:lnTo>
                  <a:pt x="9107741" y="4800188"/>
                </a:lnTo>
                <a:lnTo>
                  <a:pt x="9103722" y="4804227"/>
                </a:lnTo>
                <a:lnTo>
                  <a:pt x="9093811" y="4804227"/>
                </a:lnTo>
                <a:lnTo>
                  <a:pt x="9089792" y="4800188"/>
                </a:lnTo>
                <a:lnTo>
                  <a:pt x="9089792" y="4790317"/>
                </a:lnTo>
                <a:close/>
                <a:moveTo>
                  <a:pt x="8854496" y="4786279"/>
                </a:moveTo>
                <a:lnTo>
                  <a:pt x="8864407" y="4786279"/>
                </a:lnTo>
                <a:lnTo>
                  <a:pt x="8868426" y="4790317"/>
                </a:lnTo>
                <a:lnTo>
                  <a:pt x="8868426" y="4800188"/>
                </a:lnTo>
                <a:lnTo>
                  <a:pt x="8864407" y="4804227"/>
                </a:lnTo>
                <a:lnTo>
                  <a:pt x="8854496" y="4804227"/>
                </a:lnTo>
                <a:lnTo>
                  <a:pt x="8850477" y="4800188"/>
                </a:lnTo>
                <a:lnTo>
                  <a:pt x="8850477" y="4790317"/>
                </a:lnTo>
                <a:close/>
                <a:moveTo>
                  <a:pt x="8615184" y="4786279"/>
                </a:moveTo>
                <a:lnTo>
                  <a:pt x="8625095" y="4786279"/>
                </a:lnTo>
                <a:lnTo>
                  <a:pt x="8629114" y="4790317"/>
                </a:lnTo>
                <a:lnTo>
                  <a:pt x="8629114" y="4800188"/>
                </a:lnTo>
                <a:lnTo>
                  <a:pt x="8625095" y="4804227"/>
                </a:lnTo>
                <a:lnTo>
                  <a:pt x="8615184" y="4804227"/>
                </a:lnTo>
                <a:lnTo>
                  <a:pt x="8611165" y="4800188"/>
                </a:lnTo>
                <a:lnTo>
                  <a:pt x="8611165" y="4790317"/>
                </a:lnTo>
                <a:close/>
                <a:moveTo>
                  <a:pt x="8375869" y="4786279"/>
                </a:moveTo>
                <a:lnTo>
                  <a:pt x="8385779" y="4786279"/>
                </a:lnTo>
                <a:lnTo>
                  <a:pt x="8389799" y="4790317"/>
                </a:lnTo>
                <a:lnTo>
                  <a:pt x="8389799" y="4800188"/>
                </a:lnTo>
                <a:lnTo>
                  <a:pt x="8385779" y="4804227"/>
                </a:lnTo>
                <a:lnTo>
                  <a:pt x="8375869" y="4804227"/>
                </a:lnTo>
                <a:lnTo>
                  <a:pt x="8371850" y="4800188"/>
                </a:lnTo>
                <a:lnTo>
                  <a:pt x="8371850" y="4790317"/>
                </a:lnTo>
                <a:close/>
                <a:moveTo>
                  <a:pt x="8136553" y="4786279"/>
                </a:moveTo>
                <a:lnTo>
                  <a:pt x="8146464" y="4786279"/>
                </a:lnTo>
                <a:lnTo>
                  <a:pt x="8150483" y="4790317"/>
                </a:lnTo>
                <a:lnTo>
                  <a:pt x="8150483" y="4800188"/>
                </a:lnTo>
                <a:lnTo>
                  <a:pt x="8146464" y="4804227"/>
                </a:lnTo>
                <a:lnTo>
                  <a:pt x="8136553" y="4804227"/>
                </a:lnTo>
                <a:lnTo>
                  <a:pt x="8132534" y="4800188"/>
                </a:lnTo>
                <a:lnTo>
                  <a:pt x="8132534" y="4790317"/>
                </a:lnTo>
                <a:close/>
                <a:moveTo>
                  <a:pt x="7897241" y="4786279"/>
                </a:moveTo>
                <a:lnTo>
                  <a:pt x="7907151" y="4786279"/>
                </a:lnTo>
                <a:lnTo>
                  <a:pt x="7911170" y="4790317"/>
                </a:lnTo>
                <a:lnTo>
                  <a:pt x="7911170" y="4800188"/>
                </a:lnTo>
                <a:lnTo>
                  <a:pt x="7907151" y="4804227"/>
                </a:lnTo>
                <a:lnTo>
                  <a:pt x="7897241" y="4804227"/>
                </a:lnTo>
                <a:lnTo>
                  <a:pt x="7893222" y="4800188"/>
                </a:lnTo>
                <a:lnTo>
                  <a:pt x="7893222" y="4790317"/>
                </a:lnTo>
                <a:close/>
                <a:moveTo>
                  <a:pt x="7657926" y="4786279"/>
                </a:moveTo>
                <a:lnTo>
                  <a:pt x="7667836" y="4786279"/>
                </a:lnTo>
                <a:lnTo>
                  <a:pt x="7671855" y="4790317"/>
                </a:lnTo>
                <a:lnTo>
                  <a:pt x="7671855" y="4800188"/>
                </a:lnTo>
                <a:lnTo>
                  <a:pt x="7667836" y="4804227"/>
                </a:lnTo>
                <a:lnTo>
                  <a:pt x="7657926" y="4804227"/>
                </a:lnTo>
                <a:lnTo>
                  <a:pt x="7653906" y="4800188"/>
                </a:lnTo>
                <a:lnTo>
                  <a:pt x="7653906" y="4790317"/>
                </a:lnTo>
                <a:close/>
                <a:moveTo>
                  <a:pt x="7418611" y="4786279"/>
                </a:moveTo>
                <a:lnTo>
                  <a:pt x="7428521" y="4786279"/>
                </a:lnTo>
                <a:lnTo>
                  <a:pt x="7432540" y="4790317"/>
                </a:lnTo>
                <a:lnTo>
                  <a:pt x="7432540" y="4800188"/>
                </a:lnTo>
                <a:lnTo>
                  <a:pt x="7428521" y="4804227"/>
                </a:lnTo>
                <a:lnTo>
                  <a:pt x="7418611" y="4804227"/>
                </a:lnTo>
                <a:lnTo>
                  <a:pt x="7414592" y="4800188"/>
                </a:lnTo>
                <a:lnTo>
                  <a:pt x="7414592" y="4790317"/>
                </a:lnTo>
                <a:close/>
                <a:moveTo>
                  <a:pt x="7179298" y="4786279"/>
                </a:moveTo>
                <a:lnTo>
                  <a:pt x="7189209" y="4786279"/>
                </a:lnTo>
                <a:lnTo>
                  <a:pt x="7193228" y="4790317"/>
                </a:lnTo>
                <a:lnTo>
                  <a:pt x="7193228" y="4800188"/>
                </a:lnTo>
                <a:lnTo>
                  <a:pt x="7189209" y="4804227"/>
                </a:lnTo>
                <a:lnTo>
                  <a:pt x="7179298" y="4804227"/>
                </a:lnTo>
                <a:lnTo>
                  <a:pt x="7175279" y="4800188"/>
                </a:lnTo>
                <a:lnTo>
                  <a:pt x="7175279" y="4790317"/>
                </a:lnTo>
                <a:close/>
                <a:moveTo>
                  <a:pt x="6939983" y="4786279"/>
                </a:moveTo>
                <a:lnTo>
                  <a:pt x="6949894" y="4786279"/>
                </a:lnTo>
                <a:lnTo>
                  <a:pt x="6953913" y="4790317"/>
                </a:lnTo>
                <a:lnTo>
                  <a:pt x="6953913" y="4800188"/>
                </a:lnTo>
                <a:lnTo>
                  <a:pt x="6949894" y="4804227"/>
                </a:lnTo>
                <a:lnTo>
                  <a:pt x="6939983" y="4804227"/>
                </a:lnTo>
                <a:lnTo>
                  <a:pt x="6935964" y="4800188"/>
                </a:lnTo>
                <a:lnTo>
                  <a:pt x="6935964" y="4790317"/>
                </a:lnTo>
                <a:close/>
                <a:moveTo>
                  <a:pt x="6700670" y="4786279"/>
                </a:moveTo>
                <a:lnTo>
                  <a:pt x="6710581" y="4786279"/>
                </a:lnTo>
                <a:lnTo>
                  <a:pt x="6714600" y="4790317"/>
                </a:lnTo>
                <a:lnTo>
                  <a:pt x="6714600" y="4800188"/>
                </a:lnTo>
                <a:lnTo>
                  <a:pt x="6710581" y="4804227"/>
                </a:lnTo>
                <a:lnTo>
                  <a:pt x="6700670" y="4804227"/>
                </a:lnTo>
                <a:lnTo>
                  <a:pt x="6696651" y="4800188"/>
                </a:lnTo>
                <a:lnTo>
                  <a:pt x="6696651" y="4790317"/>
                </a:lnTo>
                <a:close/>
                <a:moveTo>
                  <a:pt x="6461356" y="4786279"/>
                </a:moveTo>
                <a:lnTo>
                  <a:pt x="6471266" y="4786279"/>
                </a:lnTo>
                <a:lnTo>
                  <a:pt x="6475285" y="4790317"/>
                </a:lnTo>
                <a:lnTo>
                  <a:pt x="6475285" y="4800188"/>
                </a:lnTo>
                <a:lnTo>
                  <a:pt x="6471266" y="4804227"/>
                </a:lnTo>
                <a:lnTo>
                  <a:pt x="6461356" y="4804227"/>
                </a:lnTo>
                <a:lnTo>
                  <a:pt x="6457337" y="4800188"/>
                </a:lnTo>
                <a:lnTo>
                  <a:pt x="6457337" y="4790317"/>
                </a:lnTo>
                <a:close/>
                <a:moveTo>
                  <a:pt x="6222042" y="4786279"/>
                </a:moveTo>
                <a:lnTo>
                  <a:pt x="6231952" y="4786279"/>
                </a:lnTo>
                <a:lnTo>
                  <a:pt x="6235971" y="4790317"/>
                </a:lnTo>
                <a:lnTo>
                  <a:pt x="6235971" y="4800188"/>
                </a:lnTo>
                <a:lnTo>
                  <a:pt x="6231952" y="4804227"/>
                </a:lnTo>
                <a:lnTo>
                  <a:pt x="6222042" y="4804227"/>
                </a:lnTo>
                <a:lnTo>
                  <a:pt x="6218023" y="4800188"/>
                </a:lnTo>
                <a:lnTo>
                  <a:pt x="6218023" y="4790317"/>
                </a:lnTo>
                <a:close/>
                <a:moveTo>
                  <a:pt x="5982729" y="4786279"/>
                </a:moveTo>
                <a:lnTo>
                  <a:pt x="5992639" y="4786279"/>
                </a:lnTo>
                <a:lnTo>
                  <a:pt x="5996658" y="4790317"/>
                </a:lnTo>
                <a:lnTo>
                  <a:pt x="5996658" y="4800188"/>
                </a:lnTo>
                <a:lnTo>
                  <a:pt x="5992639" y="4804227"/>
                </a:lnTo>
                <a:lnTo>
                  <a:pt x="5982729" y="4804227"/>
                </a:lnTo>
                <a:lnTo>
                  <a:pt x="5978710" y="4800188"/>
                </a:lnTo>
                <a:lnTo>
                  <a:pt x="5978710" y="4790317"/>
                </a:lnTo>
                <a:close/>
                <a:moveTo>
                  <a:pt x="5743412" y="4786279"/>
                </a:moveTo>
                <a:lnTo>
                  <a:pt x="5753323" y="4786279"/>
                </a:lnTo>
                <a:lnTo>
                  <a:pt x="5757342" y="4790317"/>
                </a:lnTo>
                <a:lnTo>
                  <a:pt x="5757342" y="4800188"/>
                </a:lnTo>
                <a:lnTo>
                  <a:pt x="5753323" y="4804227"/>
                </a:lnTo>
                <a:lnTo>
                  <a:pt x="5743412" y="4804227"/>
                </a:lnTo>
                <a:lnTo>
                  <a:pt x="5739393" y="4800188"/>
                </a:lnTo>
                <a:lnTo>
                  <a:pt x="5739393" y="4790317"/>
                </a:lnTo>
                <a:close/>
                <a:moveTo>
                  <a:pt x="5504099" y="4786279"/>
                </a:moveTo>
                <a:lnTo>
                  <a:pt x="5514010" y="4786279"/>
                </a:lnTo>
                <a:lnTo>
                  <a:pt x="5518029" y="4790317"/>
                </a:lnTo>
                <a:lnTo>
                  <a:pt x="5518029" y="4800188"/>
                </a:lnTo>
                <a:lnTo>
                  <a:pt x="5514010" y="4804227"/>
                </a:lnTo>
                <a:lnTo>
                  <a:pt x="5504099" y="4804227"/>
                </a:lnTo>
                <a:lnTo>
                  <a:pt x="5500080" y="4800188"/>
                </a:lnTo>
                <a:lnTo>
                  <a:pt x="5500080" y="4790317"/>
                </a:lnTo>
                <a:close/>
                <a:moveTo>
                  <a:pt x="5264784" y="4786279"/>
                </a:moveTo>
                <a:lnTo>
                  <a:pt x="5274694" y="4786279"/>
                </a:lnTo>
                <a:lnTo>
                  <a:pt x="5278713" y="4790317"/>
                </a:lnTo>
                <a:lnTo>
                  <a:pt x="5278713" y="4800188"/>
                </a:lnTo>
                <a:lnTo>
                  <a:pt x="5274694" y="4804227"/>
                </a:lnTo>
                <a:lnTo>
                  <a:pt x="5264784" y="4804227"/>
                </a:lnTo>
                <a:lnTo>
                  <a:pt x="5260765" y="4800188"/>
                </a:lnTo>
                <a:lnTo>
                  <a:pt x="5260765" y="4790317"/>
                </a:lnTo>
                <a:close/>
                <a:moveTo>
                  <a:pt x="5025470" y="4786279"/>
                </a:moveTo>
                <a:lnTo>
                  <a:pt x="5035381" y="4786279"/>
                </a:lnTo>
                <a:lnTo>
                  <a:pt x="5039400" y="4790317"/>
                </a:lnTo>
                <a:lnTo>
                  <a:pt x="5039400" y="4800188"/>
                </a:lnTo>
                <a:lnTo>
                  <a:pt x="5035381" y="4804227"/>
                </a:lnTo>
                <a:lnTo>
                  <a:pt x="5025470" y="4804227"/>
                </a:lnTo>
                <a:lnTo>
                  <a:pt x="5021451" y="4800188"/>
                </a:lnTo>
                <a:lnTo>
                  <a:pt x="5021451" y="4790317"/>
                </a:lnTo>
                <a:close/>
                <a:moveTo>
                  <a:pt x="4786241" y="4786279"/>
                </a:moveTo>
                <a:lnTo>
                  <a:pt x="4796152" y="4786279"/>
                </a:lnTo>
                <a:lnTo>
                  <a:pt x="4800171" y="4790317"/>
                </a:lnTo>
                <a:lnTo>
                  <a:pt x="4800171" y="4800188"/>
                </a:lnTo>
                <a:lnTo>
                  <a:pt x="4796152" y="4804227"/>
                </a:lnTo>
                <a:lnTo>
                  <a:pt x="4786241" y="4804227"/>
                </a:lnTo>
                <a:lnTo>
                  <a:pt x="4782224" y="4800188"/>
                </a:lnTo>
                <a:lnTo>
                  <a:pt x="4782224" y="4790317"/>
                </a:lnTo>
                <a:close/>
                <a:moveTo>
                  <a:pt x="4546929" y="4786279"/>
                </a:moveTo>
                <a:lnTo>
                  <a:pt x="4556840" y="4786279"/>
                </a:lnTo>
                <a:lnTo>
                  <a:pt x="4560859" y="4790317"/>
                </a:lnTo>
                <a:lnTo>
                  <a:pt x="4560859" y="4800188"/>
                </a:lnTo>
                <a:lnTo>
                  <a:pt x="4556840" y="4804227"/>
                </a:lnTo>
                <a:lnTo>
                  <a:pt x="4546929" y="4804227"/>
                </a:lnTo>
                <a:lnTo>
                  <a:pt x="4542910" y="4800188"/>
                </a:lnTo>
                <a:lnTo>
                  <a:pt x="4542910" y="4790317"/>
                </a:lnTo>
                <a:close/>
                <a:moveTo>
                  <a:pt x="4307612" y="4786279"/>
                </a:moveTo>
                <a:lnTo>
                  <a:pt x="4317523" y="4786279"/>
                </a:lnTo>
                <a:lnTo>
                  <a:pt x="4321543" y="4790317"/>
                </a:lnTo>
                <a:lnTo>
                  <a:pt x="4321543" y="4800188"/>
                </a:lnTo>
                <a:lnTo>
                  <a:pt x="4317523" y="4804227"/>
                </a:lnTo>
                <a:lnTo>
                  <a:pt x="4307612" y="4804227"/>
                </a:lnTo>
                <a:lnTo>
                  <a:pt x="4303595" y="4800188"/>
                </a:lnTo>
                <a:lnTo>
                  <a:pt x="4303595" y="4790317"/>
                </a:lnTo>
                <a:close/>
                <a:moveTo>
                  <a:pt x="4068297" y="4786279"/>
                </a:moveTo>
                <a:lnTo>
                  <a:pt x="4078210" y="4786279"/>
                </a:lnTo>
                <a:lnTo>
                  <a:pt x="4082229" y="4790317"/>
                </a:lnTo>
                <a:lnTo>
                  <a:pt x="4082229" y="4800188"/>
                </a:lnTo>
                <a:lnTo>
                  <a:pt x="4078210" y="4804227"/>
                </a:lnTo>
                <a:lnTo>
                  <a:pt x="4068297" y="4804227"/>
                </a:lnTo>
                <a:lnTo>
                  <a:pt x="4064278" y="4800188"/>
                </a:lnTo>
                <a:lnTo>
                  <a:pt x="4064278" y="4790317"/>
                </a:lnTo>
                <a:close/>
                <a:moveTo>
                  <a:pt x="3828990" y="4786279"/>
                </a:moveTo>
                <a:lnTo>
                  <a:pt x="3838899" y="4786279"/>
                </a:lnTo>
                <a:lnTo>
                  <a:pt x="3842917" y="4790317"/>
                </a:lnTo>
                <a:lnTo>
                  <a:pt x="3842917" y="4800188"/>
                </a:lnTo>
                <a:lnTo>
                  <a:pt x="3838899" y="4804227"/>
                </a:lnTo>
                <a:lnTo>
                  <a:pt x="3828990" y="4804227"/>
                </a:lnTo>
                <a:lnTo>
                  <a:pt x="3824971" y="4800188"/>
                </a:lnTo>
                <a:lnTo>
                  <a:pt x="3824971" y="4790317"/>
                </a:lnTo>
                <a:close/>
                <a:moveTo>
                  <a:pt x="3589676" y="4786279"/>
                </a:moveTo>
                <a:lnTo>
                  <a:pt x="3599585" y="4786279"/>
                </a:lnTo>
                <a:lnTo>
                  <a:pt x="3603604" y="4790317"/>
                </a:lnTo>
                <a:lnTo>
                  <a:pt x="3603604" y="4800188"/>
                </a:lnTo>
                <a:lnTo>
                  <a:pt x="3599585" y="4804227"/>
                </a:lnTo>
                <a:lnTo>
                  <a:pt x="3589676" y="4804227"/>
                </a:lnTo>
                <a:lnTo>
                  <a:pt x="3585657" y="4800188"/>
                </a:lnTo>
                <a:lnTo>
                  <a:pt x="3585657" y="4790317"/>
                </a:lnTo>
                <a:close/>
                <a:moveTo>
                  <a:pt x="3350359" y="4786279"/>
                </a:moveTo>
                <a:lnTo>
                  <a:pt x="3360268" y="4786279"/>
                </a:lnTo>
                <a:lnTo>
                  <a:pt x="3364287" y="4790317"/>
                </a:lnTo>
                <a:lnTo>
                  <a:pt x="3364287" y="4800188"/>
                </a:lnTo>
                <a:lnTo>
                  <a:pt x="3360268" y="4804227"/>
                </a:lnTo>
                <a:lnTo>
                  <a:pt x="3350359" y="4804227"/>
                </a:lnTo>
                <a:lnTo>
                  <a:pt x="3346340" y="4800188"/>
                </a:lnTo>
                <a:lnTo>
                  <a:pt x="3346340" y="4790317"/>
                </a:lnTo>
                <a:close/>
                <a:moveTo>
                  <a:pt x="3111048" y="4786279"/>
                </a:moveTo>
                <a:lnTo>
                  <a:pt x="3120959" y="4786279"/>
                </a:lnTo>
                <a:lnTo>
                  <a:pt x="3124977" y="4790317"/>
                </a:lnTo>
                <a:lnTo>
                  <a:pt x="3124977" y="4800188"/>
                </a:lnTo>
                <a:lnTo>
                  <a:pt x="3120959" y="4804227"/>
                </a:lnTo>
                <a:lnTo>
                  <a:pt x="3111048" y="4804227"/>
                </a:lnTo>
                <a:lnTo>
                  <a:pt x="3107029" y="4800188"/>
                </a:lnTo>
                <a:lnTo>
                  <a:pt x="3107029" y="4790317"/>
                </a:lnTo>
                <a:close/>
                <a:moveTo>
                  <a:pt x="2871737" y="4786279"/>
                </a:moveTo>
                <a:lnTo>
                  <a:pt x="2881646" y="4786279"/>
                </a:lnTo>
                <a:lnTo>
                  <a:pt x="2885666" y="4790317"/>
                </a:lnTo>
                <a:lnTo>
                  <a:pt x="2885666" y="4800188"/>
                </a:lnTo>
                <a:lnTo>
                  <a:pt x="2881646" y="4804227"/>
                </a:lnTo>
                <a:lnTo>
                  <a:pt x="2871737" y="4804227"/>
                </a:lnTo>
                <a:lnTo>
                  <a:pt x="2867717" y="4800188"/>
                </a:lnTo>
                <a:lnTo>
                  <a:pt x="2867717" y="4790317"/>
                </a:lnTo>
                <a:close/>
                <a:moveTo>
                  <a:pt x="2632423" y="4786279"/>
                </a:moveTo>
                <a:lnTo>
                  <a:pt x="2642334" y="4786279"/>
                </a:lnTo>
                <a:lnTo>
                  <a:pt x="2646352" y="4790317"/>
                </a:lnTo>
                <a:lnTo>
                  <a:pt x="2646352" y="4800188"/>
                </a:lnTo>
                <a:lnTo>
                  <a:pt x="2642334" y="4804227"/>
                </a:lnTo>
                <a:lnTo>
                  <a:pt x="2632423" y="4804227"/>
                </a:lnTo>
                <a:lnTo>
                  <a:pt x="2628404" y="4800188"/>
                </a:lnTo>
                <a:lnTo>
                  <a:pt x="2628404" y="4790317"/>
                </a:lnTo>
                <a:close/>
                <a:moveTo>
                  <a:pt x="2393104" y="4786279"/>
                </a:moveTo>
                <a:lnTo>
                  <a:pt x="2403015" y="4786279"/>
                </a:lnTo>
                <a:lnTo>
                  <a:pt x="2407034" y="4790317"/>
                </a:lnTo>
                <a:lnTo>
                  <a:pt x="2407034" y="4800188"/>
                </a:lnTo>
                <a:lnTo>
                  <a:pt x="2403015" y="4804227"/>
                </a:lnTo>
                <a:lnTo>
                  <a:pt x="2393104" y="4804227"/>
                </a:lnTo>
                <a:lnTo>
                  <a:pt x="2389087" y="4800188"/>
                </a:lnTo>
                <a:lnTo>
                  <a:pt x="2389087" y="4790317"/>
                </a:lnTo>
                <a:close/>
                <a:moveTo>
                  <a:pt x="2157819" y="4786279"/>
                </a:moveTo>
                <a:lnTo>
                  <a:pt x="2167729" y="4786279"/>
                </a:lnTo>
                <a:lnTo>
                  <a:pt x="2171748" y="4790317"/>
                </a:lnTo>
                <a:lnTo>
                  <a:pt x="2171748" y="4800188"/>
                </a:lnTo>
                <a:lnTo>
                  <a:pt x="2167729" y="4804227"/>
                </a:lnTo>
                <a:lnTo>
                  <a:pt x="2157819" y="4804227"/>
                </a:lnTo>
                <a:lnTo>
                  <a:pt x="2153800" y="4800188"/>
                </a:lnTo>
                <a:lnTo>
                  <a:pt x="2153800" y="4790317"/>
                </a:lnTo>
                <a:close/>
                <a:moveTo>
                  <a:pt x="1918510" y="4786279"/>
                </a:moveTo>
                <a:lnTo>
                  <a:pt x="1928420" y="4786279"/>
                </a:lnTo>
                <a:lnTo>
                  <a:pt x="1932440" y="4790317"/>
                </a:lnTo>
                <a:lnTo>
                  <a:pt x="1932440" y="4800188"/>
                </a:lnTo>
                <a:lnTo>
                  <a:pt x="1928420" y="4804227"/>
                </a:lnTo>
                <a:lnTo>
                  <a:pt x="1918510" y="4804227"/>
                </a:lnTo>
                <a:lnTo>
                  <a:pt x="1914492" y="4800188"/>
                </a:lnTo>
                <a:lnTo>
                  <a:pt x="1914492" y="4790317"/>
                </a:lnTo>
                <a:close/>
                <a:moveTo>
                  <a:pt x="1679205" y="4786279"/>
                </a:moveTo>
                <a:lnTo>
                  <a:pt x="1689115" y="4786279"/>
                </a:lnTo>
                <a:lnTo>
                  <a:pt x="1693134" y="4790317"/>
                </a:lnTo>
                <a:lnTo>
                  <a:pt x="1693134" y="4800188"/>
                </a:lnTo>
                <a:lnTo>
                  <a:pt x="1689115" y="4804227"/>
                </a:lnTo>
                <a:lnTo>
                  <a:pt x="1679205" y="4804227"/>
                </a:lnTo>
                <a:lnTo>
                  <a:pt x="1675187" y="4800188"/>
                </a:lnTo>
                <a:lnTo>
                  <a:pt x="1675187" y="4790317"/>
                </a:lnTo>
                <a:close/>
                <a:moveTo>
                  <a:pt x="1439890" y="4786279"/>
                </a:moveTo>
                <a:lnTo>
                  <a:pt x="1449800" y="4786279"/>
                </a:lnTo>
                <a:lnTo>
                  <a:pt x="1453818" y="4790317"/>
                </a:lnTo>
                <a:lnTo>
                  <a:pt x="1453818" y="4800188"/>
                </a:lnTo>
                <a:lnTo>
                  <a:pt x="1449800" y="4804227"/>
                </a:lnTo>
                <a:lnTo>
                  <a:pt x="1439890" y="4804227"/>
                </a:lnTo>
                <a:lnTo>
                  <a:pt x="1435870" y="4800188"/>
                </a:lnTo>
                <a:lnTo>
                  <a:pt x="1435870" y="4790317"/>
                </a:lnTo>
                <a:close/>
                <a:moveTo>
                  <a:pt x="1200574" y="4786279"/>
                </a:moveTo>
                <a:lnTo>
                  <a:pt x="1210484" y="4786279"/>
                </a:lnTo>
                <a:lnTo>
                  <a:pt x="1214503" y="4790317"/>
                </a:lnTo>
                <a:lnTo>
                  <a:pt x="1214503" y="4800188"/>
                </a:lnTo>
                <a:lnTo>
                  <a:pt x="1210484" y="4804227"/>
                </a:lnTo>
                <a:lnTo>
                  <a:pt x="1200574" y="4804227"/>
                </a:lnTo>
                <a:lnTo>
                  <a:pt x="1196555" y="4800188"/>
                </a:lnTo>
                <a:lnTo>
                  <a:pt x="1196555" y="4790317"/>
                </a:lnTo>
                <a:close/>
                <a:moveTo>
                  <a:pt x="961262" y="4786279"/>
                </a:moveTo>
                <a:lnTo>
                  <a:pt x="971172" y="4786279"/>
                </a:lnTo>
                <a:lnTo>
                  <a:pt x="975190" y="4790317"/>
                </a:lnTo>
                <a:lnTo>
                  <a:pt x="975190" y="4800188"/>
                </a:lnTo>
                <a:lnTo>
                  <a:pt x="971172" y="4804227"/>
                </a:lnTo>
                <a:lnTo>
                  <a:pt x="961262" y="4804227"/>
                </a:lnTo>
                <a:lnTo>
                  <a:pt x="957242" y="4800188"/>
                </a:lnTo>
                <a:lnTo>
                  <a:pt x="957242" y="4790317"/>
                </a:lnTo>
                <a:close/>
                <a:moveTo>
                  <a:pt x="721963" y="4786279"/>
                </a:moveTo>
                <a:lnTo>
                  <a:pt x="731873" y="4786279"/>
                </a:lnTo>
                <a:lnTo>
                  <a:pt x="735892" y="4790317"/>
                </a:lnTo>
                <a:lnTo>
                  <a:pt x="735892" y="4800188"/>
                </a:lnTo>
                <a:lnTo>
                  <a:pt x="731873" y="4804227"/>
                </a:lnTo>
                <a:lnTo>
                  <a:pt x="721963" y="4804227"/>
                </a:lnTo>
                <a:lnTo>
                  <a:pt x="717944" y="4800188"/>
                </a:lnTo>
                <a:lnTo>
                  <a:pt x="717944" y="4790317"/>
                </a:lnTo>
                <a:close/>
                <a:moveTo>
                  <a:pt x="482651" y="4786279"/>
                </a:moveTo>
                <a:lnTo>
                  <a:pt x="492561" y="4786279"/>
                </a:lnTo>
                <a:lnTo>
                  <a:pt x="496580" y="4790317"/>
                </a:lnTo>
                <a:lnTo>
                  <a:pt x="496580" y="4800188"/>
                </a:lnTo>
                <a:lnTo>
                  <a:pt x="492561" y="4804227"/>
                </a:lnTo>
                <a:lnTo>
                  <a:pt x="482651" y="4804227"/>
                </a:lnTo>
                <a:lnTo>
                  <a:pt x="478632" y="4800188"/>
                </a:lnTo>
                <a:lnTo>
                  <a:pt x="478632" y="4790317"/>
                </a:lnTo>
                <a:close/>
                <a:moveTo>
                  <a:pt x="243338" y="4786279"/>
                </a:moveTo>
                <a:lnTo>
                  <a:pt x="253247" y="4786279"/>
                </a:lnTo>
                <a:lnTo>
                  <a:pt x="257266" y="4790317"/>
                </a:lnTo>
                <a:lnTo>
                  <a:pt x="257266" y="4800188"/>
                </a:lnTo>
                <a:lnTo>
                  <a:pt x="253247" y="4804227"/>
                </a:lnTo>
                <a:lnTo>
                  <a:pt x="243338" y="4804227"/>
                </a:lnTo>
                <a:lnTo>
                  <a:pt x="239318" y="4800188"/>
                </a:lnTo>
                <a:lnTo>
                  <a:pt x="239318" y="4790317"/>
                </a:lnTo>
                <a:close/>
                <a:moveTo>
                  <a:pt x="4024" y="4786279"/>
                </a:moveTo>
                <a:lnTo>
                  <a:pt x="13934" y="4786279"/>
                </a:lnTo>
                <a:lnTo>
                  <a:pt x="17954" y="4790317"/>
                </a:lnTo>
                <a:lnTo>
                  <a:pt x="17954" y="4800188"/>
                </a:lnTo>
                <a:lnTo>
                  <a:pt x="13934" y="4804227"/>
                </a:lnTo>
                <a:lnTo>
                  <a:pt x="4024" y="4804227"/>
                </a:lnTo>
                <a:lnTo>
                  <a:pt x="5" y="4800188"/>
                </a:lnTo>
                <a:lnTo>
                  <a:pt x="5" y="4790317"/>
                </a:lnTo>
                <a:close/>
                <a:moveTo>
                  <a:pt x="2157819" y="4546999"/>
                </a:moveTo>
                <a:lnTo>
                  <a:pt x="2167729" y="4546999"/>
                </a:lnTo>
                <a:lnTo>
                  <a:pt x="2171748" y="4551038"/>
                </a:lnTo>
                <a:lnTo>
                  <a:pt x="2171748" y="4560909"/>
                </a:lnTo>
                <a:lnTo>
                  <a:pt x="2167729" y="4564948"/>
                </a:lnTo>
                <a:lnTo>
                  <a:pt x="2157819" y="4564948"/>
                </a:lnTo>
                <a:lnTo>
                  <a:pt x="2153801" y="4560909"/>
                </a:lnTo>
                <a:lnTo>
                  <a:pt x="2153801" y="4551038"/>
                </a:lnTo>
                <a:close/>
                <a:moveTo>
                  <a:pt x="1918510" y="4546999"/>
                </a:moveTo>
                <a:lnTo>
                  <a:pt x="1928421" y="4546999"/>
                </a:lnTo>
                <a:lnTo>
                  <a:pt x="1932440" y="4551038"/>
                </a:lnTo>
                <a:lnTo>
                  <a:pt x="1932440" y="4560909"/>
                </a:lnTo>
                <a:lnTo>
                  <a:pt x="1928421" y="4564948"/>
                </a:lnTo>
                <a:lnTo>
                  <a:pt x="1918510" y="4564948"/>
                </a:lnTo>
                <a:lnTo>
                  <a:pt x="1914492" y="4560909"/>
                </a:lnTo>
                <a:lnTo>
                  <a:pt x="1914492" y="4551038"/>
                </a:lnTo>
                <a:close/>
                <a:moveTo>
                  <a:pt x="1679206" y="4546999"/>
                </a:moveTo>
                <a:lnTo>
                  <a:pt x="1689116" y="4546999"/>
                </a:lnTo>
                <a:lnTo>
                  <a:pt x="1693134" y="4551038"/>
                </a:lnTo>
                <a:lnTo>
                  <a:pt x="1693134" y="4560909"/>
                </a:lnTo>
                <a:lnTo>
                  <a:pt x="1689116" y="4564948"/>
                </a:lnTo>
                <a:lnTo>
                  <a:pt x="1679206" y="4564948"/>
                </a:lnTo>
                <a:lnTo>
                  <a:pt x="1675187" y="4560909"/>
                </a:lnTo>
                <a:lnTo>
                  <a:pt x="1675187" y="4551038"/>
                </a:lnTo>
                <a:close/>
                <a:moveTo>
                  <a:pt x="1439890" y="4546999"/>
                </a:moveTo>
                <a:lnTo>
                  <a:pt x="1449800" y="4546999"/>
                </a:lnTo>
                <a:lnTo>
                  <a:pt x="1453819" y="4551038"/>
                </a:lnTo>
                <a:lnTo>
                  <a:pt x="1453819" y="4560909"/>
                </a:lnTo>
                <a:lnTo>
                  <a:pt x="1449800" y="4564948"/>
                </a:lnTo>
                <a:lnTo>
                  <a:pt x="1439890" y="4564948"/>
                </a:lnTo>
                <a:lnTo>
                  <a:pt x="1435871" y="4560909"/>
                </a:lnTo>
                <a:lnTo>
                  <a:pt x="1435871" y="4551038"/>
                </a:lnTo>
                <a:close/>
                <a:moveTo>
                  <a:pt x="1200575" y="4546999"/>
                </a:moveTo>
                <a:lnTo>
                  <a:pt x="1210485" y="4546999"/>
                </a:lnTo>
                <a:lnTo>
                  <a:pt x="1214504" y="4551038"/>
                </a:lnTo>
                <a:lnTo>
                  <a:pt x="1214504" y="4560909"/>
                </a:lnTo>
                <a:lnTo>
                  <a:pt x="1210485" y="4564948"/>
                </a:lnTo>
                <a:lnTo>
                  <a:pt x="1200575" y="4564948"/>
                </a:lnTo>
                <a:lnTo>
                  <a:pt x="1196556" y="4560909"/>
                </a:lnTo>
                <a:lnTo>
                  <a:pt x="1196556" y="4551038"/>
                </a:lnTo>
                <a:close/>
                <a:moveTo>
                  <a:pt x="961262" y="4546999"/>
                </a:moveTo>
                <a:lnTo>
                  <a:pt x="971172" y="4546999"/>
                </a:lnTo>
                <a:lnTo>
                  <a:pt x="975191" y="4551038"/>
                </a:lnTo>
                <a:lnTo>
                  <a:pt x="975191" y="4560909"/>
                </a:lnTo>
                <a:lnTo>
                  <a:pt x="971172" y="4564948"/>
                </a:lnTo>
                <a:lnTo>
                  <a:pt x="961262" y="4564948"/>
                </a:lnTo>
                <a:lnTo>
                  <a:pt x="957243" y="4560909"/>
                </a:lnTo>
                <a:lnTo>
                  <a:pt x="957243" y="4551038"/>
                </a:lnTo>
                <a:close/>
                <a:moveTo>
                  <a:pt x="9572438" y="4546948"/>
                </a:moveTo>
                <a:lnTo>
                  <a:pt x="9582349" y="4546948"/>
                </a:lnTo>
                <a:lnTo>
                  <a:pt x="9586368" y="4550987"/>
                </a:lnTo>
                <a:lnTo>
                  <a:pt x="9586368" y="4560858"/>
                </a:lnTo>
                <a:lnTo>
                  <a:pt x="9582349" y="4564897"/>
                </a:lnTo>
                <a:lnTo>
                  <a:pt x="9572438" y="4564897"/>
                </a:lnTo>
                <a:lnTo>
                  <a:pt x="9568419" y="4560858"/>
                </a:lnTo>
                <a:lnTo>
                  <a:pt x="9568419" y="4550987"/>
                </a:lnTo>
                <a:close/>
                <a:moveTo>
                  <a:pt x="9333125" y="4546948"/>
                </a:moveTo>
                <a:lnTo>
                  <a:pt x="9343036" y="4546948"/>
                </a:lnTo>
                <a:lnTo>
                  <a:pt x="9347055" y="4550987"/>
                </a:lnTo>
                <a:lnTo>
                  <a:pt x="9347055" y="4560858"/>
                </a:lnTo>
                <a:lnTo>
                  <a:pt x="9343036" y="4564897"/>
                </a:lnTo>
                <a:lnTo>
                  <a:pt x="9333125" y="4564897"/>
                </a:lnTo>
                <a:lnTo>
                  <a:pt x="9329106" y="4560858"/>
                </a:lnTo>
                <a:lnTo>
                  <a:pt x="9329106" y="4550987"/>
                </a:lnTo>
                <a:close/>
                <a:moveTo>
                  <a:pt x="9093811" y="4546948"/>
                </a:moveTo>
                <a:lnTo>
                  <a:pt x="9103722" y="4546948"/>
                </a:lnTo>
                <a:lnTo>
                  <a:pt x="9107741" y="4550987"/>
                </a:lnTo>
                <a:lnTo>
                  <a:pt x="9107741" y="4560858"/>
                </a:lnTo>
                <a:lnTo>
                  <a:pt x="9103722" y="4564897"/>
                </a:lnTo>
                <a:lnTo>
                  <a:pt x="9093811" y="4564897"/>
                </a:lnTo>
                <a:lnTo>
                  <a:pt x="9089792" y="4560858"/>
                </a:lnTo>
                <a:lnTo>
                  <a:pt x="9089792" y="4550987"/>
                </a:lnTo>
                <a:close/>
                <a:moveTo>
                  <a:pt x="8854496" y="4546948"/>
                </a:moveTo>
                <a:lnTo>
                  <a:pt x="8864407" y="4546948"/>
                </a:lnTo>
                <a:lnTo>
                  <a:pt x="8868426" y="4550987"/>
                </a:lnTo>
                <a:lnTo>
                  <a:pt x="8868426" y="4560858"/>
                </a:lnTo>
                <a:lnTo>
                  <a:pt x="8864407" y="4564897"/>
                </a:lnTo>
                <a:lnTo>
                  <a:pt x="8854496" y="4564897"/>
                </a:lnTo>
                <a:lnTo>
                  <a:pt x="8850477" y="4560858"/>
                </a:lnTo>
                <a:lnTo>
                  <a:pt x="8850477" y="4550987"/>
                </a:lnTo>
                <a:close/>
                <a:moveTo>
                  <a:pt x="8615184" y="4546948"/>
                </a:moveTo>
                <a:lnTo>
                  <a:pt x="8625095" y="4546948"/>
                </a:lnTo>
                <a:lnTo>
                  <a:pt x="8629114" y="4550987"/>
                </a:lnTo>
                <a:lnTo>
                  <a:pt x="8629114" y="4560858"/>
                </a:lnTo>
                <a:lnTo>
                  <a:pt x="8625095" y="4564897"/>
                </a:lnTo>
                <a:lnTo>
                  <a:pt x="8615184" y="4564897"/>
                </a:lnTo>
                <a:lnTo>
                  <a:pt x="8611165" y="4560858"/>
                </a:lnTo>
                <a:lnTo>
                  <a:pt x="8611165" y="4550987"/>
                </a:lnTo>
                <a:close/>
                <a:moveTo>
                  <a:pt x="8375869" y="4546948"/>
                </a:moveTo>
                <a:lnTo>
                  <a:pt x="8385779" y="4546948"/>
                </a:lnTo>
                <a:lnTo>
                  <a:pt x="8389799" y="4550987"/>
                </a:lnTo>
                <a:lnTo>
                  <a:pt x="8389799" y="4560858"/>
                </a:lnTo>
                <a:lnTo>
                  <a:pt x="8385779" y="4564897"/>
                </a:lnTo>
                <a:lnTo>
                  <a:pt x="8375869" y="4564897"/>
                </a:lnTo>
                <a:lnTo>
                  <a:pt x="8371850" y="4560858"/>
                </a:lnTo>
                <a:lnTo>
                  <a:pt x="8371850" y="4550987"/>
                </a:lnTo>
                <a:close/>
                <a:moveTo>
                  <a:pt x="8136553" y="4546948"/>
                </a:moveTo>
                <a:lnTo>
                  <a:pt x="8146464" y="4546948"/>
                </a:lnTo>
                <a:lnTo>
                  <a:pt x="8150483" y="4550987"/>
                </a:lnTo>
                <a:lnTo>
                  <a:pt x="8150483" y="4560858"/>
                </a:lnTo>
                <a:lnTo>
                  <a:pt x="8146464" y="4564897"/>
                </a:lnTo>
                <a:lnTo>
                  <a:pt x="8136553" y="4564897"/>
                </a:lnTo>
                <a:lnTo>
                  <a:pt x="8132534" y="4560858"/>
                </a:lnTo>
                <a:lnTo>
                  <a:pt x="8132534" y="4550987"/>
                </a:lnTo>
                <a:close/>
                <a:moveTo>
                  <a:pt x="7897241" y="4546948"/>
                </a:moveTo>
                <a:lnTo>
                  <a:pt x="7907151" y="4546948"/>
                </a:lnTo>
                <a:lnTo>
                  <a:pt x="7911170" y="4550987"/>
                </a:lnTo>
                <a:lnTo>
                  <a:pt x="7911170" y="4560858"/>
                </a:lnTo>
                <a:lnTo>
                  <a:pt x="7907151" y="4564897"/>
                </a:lnTo>
                <a:lnTo>
                  <a:pt x="7897241" y="4564897"/>
                </a:lnTo>
                <a:lnTo>
                  <a:pt x="7893222" y="4560858"/>
                </a:lnTo>
                <a:lnTo>
                  <a:pt x="7893222" y="4550987"/>
                </a:lnTo>
                <a:close/>
                <a:moveTo>
                  <a:pt x="7657926" y="4546948"/>
                </a:moveTo>
                <a:lnTo>
                  <a:pt x="7667836" y="4546948"/>
                </a:lnTo>
                <a:lnTo>
                  <a:pt x="7671855" y="4550987"/>
                </a:lnTo>
                <a:lnTo>
                  <a:pt x="7671855" y="4560858"/>
                </a:lnTo>
                <a:lnTo>
                  <a:pt x="7667836" y="4564897"/>
                </a:lnTo>
                <a:lnTo>
                  <a:pt x="7657926" y="4564897"/>
                </a:lnTo>
                <a:lnTo>
                  <a:pt x="7653906" y="4560858"/>
                </a:lnTo>
                <a:lnTo>
                  <a:pt x="7653906" y="4550987"/>
                </a:lnTo>
                <a:close/>
                <a:moveTo>
                  <a:pt x="7418611" y="4546948"/>
                </a:moveTo>
                <a:lnTo>
                  <a:pt x="7428521" y="4546948"/>
                </a:lnTo>
                <a:lnTo>
                  <a:pt x="7432540" y="4550987"/>
                </a:lnTo>
                <a:lnTo>
                  <a:pt x="7432540" y="4560858"/>
                </a:lnTo>
                <a:lnTo>
                  <a:pt x="7428521" y="4564897"/>
                </a:lnTo>
                <a:lnTo>
                  <a:pt x="7418611" y="4564897"/>
                </a:lnTo>
                <a:lnTo>
                  <a:pt x="7414592" y="4560858"/>
                </a:lnTo>
                <a:lnTo>
                  <a:pt x="7414592" y="4550987"/>
                </a:lnTo>
                <a:close/>
                <a:moveTo>
                  <a:pt x="7179298" y="4546948"/>
                </a:moveTo>
                <a:lnTo>
                  <a:pt x="7189209" y="4546948"/>
                </a:lnTo>
                <a:lnTo>
                  <a:pt x="7193228" y="4550987"/>
                </a:lnTo>
                <a:lnTo>
                  <a:pt x="7193228" y="4560858"/>
                </a:lnTo>
                <a:lnTo>
                  <a:pt x="7189209" y="4564897"/>
                </a:lnTo>
                <a:lnTo>
                  <a:pt x="7179298" y="4564897"/>
                </a:lnTo>
                <a:lnTo>
                  <a:pt x="7175279" y="4560858"/>
                </a:lnTo>
                <a:lnTo>
                  <a:pt x="7175279" y="4550987"/>
                </a:lnTo>
                <a:close/>
                <a:moveTo>
                  <a:pt x="6939983" y="4546948"/>
                </a:moveTo>
                <a:lnTo>
                  <a:pt x="6949894" y="4546948"/>
                </a:lnTo>
                <a:lnTo>
                  <a:pt x="6953913" y="4550987"/>
                </a:lnTo>
                <a:lnTo>
                  <a:pt x="6953913" y="4560858"/>
                </a:lnTo>
                <a:lnTo>
                  <a:pt x="6949894" y="4564897"/>
                </a:lnTo>
                <a:lnTo>
                  <a:pt x="6939983" y="4564897"/>
                </a:lnTo>
                <a:lnTo>
                  <a:pt x="6935964" y="4560858"/>
                </a:lnTo>
                <a:lnTo>
                  <a:pt x="6935964" y="4550987"/>
                </a:lnTo>
                <a:close/>
                <a:moveTo>
                  <a:pt x="6700670" y="4546948"/>
                </a:moveTo>
                <a:lnTo>
                  <a:pt x="6710581" y="4546948"/>
                </a:lnTo>
                <a:lnTo>
                  <a:pt x="6714600" y="4550987"/>
                </a:lnTo>
                <a:lnTo>
                  <a:pt x="6714600" y="4560858"/>
                </a:lnTo>
                <a:lnTo>
                  <a:pt x="6710581" y="4564897"/>
                </a:lnTo>
                <a:lnTo>
                  <a:pt x="6700670" y="4564897"/>
                </a:lnTo>
                <a:lnTo>
                  <a:pt x="6696651" y="4560858"/>
                </a:lnTo>
                <a:lnTo>
                  <a:pt x="6696651" y="4550987"/>
                </a:lnTo>
                <a:close/>
                <a:moveTo>
                  <a:pt x="6461356" y="4546948"/>
                </a:moveTo>
                <a:lnTo>
                  <a:pt x="6471266" y="4546948"/>
                </a:lnTo>
                <a:lnTo>
                  <a:pt x="6475285" y="4550987"/>
                </a:lnTo>
                <a:lnTo>
                  <a:pt x="6475285" y="4560858"/>
                </a:lnTo>
                <a:lnTo>
                  <a:pt x="6471266" y="4564897"/>
                </a:lnTo>
                <a:lnTo>
                  <a:pt x="6461356" y="4564897"/>
                </a:lnTo>
                <a:lnTo>
                  <a:pt x="6457337" y="4560858"/>
                </a:lnTo>
                <a:lnTo>
                  <a:pt x="6457337" y="4550987"/>
                </a:lnTo>
                <a:close/>
                <a:moveTo>
                  <a:pt x="6222042" y="4546948"/>
                </a:moveTo>
                <a:lnTo>
                  <a:pt x="6231952" y="4546948"/>
                </a:lnTo>
                <a:lnTo>
                  <a:pt x="6235971" y="4550987"/>
                </a:lnTo>
                <a:lnTo>
                  <a:pt x="6235971" y="4560858"/>
                </a:lnTo>
                <a:lnTo>
                  <a:pt x="6231952" y="4564897"/>
                </a:lnTo>
                <a:lnTo>
                  <a:pt x="6222042" y="4564897"/>
                </a:lnTo>
                <a:lnTo>
                  <a:pt x="6218023" y="4560858"/>
                </a:lnTo>
                <a:lnTo>
                  <a:pt x="6218023" y="4550987"/>
                </a:lnTo>
                <a:close/>
                <a:moveTo>
                  <a:pt x="5982729" y="4546948"/>
                </a:moveTo>
                <a:lnTo>
                  <a:pt x="5992639" y="4546948"/>
                </a:lnTo>
                <a:lnTo>
                  <a:pt x="5996658" y="4550987"/>
                </a:lnTo>
                <a:lnTo>
                  <a:pt x="5996658" y="4560858"/>
                </a:lnTo>
                <a:lnTo>
                  <a:pt x="5992639" y="4564897"/>
                </a:lnTo>
                <a:lnTo>
                  <a:pt x="5982729" y="4564897"/>
                </a:lnTo>
                <a:lnTo>
                  <a:pt x="5978710" y="4560858"/>
                </a:lnTo>
                <a:lnTo>
                  <a:pt x="5978710" y="4550987"/>
                </a:lnTo>
                <a:close/>
                <a:moveTo>
                  <a:pt x="5743412" y="4546948"/>
                </a:moveTo>
                <a:lnTo>
                  <a:pt x="5753323" y="4546948"/>
                </a:lnTo>
                <a:lnTo>
                  <a:pt x="5757342" y="4550987"/>
                </a:lnTo>
                <a:lnTo>
                  <a:pt x="5757342" y="4560858"/>
                </a:lnTo>
                <a:lnTo>
                  <a:pt x="5753323" y="4564897"/>
                </a:lnTo>
                <a:lnTo>
                  <a:pt x="5743412" y="4564897"/>
                </a:lnTo>
                <a:lnTo>
                  <a:pt x="5739393" y="4560858"/>
                </a:lnTo>
                <a:lnTo>
                  <a:pt x="5739393" y="4550987"/>
                </a:lnTo>
                <a:close/>
                <a:moveTo>
                  <a:pt x="5504099" y="4546948"/>
                </a:moveTo>
                <a:lnTo>
                  <a:pt x="5514010" y="4546948"/>
                </a:lnTo>
                <a:lnTo>
                  <a:pt x="5518029" y="4550987"/>
                </a:lnTo>
                <a:lnTo>
                  <a:pt x="5518029" y="4560858"/>
                </a:lnTo>
                <a:lnTo>
                  <a:pt x="5514010" y="4564897"/>
                </a:lnTo>
                <a:lnTo>
                  <a:pt x="5504099" y="4564897"/>
                </a:lnTo>
                <a:lnTo>
                  <a:pt x="5500080" y="4560858"/>
                </a:lnTo>
                <a:lnTo>
                  <a:pt x="5500080" y="4550987"/>
                </a:lnTo>
                <a:close/>
                <a:moveTo>
                  <a:pt x="5264784" y="4546948"/>
                </a:moveTo>
                <a:lnTo>
                  <a:pt x="5274694" y="4546948"/>
                </a:lnTo>
                <a:lnTo>
                  <a:pt x="5278713" y="4550987"/>
                </a:lnTo>
                <a:lnTo>
                  <a:pt x="5278713" y="4560858"/>
                </a:lnTo>
                <a:lnTo>
                  <a:pt x="5274694" y="4564897"/>
                </a:lnTo>
                <a:lnTo>
                  <a:pt x="5264784" y="4564897"/>
                </a:lnTo>
                <a:lnTo>
                  <a:pt x="5260765" y="4560858"/>
                </a:lnTo>
                <a:lnTo>
                  <a:pt x="5260765" y="4550987"/>
                </a:lnTo>
                <a:close/>
                <a:moveTo>
                  <a:pt x="5025470" y="4546948"/>
                </a:moveTo>
                <a:lnTo>
                  <a:pt x="5035381" y="4546948"/>
                </a:lnTo>
                <a:lnTo>
                  <a:pt x="5039400" y="4550987"/>
                </a:lnTo>
                <a:lnTo>
                  <a:pt x="5039400" y="4560858"/>
                </a:lnTo>
                <a:lnTo>
                  <a:pt x="5035381" y="4564897"/>
                </a:lnTo>
                <a:lnTo>
                  <a:pt x="5025470" y="4564897"/>
                </a:lnTo>
                <a:lnTo>
                  <a:pt x="5021451" y="4560858"/>
                </a:lnTo>
                <a:lnTo>
                  <a:pt x="5021451" y="4550987"/>
                </a:lnTo>
                <a:close/>
                <a:moveTo>
                  <a:pt x="4786241" y="4546948"/>
                </a:moveTo>
                <a:lnTo>
                  <a:pt x="4796152" y="4546948"/>
                </a:lnTo>
                <a:lnTo>
                  <a:pt x="4800171" y="4550987"/>
                </a:lnTo>
                <a:lnTo>
                  <a:pt x="4800171" y="4560858"/>
                </a:lnTo>
                <a:lnTo>
                  <a:pt x="4796152" y="4564897"/>
                </a:lnTo>
                <a:lnTo>
                  <a:pt x="4786241" y="4564897"/>
                </a:lnTo>
                <a:lnTo>
                  <a:pt x="4782224" y="4560858"/>
                </a:lnTo>
                <a:lnTo>
                  <a:pt x="4782224" y="4550987"/>
                </a:lnTo>
                <a:close/>
                <a:moveTo>
                  <a:pt x="4546929" y="4546948"/>
                </a:moveTo>
                <a:lnTo>
                  <a:pt x="4556840" y="4546948"/>
                </a:lnTo>
                <a:lnTo>
                  <a:pt x="4560859" y="4550987"/>
                </a:lnTo>
                <a:lnTo>
                  <a:pt x="4560859" y="4560858"/>
                </a:lnTo>
                <a:lnTo>
                  <a:pt x="4556840" y="4564897"/>
                </a:lnTo>
                <a:lnTo>
                  <a:pt x="4546929" y="4564897"/>
                </a:lnTo>
                <a:lnTo>
                  <a:pt x="4542910" y="4560858"/>
                </a:lnTo>
                <a:lnTo>
                  <a:pt x="4542910" y="4550987"/>
                </a:lnTo>
                <a:close/>
                <a:moveTo>
                  <a:pt x="4307612" y="4546948"/>
                </a:moveTo>
                <a:lnTo>
                  <a:pt x="4317523" y="4546948"/>
                </a:lnTo>
                <a:lnTo>
                  <a:pt x="4321543" y="4550987"/>
                </a:lnTo>
                <a:lnTo>
                  <a:pt x="4321543" y="4560858"/>
                </a:lnTo>
                <a:lnTo>
                  <a:pt x="4317523" y="4564897"/>
                </a:lnTo>
                <a:lnTo>
                  <a:pt x="4307612" y="4564897"/>
                </a:lnTo>
                <a:lnTo>
                  <a:pt x="4303595" y="4560858"/>
                </a:lnTo>
                <a:lnTo>
                  <a:pt x="4303595" y="4550987"/>
                </a:lnTo>
                <a:close/>
                <a:moveTo>
                  <a:pt x="4068297" y="4546948"/>
                </a:moveTo>
                <a:lnTo>
                  <a:pt x="4078210" y="4546948"/>
                </a:lnTo>
                <a:lnTo>
                  <a:pt x="4082229" y="4550987"/>
                </a:lnTo>
                <a:lnTo>
                  <a:pt x="4082229" y="4560858"/>
                </a:lnTo>
                <a:lnTo>
                  <a:pt x="4078210" y="4564897"/>
                </a:lnTo>
                <a:lnTo>
                  <a:pt x="4068297" y="4564897"/>
                </a:lnTo>
                <a:lnTo>
                  <a:pt x="4064278" y="4560858"/>
                </a:lnTo>
                <a:lnTo>
                  <a:pt x="4064278" y="4550987"/>
                </a:lnTo>
                <a:close/>
                <a:moveTo>
                  <a:pt x="3828990" y="4546948"/>
                </a:moveTo>
                <a:lnTo>
                  <a:pt x="3838899" y="4546948"/>
                </a:lnTo>
                <a:lnTo>
                  <a:pt x="3842917" y="4550987"/>
                </a:lnTo>
                <a:lnTo>
                  <a:pt x="3842917" y="4560858"/>
                </a:lnTo>
                <a:lnTo>
                  <a:pt x="3838899" y="4564897"/>
                </a:lnTo>
                <a:lnTo>
                  <a:pt x="3828990" y="4564897"/>
                </a:lnTo>
                <a:lnTo>
                  <a:pt x="3824971" y="4560858"/>
                </a:lnTo>
                <a:lnTo>
                  <a:pt x="3824971" y="4550987"/>
                </a:lnTo>
                <a:close/>
                <a:moveTo>
                  <a:pt x="3589676" y="4546948"/>
                </a:moveTo>
                <a:lnTo>
                  <a:pt x="3599585" y="4546948"/>
                </a:lnTo>
                <a:lnTo>
                  <a:pt x="3603604" y="4550987"/>
                </a:lnTo>
                <a:lnTo>
                  <a:pt x="3603604" y="4560858"/>
                </a:lnTo>
                <a:lnTo>
                  <a:pt x="3599585" y="4564897"/>
                </a:lnTo>
                <a:lnTo>
                  <a:pt x="3589676" y="4564897"/>
                </a:lnTo>
                <a:lnTo>
                  <a:pt x="3585657" y="4560858"/>
                </a:lnTo>
                <a:lnTo>
                  <a:pt x="3585657" y="4550987"/>
                </a:lnTo>
                <a:close/>
                <a:moveTo>
                  <a:pt x="3350359" y="4546948"/>
                </a:moveTo>
                <a:lnTo>
                  <a:pt x="3360268" y="4546948"/>
                </a:lnTo>
                <a:lnTo>
                  <a:pt x="3364287" y="4550987"/>
                </a:lnTo>
                <a:lnTo>
                  <a:pt x="3364287" y="4560858"/>
                </a:lnTo>
                <a:lnTo>
                  <a:pt x="3360268" y="4564897"/>
                </a:lnTo>
                <a:lnTo>
                  <a:pt x="3350359" y="4564897"/>
                </a:lnTo>
                <a:lnTo>
                  <a:pt x="3346340" y="4560858"/>
                </a:lnTo>
                <a:lnTo>
                  <a:pt x="3346340" y="4550987"/>
                </a:lnTo>
                <a:close/>
                <a:moveTo>
                  <a:pt x="3111048" y="4546948"/>
                </a:moveTo>
                <a:lnTo>
                  <a:pt x="3120959" y="4546948"/>
                </a:lnTo>
                <a:lnTo>
                  <a:pt x="3124977" y="4550987"/>
                </a:lnTo>
                <a:lnTo>
                  <a:pt x="3124977" y="4560858"/>
                </a:lnTo>
                <a:lnTo>
                  <a:pt x="3120959" y="4564897"/>
                </a:lnTo>
                <a:lnTo>
                  <a:pt x="3111048" y="4564897"/>
                </a:lnTo>
                <a:lnTo>
                  <a:pt x="3107029" y="4560858"/>
                </a:lnTo>
                <a:lnTo>
                  <a:pt x="3107029" y="4550987"/>
                </a:lnTo>
                <a:close/>
                <a:moveTo>
                  <a:pt x="2871737" y="4546948"/>
                </a:moveTo>
                <a:lnTo>
                  <a:pt x="2881646" y="4546948"/>
                </a:lnTo>
                <a:lnTo>
                  <a:pt x="2885666" y="4550987"/>
                </a:lnTo>
                <a:lnTo>
                  <a:pt x="2885666" y="4560858"/>
                </a:lnTo>
                <a:lnTo>
                  <a:pt x="2881646" y="4564897"/>
                </a:lnTo>
                <a:lnTo>
                  <a:pt x="2871737" y="4564897"/>
                </a:lnTo>
                <a:lnTo>
                  <a:pt x="2867717" y="4560858"/>
                </a:lnTo>
                <a:lnTo>
                  <a:pt x="2867717" y="4550987"/>
                </a:lnTo>
                <a:close/>
                <a:moveTo>
                  <a:pt x="2632423" y="4546948"/>
                </a:moveTo>
                <a:lnTo>
                  <a:pt x="2642334" y="4546948"/>
                </a:lnTo>
                <a:lnTo>
                  <a:pt x="2646352" y="4550987"/>
                </a:lnTo>
                <a:lnTo>
                  <a:pt x="2646352" y="4560858"/>
                </a:lnTo>
                <a:lnTo>
                  <a:pt x="2642334" y="4564897"/>
                </a:lnTo>
                <a:lnTo>
                  <a:pt x="2632423" y="4564897"/>
                </a:lnTo>
                <a:lnTo>
                  <a:pt x="2628404" y="4560858"/>
                </a:lnTo>
                <a:lnTo>
                  <a:pt x="2628404" y="4550987"/>
                </a:lnTo>
                <a:close/>
                <a:moveTo>
                  <a:pt x="2393104" y="4546948"/>
                </a:moveTo>
                <a:lnTo>
                  <a:pt x="2403015" y="4546948"/>
                </a:lnTo>
                <a:lnTo>
                  <a:pt x="2407034" y="4550987"/>
                </a:lnTo>
                <a:lnTo>
                  <a:pt x="2407034" y="4560858"/>
                </a:lnTo>
                <a:lnTo>
                  <a:pt x="2403015" y="4564897"/>
                </a:lnTo>
                <a:lnTo>
                  <a:pt x="2393104" y="4564897"/>
                </a:lnTo>
                <a:lnTo>
                  <a:pt x="2389087" y="4560858"/>
                </a:lnTo>
                <a:lnTo>
                  <a:pt x="2389087" y="4550987"/>
                </a:lnTo>
                <a:close/>
                <a:moveTo>
                  <a:pt x="721964" y="4546948"/>
                </a:moveTo>
                <a:lnTo>
                  <a:pt x="731874" y="4546948"/>
                </a:lnTo>
                <a:lnTo>
                  <a:pt x="735893" y="4550987"/>
                </a:lnTo>
                <a:lnTo>
                  <a:pt x="735893" y="4560858"/>
                </a:lnTo>
                <a:lnTo>
                  <a:pt x="731874" y="4564897"/>
                </a:lnTo>
                <a:lnTo>
                  <a:pt x="721964" y="4564897"/>
                </a:lnTo>
                <a:lnTo>
                  <a:pt x="717945" y="4560858"/>
                </a:lnTo>
                <a:lnTo>
                  <a:pt x="717945" y="4550987"/>
                </a:lnTo>
                <a:close/>
                <a:moveTo>
                  <a:pt x="482651" y="4546948"/>
                </a:moveTo>
                <a:lnTo>
                  <a:pt x="492562" y="4546948"/>
                </a:lnTo>
                <a:lnTo>
                  <a:pt x="496581" y="4550987"/>
                </a:lnTo>
                <a:lnTo>
                  <a:pt x="496581" y="4560858"/>
                </a:lnTo>
                <a:lnTo>
                  <a:pt x="492562" y="4564897"/>
                </a:lnTo>
                <a:lnTo>
                  <a:pt x="482651" y="4564897"/>
                </a:lnTo>
                <a:lnTo>
                  <a:pt x="478632" y="4560858"/>
                </a:lnTo>
                <a:lnTo>
                  <a:pt x="478632" y="4550987"/>
                </a:lnTo>
                <a:close/>
                <a:moveTo>
                  <a:pt x="243338" y="4546948"/>
                </a:moveTo>
                <a:lnTo>
                  <a:pt x="253248" y="4546948"/>
                </a:lnTo>
                <a:lnTo>
                  <a:pt x="257267" y="4550987"/>
                </a:lnTo>
                <a:lnTo>
                  <a:pt x="257267" y="4560858"/>
                </a:lnTo>
                <a:lnTo>
                  <a:pt x="253248" y="4564897"/>
                </a:lnTo>
                <a:lnTo>
                  <a:pt x="243338" y="4564897"/>
                </a:lnTo>
                <a:lnTo>
                  <a:pt x="239319" y="4560858"/>
                </a:lnTo>
                <a:lnTo>
                  <a:pt x="239319" y="4550987"/>
                </a:lnTo>
                <a:close/>
                <a:moveTo>
                  <a:pt x="4025" y="4546948"/>
                </a:moveTo>
                <a:lnTo>
                  <a:pt x="13935" y="4546948"/>
                </a:lnTo>
                <a:lnTo>
                  <a:pt x="17954" y="4550987"/>
                </a:lnTo>
                <a:lnTo>
                  <a:pt x="17954" y="4560858"/>
                </a:lnTo>
                <a:lnTo>
                  <a:pt x="13935" y="4564897"/>
                </a:lnTo>
                <a:lnTo>
                  <a:pt x="4025" y="4564897"/>
                </a:lnTo>
                <a:lnTo>
                  <a:pt x="6" y="4560858"/>
                </a:lnTo>
                <a:lnTo>
                  <a:pt x="6" y="4550987"/>
                </a:lnTo>
                <a:close/>
                <a:moveTo>
                  <a:pt x="2157819" y="4307669"/>
                </a:moveTo>
                <a:lnTo>
                  <a:pt x="2167729" y="4307669"/>
                </a:lnTo>
                <a:lnTo>
                  <a:pt x="2171749" y="4311708"/>
                </a:lnTo>
                <a:lnTo>
                  <a:pt x="2171749" y="4321579"/>
                </a:lnTo>
                <a:lnTo>
                  <a:pt x="2167729" y="4325618"/>
                </a:lnTo>
                <a:lnTo>
                  <a:pt x="2157819" y="4325618"/>
                </a:lnTo>
                <a:lnTo>
                  <a:pt x="2153801" y="4321579"/>
                </a:lnTo>
                <a:lnTo>
                  <a:pt x="2153801" y="4311708"/>
                </a:lnTo>
                <a:close/>
                <a:moveTo>
                  <a:pt x="1918511" y="4307669"/>
                </a:moveTo>
                <a:lnTo>
                  <a:pt x="1928421" y="4307669"/>
                </a:lnTo>
                <a:lnTo>
                  <a:pt x="1932440" y="4311708"/>
                </a:lnTo>
                <a:lnTo>
                  <a:pt x="1932440" y="4321579"/>
                </a:lnTo>
                <a:lnTo>
                  <a:pt x="1928421" y="4325618"/>
                </a:lnTo>
                <a:lnTo>
                  <a:pt x="1918511" y="4325618"/>
                </a:lnTo>
                <a:lnTo>
                  <a:pt x="1914492" y="4321579"/>
                </a:lnTo>
                <a:lnTo>
                  <a:pt x="1914492" y="4311708"/>
                </a:lnTo>
                <a:close/>
                <a:moveTo>
                  <a:pt x="1679206" y="4307669"/>
                </a:moveTo>
                <a:lnTo>
                  <a:pt x="1689117" y="4307669"/>
                </a:lnTo>
                <a:lnTo>
                  <a:pt x="1693136" y="4311708"/>
                </a:lnTo>
                <a:lnTo>
                  <a:pt x="1693136" y="4321579"/>
                </a:lnTo>
                <a:lnTo>
                  <a:pt x="1689117" y="4325618"/>
                </a:lnTo>
                <a:lnTo>
                  <a:pt x="1679206" y="4325618"/>
                </a:lnTo>
                <a:lnTo>
                  <a:pt x="1675188" y="4321579"/>
                </a:lnTo>
                <a:lnTo>
                  <a:pt x="1675188" y="4311708"/>
                </a:lnTo>
                <a:close/>
                <a:moveTo>
                  <a:pt x="1439891" y="4307669"/>
                </a:moveTo>
                <a:lnTo>
                  <a:pt x="1449801" y="4307669"/>
                </a:lnTo>
                <a:lnTo>
                  <a:pt x="1453819" y="4311708"/>
                </a:lnTo>
                <a:lnTo>
                  <a:pt x="1453819" y="4321579"/>
                </a:lnTo>
                <a:lnTo>
                  <a:pt x="1449801" y="4325618"/>
                </a:lnTo>
                <a:lnTo>
                  <a:pt x="1439891" y="4325618"/>
                </a:lnTo>
                <a:lnTo>
                  <a:pt x="1435871" y="4321579"/>
                </a:lnTo>
                <a:lnTo>
                  <a:pt x="1435871" y="4311708"/>
                </a:lnTo>
                <a:close/>
                <a:moveTo>
                  <a:pt x="1200575" y="4307669"/>
                </a:moveTo>
                <a:lnTo>
                  <a:pt x="1210486" y="4307669"/>
                </a:lnTo>
                <a:lnTo>
                  <a:pt x="1214505" y="4311708"/>
                </a:lnTo>
                <a:lnTo>
                  <a:pt x="1214505" y="4321579"/>
                </a:lnTo>
                <a:lnTo>
                  <a:pt x="1210486" y="4325618"/>
                </a:lnTo>
                <a:lnTo>
                  <a:pt x="1200575" y="4325618"/>
                </a:lnTo>
                <a:lnTo>
                  <a:pt x="1196556" y="4321579"/>
                </a:lnTo>
                <a:lnTo>
                  <a:pt x="1196556" y="4311708"/>
                </a:lnTo>
                <a:close/>
                <a:moveTo>
                  <a:pt x="961263" y="4307669"/>
                </a:moveTo>
                <a:lnTo>
                  <a:pt x="971173" y="4307669"/>
                </a:lnTo>
                <a:lnTo>
                  <a:pt x="975191" y="4311708"/>
                </a:lnTo>
                <a:lnTo>
                  <a:pt x="975191" y="4321579"/>
                </a:lnTo>
                <a:lnTo>
                  <a:pt x="971173" y="4325618"/>
                </a:lnTo>
                <a:lnTo>
                  <a:pt x="961263" y="4325618"/>
                </a:lnTo>
                <a:lnTo>
                  <a:pt x="957244" y="4321579"/>
                </a:lnTo>
                <a:lnTo>
                  <a:pt x="957244" y="4311708"/>
                </a:lnTo>
                <a:close/>
                <a:moveTo>
                  <a:pt x="9572438" y="4307617"/>
                </a:moveTo>
                <a:lnTo>
                  <a:pt x="9582349" y="4307617"/>
                </a:lnTo>
                <a:lnTo>
                  <a:pt x="9586368" y="4311656"/>
                </a:lnTo>
                <a:lnTo>
                  <a:pt x="9586368" y="4321527"/>
                </a:lnTo>
                <a:lnTo>
                  <a:pt x="9582349" y="4325566"/>
                </a:lnTo>
                <a:lnTo>
                  <a:pt x="9572438" y="4325566"/>
                </a:lnTo>
                <a:lnTo>
                  <a:pt x="9568419" y="4321527"/>
                </a:lnTo>
                <a:lnTo>
                  <a:pt x="9568419" y="4311656"/>
                </a:lnTo>
                <a:close/>
                <a:moveTo>
                  <a:pt x="9333125" y="4307617"/>
                </a:moveTo>
                <a:lnTo>
                  <a:pt x="9343036" y="4307617"/>
                </a:lnTo>
                <a:lnTo>
                  <a:pt x="9347055" y="4311656"/>
                </a:lnTo>
                <a:lnTo>
                  <a:pt x="9347055" y="4321527"/>
                </a:lnTo>
                <a:lnTo>
                  <a:pt x="9343036" y="4325566"/>
                </a:lnTo>
                <a:lnTo>
                  <a:pt x="9333125" y="4325566"/>
                </a:lnTo>
                <a:lnTo>
                  <a:pt x="9329106" y="4321527"/>
                </a:lnTo>
                <a:lnTo>
                  <a:pt x="9329106" y="4311656"/>
                </a:lnTo>
                <a:close/>
                <a:moveTo>
                  <a:pt x="9093811" y="4307617"/>
                </a:moveTo>
                <a:lnTo>
                  <a:pt x="9103722" y="4307617"/>
                </a:lnTo>
                <a:lnTo>
                  <a:pt x="9107741" y="4311656"/>
                </a:lnTo>
                <a:lnTo>
                  <a:pt x="9107741" y="4321527"/>
                </a:lnTo>
                <a:lnTo>
                  <a:pt x="9103722" y="4325566"/>
                </a:lnTo>
                <a:lnTo>
                  <a:pt x="9093811" y="4325566"/>
                </a:lnTo>
                <a:lnTo>
                  <a:pt x="9089792" y="4321527"/>
                </a:lnTo>
                <a:lnTo>
                  <a:pt x="9089792" y="4311656"/>
                </a:lnTo>
                <a:close/>
                <a:moveTo>
                  <a:pt x="8854496" y="4307617"/>
                </a:moveTo>
                <a:lnTo>
                  <a:pt x="8864407" y="4307617"/>
                </a:lnTo>
                <a:lnTo>
                  <a:pt x="8868426" y="4311656"/>
                </a:lnTo>
                <a:lnTo>
                  <a:pt x="8868426" y="4321527"/>
                </a:lnTo>
                <a:lnTo>
                  <a:pt x="8864407" y="4325566"/>
                </a:lnTo>
                <a:lnTo>
                  <a:pt x="8854496" y="4325566"/>
                </a:lnTo>
                <a:lnTo>
                  <a:pt x="8850477" y="4321527"/>
                </a:lnTo>
                <a:lnTo>
                  <a:pt x="8850477" y="4311656"/>
                </a:lnTo>
                <a:close/>
                <a:moveTo>
                  <a:pt x="8615184" y="4307617"/>
                </a:moveTo>
                <a:lnTo>
                  <a:pt x="8625095" y="4307617"/>
                </a:lnTo>
                <a:lnTo>
                  <a:pt x="8629114" y="4311656"/>
                </a:lnTo>
                <a:lnTo>
                  <a:pt x="8629114" y="4321527"/>
                </a:lnTo>
                <a:lnTo>
                  <a:pt x="8625095" y="4325566"/>
                </a:lnTo>
                <a:lnTo>
                  <a:pt x="8615184" y="4325566"/>
                </a:lnTo>
                <a:lnTo>
                  <a:pt x="8611165" y="4321527"/>
                </a:lnTo>
                <a:lnTo>
                  <a:pt x="8611165" y="4311656"/>
                </a:lnTo>
                <a:close/>
                <a:moveTo>
                  <a:pt x="8375869" y="4307617"/>
                </a:moveTo>
                <a:lnTo>
                  <a:pt x="8385779" y="4307617"/>
                </a:lnTo>
                <a:lnTo>
                  <a:pt x="8389799" y="4311656"/>
                </a:lnTo>
                <a:lnTo>
                  <a:pt x="8389799" y="4321527"/>
                </a:lnTo>
                <a:lnTo>
                  <a:pt x="8385779" y="4325566"/>
                </a:lnTo>
                <a:lnTo>
                  <a:pt x="8375869" y="4325566"/>
                </a:lnTo>
                <a:lnTo>
                  <a:pt x="8371850" y="4321527"/>
                </a:lnTo>
                <a:lnTo>
                  <a:pt x="8371850" y="4311656"/>
                </a:lnTo>
                <a:close/>
                <a:moveTo>
                  <a:pt x="8136553" y="4307617"/>
                </a:moveTo>
                <a:lnTo>
                  <a:pt x="8146464" y="4307617"/>
                </a:lnTo>
                <a:lnTo>
                  <a:pt x="8150483" y="4311656"/>
                </a:lnTo>
                <a:lnTo>
                  <a:pt x="8150483" y="4321527"/>
                </a:lnTo>
                <a:lnTo>
                  <a:pt x="8146464" y="4325566"/>
                </a:lnTo>
                <a:lnTo>
                  <a:pt x="8136553" y="4325566"/>
                </a:lnTo>
                <a:lnTo>
                  <a:pt x="8132534" y="4321527"/>
                </a:lnTo>
                <a:lnTo>
                  <a:pt x="8132534" y="4311656"/>
                </a:lnTo>
                <a:close/>
                <a:moveTo>
                  <a:pt x="7897241" y="4307617"/>
                </a:moveTo>
                <a:lnTo>
                  <a:pt x="7907151" y="4307617"/>
                </a:lnTo>
                <a:lnTo>
                  <a:pt x="7911170" y="4311656"/>
                </a:lnTo>
                <a:lnTo>
                  <a:pt x="7911170" y="4321527"/>
                </a:lnTo>
                <a:lnTo>
                  <a:pt x="7907151" y="4325566"/>
                </a:lnTo>
                <a:lnTo>
                  <a:pt x="7897241" y="4325566"/>
                </a:lnTo>
                <a:lnTo>
                  <a:pt x="7893222" y="4321527"/>
                </a:lnTo>
                <a:lnTo>
                  <a:pt x="7893222" y="4311656"/>
                </a:lnTo>
                <a:close/>
                <a:moveTo>
                  <a:pt x="7657926" y="4307617"/>
                </a:moveTo>
                <a:lnTo>
                  <a:pt x="7667836" y="4307617"/>
                </a:lnTo>
                <a:lnTo>
                  <a:pt x="7671855" y="4311656"/>
                </a:lnTo>
                <a:lnTo>
                  <a:pt x="7671855" y="4321527"/>
                </a:lnTo>
                <a:lnTo>
                  <a:pt x="7667836" y="4325566"/>
                </a:lnTo>
                <a:lnTo>
                  <a:pt x="7657926" y="4325566"/>
                </a:lnTo>
                <a:lnTo>
                  <a:pt x="7653906" y="4321527"/>
                </a:lnTo>
                <a:lnTo>
                  <a:pt x="7653906" y="4311656"/>
                </a:lnTo>
                <a:close/>
                <a:moveTo>
                  <a:pt x="7418611" y="4307617"/>
                </a:moveTo>
                <a:lnTo>
                  <a:pt x="7428521" y="4307617"/>
                </a:lnTo>
                <a:lnTo>
                  <a:pt x="7432540" y="4311656"/>
                </a:lnTo>
                <a:lnTo>
                  <a:pt x="7432540" y="4321527"/>
                </a:lnTo>
                <a:lnTo>
                  <a:pt x="7428521" y="4325566"/>
                </a:lnTo>
                <a:lnTo>
                  <a:pt x="7418611" y="4325566"/>
                </a:lnTo>
                <a:lnTo>
                  <a:pt x="7414592" y="4321527"/>
                </a:lnTo>
                <a:lnTo>
                  <a:pt x="7414592" y="4311656"/>
                </a:lnTo>
                <a:close/>
                <a:moveTo>
                  <a:pt x="7179298" y="4307617"/>
                </a:moveTo>
                <a:lnTo>
                  <a:pt x="7189209" y="4307617"/>
                </a:lnTo>
                <a:lnTo>
                  <a:pt x="7193228" y="4311656"/>
                </a:lnTo>
                <a:lnTo>
                  <a:pt x="7193228" y="4321527"/>
                </a:lnTo>
                <a:lnTo>
                  <a:pt x="7189209" y="4325566"/>
                </a:lnTo>
                <a:lnTo>
                  <a:pt x="7179298" y="4325566"/>
                </a:lnTo>
                <a:lnTo>
                  <a:pt x="7175279" y="4321527"/>
                </a:lnTo>
                <a:lnTo>
                  <a:pt x="7175279" y="4311656"/>
                </a:lnTo>
                <a:close/>
                <a:moveTo>
                  <a:pt x="6939983" y="4307617"/>
                </a:moveTo>
                <a:lnTo>
                  <a:pt x="6949894" y="4307617"/>
                </a:lnTo>
                <a:lnTo>
                  <a:pt x="6953913" y="4311656"/>
                </a:lnTo>
                <a:lnTo>
                  <a:pt x="6953913" y="4321527"/>
                </a:lnTo>
                <a:lnTo>
                  <a:pt x="6949894" y="4325566"/>
                </a:lnTo>
                <a:lnTo>
                  <a:pt x="6939983" y="4325566"/>
                </a:lnTo>
                <a:lnTo>
                  <a:pt x="6935964" y="4321527"/>
                </a:lnTo>
                <a:lnTo>
                  <a:pt x="6935964" y="4311656"/>
                </a:lnTo>
                <a:close/>
                <a:moveTo>
                  <a:pt x="6700670" y="4307617"/>
                </a:moveTo>
                <a:lnTo>
                  <a:pt x="6710581" y="4307617"/>
                </a:lnTo>
                <a:lnTo>
                  <a:pt x="6714600" y="4311656"/>
                </a:lnTo>
                <a:lnTo>
                  <a:pt x="6714600" y="4321527"/>
                </a:lnTo>
                <a:lnTo>
                  <a:pt x="6710581" y="4325566"/>
                </a:lnTo>
                <a:lnTo>
                  <a:pt x="6700670" y="4325566"/>
                </a:lnTo>
                <a:lnTo>
                  <a:pt x="6696651" y="4321527"/>
                </a:lnTo>
                <a:lnTo>
                  <a:pt x="6696651" y="4311656"/>
                </a:lnTo>
                <a:close/>
                <a:moveTo>
                  <a:pt x="6461356" y="4307617"/>
                </a:moveTo>
                <a:lnTo>
                  <a:pt x="6471266" y="4307617"/>
                </a:lnTo>
                <a:lnTo>
                  <a:pt x="6475285" y="4311656"/>
                </a:lnTo>
                <a:lnTo>
                  <a:pt x="6475285" y="4321527"/>
                </a:lnTo>
                <a:lnTo>
                  <a:pt x="6471266" y="4325566"/>
                </a:lnTo>
                <a:lnTo>
                  <a:pt x="6461356" y="4325566"/>
                </a:lnTo>
                <a:lnTo>
                  <a:pt x="6457337" y="4321527"/>
                </a:lnTo>
                <a:lnTo>
                  <a:pt x="6457337" y="4311656"/>
                </a:lnTo>
                <a:close/>
                <a:moveTo>
                  <a:pt x="6222042" y="4307617"/>
                </a:moveTo>
                <a:lnTo>
                  <a:pt x="6231952" y="4307617"/>
                </a:lnTo>
                <a:lnTo>
                  <a:pt x="6235971" y="4311656"/>
                </a:lnTo>
                <a:lnTo>
                  <a:pt x="6235971" y="4321527"/>
                </a:lnTo>
                <a:lnTo>
                  <a:pt x="6231952" y="4325566"/>
                </a:lnTo>
                <a:lnTo>
                  <a:pt x="6222042" y="4325566"/>
                </a:lnTo>
                <a:lnTo>
                  <a:pt x="6218023" y="4321527"/>
                </a:lnTo>
                <a:lnTo>
                  <a:pt x="6218023" y="4311656"/>
                </a:lnTo>
                <a:close/>
                <a:moveTo>
                  <a:pt x="5982729" y="4307617"/>
                </a:moveTo>
                <a:lnTo>
                  <a:pt x="5992639" y="4307617"/>
                </a:lnTo>
                <a:lnTo>
                  <a:pt x="5996658" y="4311656"/>
                </a:lnTo>
                <a:lnTo>
                  <a:pt x="5996658" y="4321527"/>
                </a:lnTo>
                <a:lnTo>
                  <a:pt x="5992639" y="4325566"/>
                </a:lnTo>
                <a:lnTo>
                  <a:pt x="5982729" y="4325566"/>
                </a:lnTo>
                <a:lnTo>
                  <a:pt x="5978710" y="4321527"/>
                </a:lnTo>
                <a:lnTo>
                  <a:pt x="5978710" y="4311656"/>
                </a:lnTo>
                <a:close/>
                <a:moveTo>
                  <a:pt x="5743412" y="4307617"/>
                </a:moveTo>
                <a:lnTo>
                  <a:pt x="5753323" y="4307617"/>
                </a:lnTo>
                <a:lnTo>
                  <a:pt x="5757342" y="4311656"/>
                </a:lnTo>
                <a:lnTo>
                  <a:pt x="5757342" y="4321527"/>
                </a:lnTo>
                <a:lnTo>
                  <a:pt x="5753323" y="4325566"/>
                </a:lnTo>
                <a:lnTo>
                  <a:pt x="5743412" y="4325566"/>
                </a:lnTo>
                <a:lnTo>
                  <a:pt x="5739393" y="4321527"/>
                </a:lnTo>
                <a:lnTo>
                  <a:pt x="5739393" y="4311656"/>
                </a:lnTo>
                <a:close/>
                <a:moveTo>
                  <a:pt x="5504099" y="4307617"/>
                </a:moveTo>
                <a:lnTo>
                  <a:pt x="5514010" y="4307617"/>
                </a:lnTo>
                <a:lnTo>
                  <a:pt x="5518029" y="4311656"/>
                </a:lnTo>
                <a:lnTo>
                  <a:pt x="5518029" y="4321527"/>
                </a:lnTo>
                <a:lnTo>
                  <a:pt x="5514010" y="4325566"/>
                </a:lnTo>
                <a:lnTo>
                  <a:pt x="5504099" y="4325566"/>
                </a:lnTo>
                <a:lnTo>
                  <a:pt x="5500080" y="4321527"/>
                </a:lnTo>
                <a:lnTo>
                  <a:pt x="5500080" y="4311656"/>
                </a:lnTo>
                <a:close/>
                <a:moveTo>
                  <a:pt x="5264784" y="4307617"/>
                </a:moveTo>
                <a:lnTo>
                  <a:pt x="5274694" y="4307617"/>
                </a:lnTo>
                <a:lnTo>
                  <a:pt x="5278713" y="4311656"/>
                </a:lnTo>
                <a:lnTo>
                  <a:pt x="5278713" y="4321527"/>
                </a:lnTo>
                <a:lnTo>
                  <a:pt x="5274694" y="4325566"/>
                </a:lnTo>
                <a:lnTo>
                  <a:pt x="5264784" y="4325566"/>
                </a:lnTo>
                <a:lnTo>
                  <a:pt x="5260765" y="4321527"/>
                </a:lnTo>
                <a:lnTo>
                  <a:pt x="5260765" y="4311656"/>
                </a:lnTo>
                <a:close/>
                <a:moveTo>
                  <a:pt x="5025470" y="4307617"/>
                </a:moveTo>
                <a:lnTo>
                  <a:pt x="5035381" y="4307617"/>
                </a:lnTo>
                <a:lnTo>
                  <a:pt x="5039400" y="4311656"/>
                </a:lnTo>
                <a:lnTo>
                  <a:pt x="5039400" y="4321527"/>
                </a:lnTo>
                <a:lnTo>
                  <a:pt x="5035381" y="4325566"/>
                </a:lnTo>
                <a:lnTo>
                  <a:pt x="5025470" y="4325566"/>
                </a:lnTo>
                <a:lnTo>
                  <a:pt x="5021451" y="4321527"/>
                </a:lnTo>
                <a:lnTo>
                  <a:pt x="5021451" y="4311656"/>
                </a:lnTo>
                <a:close/>
                <a:moveTo>
                  <a:pt x="4786241" y="4307617"/>
                </a:moveTo>
                <a:lnTo>
                  <a:pt x="4796152" y="4307617"/>
                </a:lnTo>
                <a:lnTo>
                  <a:pt x="4800171" y="4311656"/>
                </a:lnTo>
                <a:lnTo>
                  <a:pt x="4800171" y="4321527"/>
                </a:lnTo>
                <a:lnTo>
                  <a:pt x="4796152" y="4325566"/>
                </a:lnTo>
                <a:lnTo>
                  <a:pt x="4786241" y="4325566"/>
                </a:lnTo>
                <a:lnTo>
                  <a:pt x="4782224" y="4321527"/>
                </a:lnTo>
                <a:lnTo>
                  <a:pt x="4782224" y="4311656"/>
                </a:lnTo>
                <a:close/>
                <a:moveTo>
                  <a:pt x="4546929" y="4307617"/>
                </a:moveTo>
                <a:lnTo>
                  <a:pt x="4556840" y="4307617"/>
                </a:lnTo>
                <a:lnTo>
                  <a:pt x="4560859" y="4311656"/>
                </a:lnTo>
                <a:lnTo>
                  <a:pt x="4560859" y="4321527"/>
                </a:lnTo>
                <a:lnTo>
                  <a:pt x="4556840" y="4325566"/>
                </a:lnTo>
                <a:lnTo>
                  <a:pt x="4546929" y="4325566"/>
                </a:lnTo>
                <a:lnTo>
                  <a:pt x="4542910" y="4321527"/>
                </a:lnTo>
                <a:lnTo>
                  <a:pt x="4542910" y="4311656"/>
                </a:lnTo>
                <a:close/>
                <a:moveTo>
                  <a:pt x="4307612" y="4307617"/>
                </a:moveTo>
                <a:lnTo>
                  <a:pt x="4317523" y="4307617"/>
                </a:lnTo>
                <a:lnTo>
                  <a:pt x="4321543" y="4311656"/>
                </a:lnTo>
                <a:lnTo>
                  <a:pt x="4321543" y="4321527"/>
                </a:lnTo>
                <a:lnTo>
                  <a:pt x="4317523" y="4325566"/>
                </a:lnTo>
                <a:lnTo>
                  <a:pt x="4307612" y="4325566"/>
                </a:lnTo>
                <a:lnTo>
                  <a:pt x="4303595" y="4321527"/>
                </a:lnTo>
                <a:lnTo>
                  <a:pt x="4303595" y="4311656"/>
                </a:lnTo>
                <a:close/>
                <a:moveTo>
                  <a:pt x="4068297" y="4307617"/>
                </a:moveTo>
                <a:lnTo>
                  <a:pt x="4078210" y="4307617"/>
                </a:lnTo>
                <a:lnTo>
                  <a:pt x="4082229" y="4311656"/>
                </a:lnTo>
                <a:lnTo>
                  <a:pt x="4082229" y="4321527"/>
                </a:lnTo>
                <a:lnTo>
                  <a:pt x="4078210" y="4325566"/>
                </a:lnTo>
                <a:lnTo>
                  <a:pt x="4068297" y="4325566"/>
                </a:lnTo>
                <a:lnTo>
                  <a:pt x="4064278" y="4321527"/>
                </a:lnTo>
                <a:lnTo>
                  <a:pt x="4064278" y="4311656"/>
                </a:lnTo>
                <a:close/>
                <a:moveTo>
                  <a:pt x="3828990" y="4307617"/>
                </a:moveTo>
                <a:lnTo>
                  <a:pt x="3838899" y="4307617"/>
                </a:lnTo>
                <a:lnTo>
                  <a:pt x="3842917" y="4311656"/>
                </a:lnTo>
                <a:lnTo>
                  <a:pt x="3842917" y="4321527"/>
                </a:lnTo>
                <a:lnTo>
                  <a:pt x="3838899" y="4325566"/>
                </a:lnTo>
                <a:lnTo>
                  <a:pt x="3828990" y="4325566"/>
                </a:lnTo>
                <a:lnTo>
                  <a:pt x="3824971" y="4321527"/>
                </a:lnTo>
                <a:lnTo>
                  <a:pt x="3824971" y="4311656"/>
                </a:lnTo>
                <a:close/>
                <a:moveTo>
                  <a:pt x="3589676" y="4307617"/>
                </a:moveTo>
                <a:lnTo>
                  <a:pt x="3599585" y="4307617"/>
                </a:lnTo>
                <a:lnTo>
                  <a:pt x="3603604" y="4311656"/>
                </a:lnTo>
                <a:lnTo>
                  <a:pt x="3603604" y="4321527"/>
                </a:lnTo>
                <a:lnTo>
                  <a:pt x="3599585" y="4325566"/>
                </a:lnTo>
                <a:lnTo>
                  <a:pt x="3589676" y="4325566"/>
                </a:lnTo>
                <a:lnTo>
                  <a:pt x="3585657" y="4321527"/>
                </a:lnTo>
                <a:lnTo>
                  <a:pt x="3585657" y="4311656"/>
                </a:lnTo>
                <a:close/>
                <a:moveTo>
                  <a:pt x="3350359" y="4307617"/>
                </a:moveTo>
                <a:lnTo>
                  <a:pt x="3360268" y="4307617"/>
                </a:lnTo>
                <a:lnTo>
                  <a:pt x="3364287" y="4311656"/>
                </a:lnTo>
                <a:lnTo>
                  <a:pt x="3364287" y="4321527"/>
                </a:lnTo>
                <a:lnTo>
                  <a:pt x="3360268" y="4325566"/>
                </a:lnTo>
                <a:lnTo>
                  <a:pt x="3350359" y="4325566"/>
                </a:lnTo>
                <a:lnTo>
                  <a:pt x="3346340" y="4321527"/>
                </a:lnTo>
                <a:lnTo>
                  <a:pt x="3346340" y="4311656"/>
                </a:lnTo>
                <a:close/>
                <a:moveTo>
                  <a:pt x="3111048" y="4307617"/>
                </a:moveTo>
                <a:lnTo>
                  <a:pt x="3120959" y="4307617"/>
                </a:lnTo>
                <a:lnTo>
                  <a:pt x="3124977" y="4311656"/>
                </a:lnTo>
                <a:lnTo>
                  <a:pt x="3124977" y="4321527"/>
                </a:lnTo>
                <a:lnTo>
                  <a:pt x="3120959" y="4325566"/>
                </a:lnTo>
                <a:lnTo>
                  <a:pt x="3111048" y="4325566"/>
                </a:lnTo>
                <a:lnTo>
                  <a:pt x="3107029" y="4321527"/>
                </a:lnTo>
                <a:lnTo>
                  <a:pt x="3107029" y="4311656"/>
                </a:lnTo>
                <a:close/>
                <a:moveTo>
                  <a:pt x="2871737" y="4307617"/>
                </a:moveTo>
                <a:lnTo>
                  <a:pt x="2881646" y="4307617"/>
                </a:lnTo>
                <a:lnTo>
                  <a:pt x="2885666" y="4311656"/>
                </a:lnTo>
                <a:lnTo>
                  <a:pt x="2885666" y="4321527"/>
                </a:lnTo>
                <a:lnTo>
                  <a:pt x="2881646" y="4325566"/>
                </a:lnTo>
                <a:lnTo>
                  <a:pt x="2871737" y="4325566"/>
                </a:lnTo>
                <a:lnTo>
                  <a:pt x="2867717" y="4321527"/>
                </a:lnTo>
                <a:lnTo>
                  <a:pt x="2867717" y="4311656"/>
                </a:lnTo>
                <a:close/>
                <a:moveTo>
                  <a:pt x="2632423" y="4307617"/>
                </a:moveTo>
                <a:lnTo>
                  <a:pt x="2642334" y="4307617"/>
                </a:lnTo>
                <a:lnTo>
                  <a:pt x="2646352" y="4311656"/>
                </a:lnTo>
                <a:lnTo>
                  <a:pt x="2646352" y="4321527"/>
                </a:lnTo>
                <a:lnTo>
                  <a:pt x="2642334" y="4325566"/>
                </a:lnTo>
                <a:lnTo>
                  <a:pt x="2632423" y="4325566"/>
                </a:lnTo>
                <a:lnTo>
                  <a:pt x="2628404" y="4321527"/>
                </a:lnTo>
                <a:lnTo>
                  <a:pt x="2628404" y="4311656"/>
                </a:lnTo>
                <a:close/>
                <a:moveTo>
                  <a:pt x="2393104" y="4307617"/>
                </a:moveTo>
                <a:lnTo>
                  <a:pt x="2403015" y="4307617"/>
                </a:lnTo>
                <a:lnTo>
                  <a:pt x="2407034" y="4311656"/>
                </a:lnTo>
                <a:lnTo>
                  <a:pt x="2407034" y="4321527"/>
                </a:lnTo>
                <a:lnTo>
                  <a:pt x="2403015" y="4325566"/>
                </a:lnTo>
                <a:lnTo>
                  <a:pt x="2393104" y="4325566"/>
                </a:lnTo>
                <a:lnTo>
                  <a:pt x="2389087" y="4321527"/>
                </a:lnTo>
                <a:lnTo>
                  <a:pt x="2389087" y="4311656"/>
                </a:lnTo>
                <a:close/>
                <a:moveTo>
                  <a:pt x="721965" y="4307617"/>
                </a:moveTo>
                <a:lnTo>
                  <a:pt x="731874" y="4307617"/>
                </a:lnTo>
                <a:lnTo>
                  <a:pt x="735893" y="4311656"/>
                </a:lnTo>
                <a:lnTo>
                  <a:pt x="735893" y="4321527"/>
                </a:lnTo>
                <a:lnTo>
                  <a:pt x="731874" y="4325566"/>
                </a:lnTo>
                <a:lnTo>
                  <a:pt x="721965" y="4325566"/>
                </a:lnTo>
                <a:lnTo>
                  <a:pt x="717945" y="4321527"/>
                </a:lnTo>
                <a:lnTo>
                  <a:pt x="717945" y="4311656"/>
                </a:lnTo>
                <a:close/>
                <a:moveTo>
                  <a:pt x="482652" y="4307617"/>
                </a:moveTo>
                <a:lnTo>
                  <a:pt x="492562" y="4307617"/>
                </a:lnTo>
                <a:lnTo>
                  <a:pt x="496581" y="4311656"/>
                </a:lnTo>
                <a:lnTo>
                  <a:pt x="496581" y="4321527"/>
                </a:lnTo>
                <a:lnTo>
                  <a:pt x="492562" y="4325566"/>
                </a:lnTo>
                <a:lnTo>
                  <a:pt x="482652" y="4325566"/>
                </a:lnTo>
                <a:lnTo>
                  <a:pt x="478633" y="4321527"/>
                </a:lnTo>
                <a:lnTo>
                  <a:pt x="478633" y="4311656"/>
                </a:lnTo>
                <a:close/>
                <a:moveTo>
                  <a:pt x="243339" y="4307617"/>
                </a:moveTo>
                <a:lnTo>
                  <a:pt x="253249" y="4307617"/>
                </a:lnTo>
                <a:lnTo>
                  <a:pt x="257268" y="4311656"/>
                </a:lnTo>
                <a:lnTo>
                  <a:pt x="257268" y="4321527"/>
                </a:lnTo>
                <a:lnTo>
                  <a:pt x="253249" y="4325566"/>
                </a:lnTo>
                <a:lnTo>
                  <a:pt x="243339" y="4325566"/>
                </a:lnTo>
                <a:lnTo>
                  <a:pt x="239320" y="4321527"/>
                </a:lnTo>
                <a:lnTo>
                  <a:pt x="239320" y="4311656"/>
                </a:lnTo>
                <a:close/>
                <a:moveTo>
                  <a:pt x="4025" y="4307617"/>
                </a:moveTo>
                <a:lnTo>
                  <a:pt x="13936" y="4307617"/>
                </a:lnTo>
                <a:lnTo>
                  <a:pt x="17955" y="4311656"/>
                </a:lnTo>
                <a:lnTo>
                  <a:pt x="17955" y="4321527"/>
                </a:lnTo>
                <a:lnTo>
                  <a:pt x="13936" y="4325566"/>
                </a:lnTo>
                <a:lnTo>
                  <a:pt x="4025" y="4325566"/>
                </a:lnTo>
                <a:lnTo>
                  <a:pt x="7" y="4321527"/>
                </a:lnTo>
                <a:lnTo>
                  <a:pt x="7" y="4311656"/>
                </a:lnTo>
                <a:close/>
                <a:moveTo>
                  <a:pt x="9572438" y="4068339"/>
                </a:moveTo>
                <a:lnTo>
                  <a:pt x="9582349" y="4068339"/>
                </a:lnTo>
                <a:lnTo>
                  <a:pt x="9586368" y="4072377"/>
                </a:lnTo>
                <a:lnTo>
                  <a:pt x="9586368" y="4082248"/>
                </a:lnTo>
                <a:lnTo>
                  <a:pt x="9582349" y="4086287"/>
                </a:lnTo>
                <a:lnTo>
                  <a:pt x="9572438" y="4086287"/>
                </a:lnTo>
                <a:lnTo>
                  <a:pt x="9568419" y="4082248"/>
                </a:lnTo>
                <a:lnTo>
                  <a:pt x="9568419" y="4072377"/>
                </a:lnTo>
                <a:close/>
                <a:moveTo>
                  <a:pt x="9333125" y="4068339"/>
                </a:moveTo>
                <a:lnTo>
                  <a:pt x="9343036" y="4068339"/>
                </a:lnTo>
                <a:lnTo>
                  <a:pt x="9347055" y="4072377"/>
                </a:lnTo>
                <a:lnTo>
                  <a:pt x="9347055" y="4082248"/>
                </a:lnTo>
                <a:lnTo>
                  <a:pt x="9343036" y="4086287"/>
                </a:lnTo>
                <a:lnTo>
                  <a:pt x="9333125" y="4086287"/>
                </a:lnTo>
                <a:lnTo>
                  <a:pt x="9329106" y="4082248"/>
                </a:lnTo>
                <a:lnTo>
                  <a:pt x="9329106" y="4072377"/>
                </a:lnTo>
                <a:close/>
                <a:moveTo>
                  <a:pt x="9093811" y="4068339"/>
                </a:moveTo>
                <a:lnTo>
                  <a:pt x="9103722" y="4068339"/>
                </a:lnTo>
                <a:lnTo>
                  <a:pt x="9107741" y="4072377"/>
                </a:lnTo>
                <a:lnTo>
                  <a:pt x="9107741" y="4082248"/>
                </a:lnTo>
                <a:lnTo>
                  <a:pt x="9103722" y="4086287"/>
                </a:lnTo>
                <a:lnTo>
                  <a:pt x="9093811" y="4086287"/>
                </a:lnTo>
                <a:lnTo>
                  <a:pt x="9089792" y="4082248"/>
                </a:lnTo>
                <a:lnTo>
                  <a:pt x="9089792" y="4072377"/>
                </a:lnTo>
                <a:close/>
                <a:moveTo>
                  <a:pt x="8854496" y="4068339"/>
                </a:moveTo>
                <a:lnTo>
                  <a:pt x="8864407" y="4068339"/>
                </a:lnTo>
                <a:lnTo>
                  <a:pt x="8868426" y="4072377"/>
                </a:lnTo>
                <a:lnTo>
                  <a:pt x="8868426" y="4082248"/>
                </a:lnTo>
                <a:lnTo>
                  <a:pt x="8864407" y="4086287"/>
                </a:lnTo>
                <a:lnTo>
                  <a:pt x="8854496" y="4086287"/>
                </a:lnTo>
                <a:lnTo>
                  <a:pt x="8850477" y="4082248"/>
                </a:lnTo>
                <a:lnTo>
                  <a:pt x="8850477" y="4072377"/>
                </a:lnTo>
                <a:close/>
                <a:moveTo>
                  <a:pt x="8615184" y="4068339"/>
                </a:moveTo>
                <a:lnTo>
                  <a:pt x="8625095" y="4068339"/>
                </a:lnTo>
                <a:lnTo>
                  <a:pt x="8629114" y="4072377"/>
                </a:lnTo>
                <a:lnTo>
                  <a:pt x="8629114" y="4082248"/>
                </a:lnTo>
                <a:lnTo>
                  <a:pt x="8625095" y="4086287"/>
                </a:lnTo>
                <a:lnTo>
                  <a:pt x="8615184" y="4086287"/>
                </a:lnTo>
                <a:lnTo>
                  <a:pt x="8611165" y="4082248"/>
                </a:lnTo>
                <a:lnTo>
                  <a:pt x="8611165" y="4072377"/>
                </a:lnTo>
                <a:close/>
                <a:moveTo>
                  <a:pt x="8375869" y="4068339"/>
                </a:moveTo>
                <a:lnTo>
                  <a:pt x="8385779" y="4068339"/>
                </a:lnTo>
                <a:lnTo>
                  <a:pt x="8389799" y="4072377"/>
                </a:lnTo>
                <a:lnTo>
                  <a:pt x="8389799" y="4082248"/>
                </a:lnTo>
                <a:lnTo>
                  <a:pt x="8385779" y="4086287"/>
                </a:lnTo>
                <a:lnTo>
                  <a:pt x="8375869" y="4086287"/>
                </a:lnTo>
                <a:lnTo>
                  <a:pt x="8371850" y="4082248"/>
                </a:lnTo>
                <a:lnTo>
                  <a:pt x="8371850" y="4072377"/>
                </a:lnTo>
                <a:close/>
                <a:moveTo>
                  <a:pt x="8136553" y="4068339"/>
                </a:moveTo>
                <a:lnTo>
                  <a:pt x="8146464" y="4068339"/>
                </a:lnTo>
                <a:lnTo>
                  <a:pt x="8150483" y="4072377"/>
                </a:lnTo>
                <a:lnTo>
                  <a:pt x="8150483" y="4082248"/>
                </a:lnTo>
                <a:lnTo>
                  <a:pt x="8146464" y="4086287"/>
                </a:lnTo>
                <a:lnTo>
                  <a:pt x="8136553" y="4086287"/>
                </a:lnTo>
                <a:lnTo>
                  <a:pt x="8132534" y="4082248"/>
                </a:lnTo>
                <a:lnTo>
                  <a:pt x="8132534" y="4072377"/>
                </a:lnTo>
                <a:close/>
                <a:moveTo>
                  <a:pt x="7897241" y="4068339"/>
                </a:moveTo>
                <a:lnTo>
                  <a:pt x="7907151" y="4068339"/>
                </a:lnTo>
                <a:lnTo>
                  <a:pt x="7911170" y="4072377"/>
                </a:lnTo>
                <a:lnTo>
                  <a:pt x="7911170" y="4082248"/>
                </a:lnTo>
                <a:lnTo>
                  <a:pt x="7907151" y="4086287"/>
                </a:lnTo>
                <a:lnTo>
                  <a:pt x="7897241" y="4086287"/>
                </a:lnTo>
                <a:lnTo>
                  <a:pt x="7893222" y="4082248"/>
                </a:lnTo>
                <a:lnTo>
                  <a:pt x="7893222" y="4072377"/>
                </a:lnTo>
                <a:close/>
                <a:moveTo>
                  <a:pt x="7657926" y="4068339"/>
                </a:moveTo>
                <a:lnTo>
                  <a:pt x="7667836" y="4068339"/>
                </a:lnTo>
                <a:lnTo>
                  <a:pt x="7671855" y="4072377"/>
                </a:lnTo>
                <a:lnTo>
                  <a:pt x="7671855" y="4082248"/>
                </a:lnTo>
                <a:lnTo>
                  <a:pt x="7667836" y="4086287"/>
                </a:lnTo>
                <a:lnTo>
                  <a:pt x="7657926" y="4086287"/>
                </a:lnTo>
                <a:lnTo>
                  <a:pt x="7653906" y="4082248"/>
                </a:lnTo>
                <a:lnTo>
                  <a:pt x="7653906" y="4072377"/>
                </a:lnTo>
                <a:close/>
                <a:moveTo>
                  <a:pt x="7418611" y="4068339"/>
                </a:moveTo>
                <a:lnTo>
                  <a:pt x="7428521" y="4068339"/>
                </a:lnTo>
                <a:lnTo>
                  <a:pt x="7432540" y="4072377"/>
                </a:lnTo>
                <a:lnTo>
                  <a:pt x="7432540" y="4082248"/>
                </a:lnTo>
                <a:lnTo>
                  <a:pt x="7428521" y="4086287"/>
                </a:lnTo>
                <a:lnTo>
                  <a:pt x="7418611" y="4086287"/>
                </a:lnTo>
                <a:lnTo>
                  <a:pt x="7414592" y="4082248"/>
                </a:lnTo>
                <a:lnTo>
                  <a:pt x="7414592" y="4072377"/>
                </a:lnTo>
                <a:close/>
                <a:moveTo>
                  <a:pt x="7179298" y="4068339"/>
                </a:moveTo>
                <a:lnTo>
                  <a:pt x="7189209" y="4068339"/>
                </a:lnTo>
                <a:lnTo>
                  <a:pt x="7193228" y="4072377"/>
                </a:lnTo>
                <a:lnTo>
                  <a:pt x="7193228" y="4082248"/>
                </a:lnTo>
                <a:lnTo>
                  <a:pt x="7189209" y="4086287"/>
                </a:lnTo>
                <a:lnTo>
                  <a:pt x="7179298" y="4086287"/>
                </a:lnTo>
                <a:lnTo>
                  <a:pt x="7175279" y="4082248"/>
                </a:lnTo>
                <a:lnTo>
                  <a:pt x="7175279" y="4072377"/>
                </a:lnTo>
                <a:close/>
                <a:moveTo>
                  <a:pt x="6939983" y="4068339"/>
                </a:moveTo>
                <a:lnTo>
                  <a:pt x="6949894" y="4068339"/>
                </a:lnTo>
                <a:lnTo>
                  <a:pt x="6953913" y="4072377"/>
                </a:lnTo>
                <a:lnTo>
                  <a:pt x="6953913" y="4082248"/>
                </a:lnTo>
                <a:lnTo>
                  <a:pt x="6949894" y="4086287"/>
                </a:lnTo>
                <a:lnTo>
                  <a:pt x="6939983" y="4086287"/>
                </a:lnTo>
                <a:lnTo>
                  <a:pt x="6935964" y="4082248"/>
                </a:lnTo>
                <a:lnTo>
                  <a:pt x="6935964" y="4072377"/>
                </a:lnTo>
                <a:close/>
                <a:moveTo>
                  <a:pt x="6700670" y="4068339"/>
                </a:moveTo>
                <a:lnTo>
                  <a:pt x="6710581" y="4068339"/>
                </a:lnTo>
                <a:lnTo>
                  <a:pt x="6714600" y="4072377"/>
                </a:lnTo>
                <a:lnTo>
                  <a:pt x="6714600" y="4082248"/>
                </a:lnTo>
                <a:lnTo>
                  <a:pt x="6710581" y="4086287"/>
                </a:lnTo>
                <a:lnTo>
                  <a:pt x="6700670" y="4086287"/>
                </a:lnTo>
                <a:lnTo>
                  <a:pt x="6696651" y="4082248"/>
                </a:lnTo>
                <a:lnTo>
                  <a:pt x="6696651" y="4072377"/>
                </a:lnTo>
                <a:close/>
                <a:moveTo>
                  <a:pt x="6461356" y="4068339"/>
                </a:moveTo>
                <a:lnTo>
                  <a:pt x="6471266" y="4068339"/>
                </a:lnTo>
                <a:lnTo>
                  <a:pt x="6475285" y="4072377"/>
                </a:lnTo>
                <a:lnTo>
                  <a:pt x="6475285" y="4082248"/>
                </a:lnTo>
                <a:lnTo>
                  <a:pt x="6471266" y="4086287"/>
                </a:lnTo>
                <a:lnTo>
                  <a:pt x="6461356" y="4086287"/>
                </a:lnTo>
                <a:lnTo>
                  <a:pt x="6457337" y="4082248"/>
                </a:lnTo>
                <a:lnTo>
                  <a:pt x="6457337" y="4072377"/>
                </a:lnTo>
                <a:close/>
                <a:moveTo>
                  <a:pt x="6222042" y="4068339"/>
                </a:moveTo>
                <a:lnTo>
                  <a:pt x="6231952" y="4068339"/>
                </a:lnTo>
                <a:lnTo>
                  <a:pt x="6235971" y="4072377"/>
                </a:lnTo>
                <a:lnTo>
                  <a:pt x="6235971" y="4082248"/>
                </a:lnTo>
                <a:lnTo>
                  <a:pt x="6231952" y="4086287"/>
                </a:lnTo>
                <a:lnTo>
                  <a:pt x="6222042" y="4086287"/>
                </a:lnTo>
                <a:lnTo>
                  <a:pt x="6218023" y="4082248"/>
                </a:lnTo>
                <a:lnTo>
                  <a:pt x="6218023" y="4072377"/>
                </a:lnTo>
                <a:close/>
                <a:moveTo>
                  <a:pt x="5982729" y="4068339"/>
                </a:moveTo>
                <a:lnTo>
                  <a:pt x="5992639" y="4068339"/>
                </a:lnTo>
                <a:lnTo>
                  <a:pt x="5996658" y="4072377"/>
                </a:lnTo>
                <a:lnTo>
                  <a:pt x="5996658" y="4082248"/>
                </a:lnTo>
                <a:lnTo>
                  <a:pt x="5992639" y="4086287"/>
                </a:lnTo>
                <a:lnTo>
                  <a:pt x="5982729" y="4086287"/>
                </a:lnTo>
                <a:lnTo>
                  <a:pt x="5978710" y="4082248"/>
                </a:lnTo>
                <a:lnTo>
                  <a:pt x="5978710" y="4072377"/>
                </a:lnTo>
                <a:close/>
                <a:moveTo>
                  <a:pt x="5743412" y="4068339"/>
                </a:moveTo>
                <a:lnTo>
                  <a:pt x="5753323" y="4068339"/>
                </a:lnTo>
                <a:lnTo>
                  <a:pt x="5757342" y="4072377"/>
                </a:lnTo>
                <a:lnTo>
                  <a:pt x="5757342" y="4082248"/>
                </a:lnTo>
                <a:lnTo>
                  <a:pt x="5753323" y="4086287"/>
                </a:lnTo>
                <a:lnTo>
                  <a:pt x="5743412" y="4086287"/>
                </a:lnTo>
                <a:lnTo>
                  <a:pt x="5739393" y="4082248"/>
                </a:lnTo>
                <a:lnTo>
                  <a:pt x="5739393" y="4072377"/>
                </a:lnTo>
                <a:close/>
                <a:moveTo>
                  <a:pt x="5504099" y="4068339"/>
                </a:moveTo>
                <a:lnTo>
                  <a:pt x="5514010" y="4068339"/>
                </a:lnTo>
                <a:lnTo>
                  <a:pt x="5518029" y="4072377"/>
                </a:lnTo>
                <a:lnTo>
                  <a:pt x="5518029" y="4082248"/>
                </a:lnTo>
                <a:lnTo>
                  <a:pt x="5514010" y="4086287"/>
                </a:lnTo>
                <a:lnTo>
                  <a:pt x="5504099" y="4086287"/>
                </a:lnTo>
                <a:lnTo>
                  <a:pt x="5500080" y="4082248"/>
                </a:lnTo>
                <a:lnTo>
                  <a:pt x="5500080" y="4072377"/>
                </a:lnTo>
                <a:close/>
                <a:moveTo>
                  <a:pt x="5264784" y="4068339"/>
                </a:moveTo>
                <a:lnTo>
                  <a:pt x="5274694" y="4068339"/>
                </a:lnTo>
                <a:lnTo>
                  <a:pt x="5278713" y="4072377"/>
                </a:lnTo>
                <a:lnTo>
                  <a:pt x="5278713" y="4082248"/>
                </a:lnTo>
                <a:lnTo>
                  <a:pt x="5274694" y="4086287"/>
                </a:lnTo>
                <a:lnTo>
                  <a:pt x="5264784" y="4086287"/>
                </a:lnTo>
                <a:lnTo>
                  <a:pt x="5260765" y="4082248"/>
                </a:lnTo>
                <a:lnTo>
                  <a:pt x="5260765" y="4072377"/>
                </a:lnTo>
                <a:close/>
                <a:moveTo>
                  <a:pt x="5025470" y="4068339"/>
                </a:moveTo>
                <a:lnTo>
                  <a:pt x="5035381" y="4068339"/>
                </a:lnTo>
                <a:lnTo>
                  <a:pt x="5039400" y="4072377"/>
                </a:lnTo>
                <a:lnTo>
                  <a:pt x="5039400" y="4082248"/>
                </a:lnTo>
                <a:lnTo>
                  <a:pt x="5035381" y="4086287"/>
                </a:lnTo>
                <a:lnTo>
                  <a:pt x="5025470" y="4086287"/>
                </a:lnTo>
                <a:lnTo>
                  <a:pt x="5021451" y="4082248"/>
                </a:lnTo>
                <a:lnTo>
                  <a:pt x="5021451" y="4072377"/>
                </a:lnTo>
                <a:close/>
                <a:moveTo>
                  <a:pt x="4786241" y="4068339"/>
                </a:moveTo>
                <a:lnTo>
                  <a:pt x="4796152" y="4068339"/>
                </a:lnTo>
                <a:lnTo>
                  <a:pt x="4800171" y="4072377"/>
                </a:lnTo>
                <a:lnTo>
                  <a:pt x="4800171" y="4082248"/>
                </a:lnTo>
                <a:lnTo>
                  <a:pt x="4796152" y="4086287"/>
                </a:lnTo>
                <a:lnTo>
                  <a:pt x="4786241" y="4086287"/>
                </a:lnTo>
                <a:lnTo>
                  <a:pt x="4782224" y="4082248"/>
                </a:lnTo>
                <a:lnTo>
                  <a:pt x="4782224" y="4072377"/>
                </a:lnTo>
                <a:close/>
                <a:moveTo>
                  <a:pt x="4546929" y="4068339"/>
                </a:moveTo>
                <a:lnTo>
                  <a:pt x="4556840" y="4068339"/>
                </a:lnTo>
                <a:lnTo>
                  <a:pt x="4560859" y="4072377"/>
                </a:lnTo>
                <a:lnTo>
                  <a:pt x="4560859" y="4082248"/>
                </a:lnTo>
                <a:lnTo>
                  <a:pt x="4556840" y="4086287"/>
                </a:lnTo>
                <a:lnTo>
                  <a:pt x="4546929" y="4086287"/>
                </a:lnTo>
                <a:lnTo>
                  <a:pt x="4542910" y="4082248"/>
                </a:lnTo>
                <a:lnTo>
                  <a:pt x="4542910" y="4072377"/>
                </a:lnTo>
                <a:close/>
                <a:moveTo>
                  <a:pt x="4307612" y="4068339"/>
                </a:moveTo>
                <a:lnTo>
                  <a:pt x="4317523" y="4068339"/>
                </a:lnTo>
                <a:lnTo>
                  <a:pt x="4321543" y="4072377"/>
                </a:lnTo>
                <a:lnTo>
                  <a:pt x="4321543" y="4082248"/>
                </a:lnTo>
                <a:lnTo>
                  <a:pt x="4317523" y="4086287"/>
                </a:lnTo>
                <a:lnTo>
                  <a:pt x="4307612" y="4086287"/>
                </a:lnTo>
                <a:lnTo>
                  <a:pt x="4303595" y="4082248"/>
                </a:lnTo>
                <a:lnTo>
                  <a:pt x="4303595" y="4072377"/>
                </a:lnTo>
                <a:close/>
                <a:moveTo>
                  <a:pt x="4068297" y="4068339"/>
                </a:moveTo>
                <a:lnTo>
                  <a:pt x="4078210" y="4068339"/>
                </a:lnTo>
                <a:lnTo>
                  <a:pt x="4082229" y="4072377"/>
                </a:lnTo>
                <a:lnTo>
                  <a:pt x="4082229" y="4082248"/>
                </a:lnTo>
                <a:lnTo>
                  <a:pt x="4078210" y="4086287"/>
                </a:lnTo>
                <a:lnTo>
                  <a:pt x="4068297" y="4086287"/>
                </a:lnTo>
                <a:lnTo>
                  <a:pt x="4064278" y="4082248"/>
                </a:lnTo>
                <a:lnTo>
                  <a:pt x="4064278" y="4072377"/>
                </a:lnTo>
                <a:close/>
                <a:moveTo>
                  <a:pt x="3828990" y="4068339"/>
                </a:moveTo>
                <a:lnTo>
                  <a:pt x="3838899" y="4068339"/>
                </a:lnTo>
                <a:lnTo>
                  <a:pt x="3842917" y="4072377"/>
                </a:lnTo>
                <a:lnTo>
                  <a:pt x="3842917" y="4082248"/>
                </a:lnTo>
                <a:lnTo>
                  <a:pt x="3838899" y="4086287"/>
                </a:lnTo>
                <a:lnTo>
                  <a:pt x="3828990" y="4086287"/>
                </a:lnTo>
                <a:lnTo>
                  <a:pt x="3824971" y="4082248"/>
                </a:lnTo>
                <a:lnTo>
                  <a:pt x="3824971" y="4072377"/>
                </a:lnTo>
                <a:close/>
                <a:moveTo>
                  <a:pt x="3589676" y="4068339"/>
                </a:moveTo>
                <a:lnTo>
                  <a:pt x="3599585" y="4068339"/>
                </a:lnTo>
                <a:lnTo>
                  <a:pt x="3603604" y="4072377"/>
                </a:lnTo>
                <a:lnTo>
                  <a:pt x="3603604" y="4082248"/>
                </a:lnTo>
                <a:lnTo>
                  <a:pt x="3599585" y="4086287"/>
                </a:lnTo>
                <a:lnTo>
                  <a:pt x="3589676" y="4086287"/>
                </a:lnTo>
                <a:lnTo>
                  <a:pt x="3585657" y="4082248"/>
                </a:lnTo>
                <a:lnTo>
                  <a:pt x="3585657" y="4072377"/>
                </a:lnTo>
                <a:close/>
                <a:moveTo>
                  <a:pt x="3350359" y="4068339"/>
                </a:moveTo>
                <a:lnTo>
                  <a:pt x="3360268" y="4068339"/>
                </a:lnTo>
                <a:lnTo>
                  <a:pt x="3364287" y="4072377"/>
                </a:lnTo>
                <a:lnTo>
                  <a:pt x="3364287" y="4082248"/>
                </a:lnTo>
                <a:lnTo>
                  <a:pt x="3360268" y="4086287"/>
                </a:lnTo>
                <a:lnTo>
                  <a:pt x="3350359" y="4086287"/>
                </a:lnTo>
                <a:lnTo>
                  <a:pt x="3346340" y="4082248"/>
                </a:lnTo>
                <a:lnTo>
                  <a:pt x="3346340" y="4072377"/>
                </a:lnTo>
                <a:close/>
                <a:moveTo>
                  <a:pt x="3111048" y="4068339"/>
                </a:moveTo>
                <a:lnTo>
                  <a:pt x="3120959" y="4068339"/>
                </a:lnTo>
                <a:lnTo>
                  <a:pt x="3124977" y="4072377"/>
                </a:lnTo>
                <a:lnTo>
                  <a:pt x="3124977" y="4082248"/>
                </a:lnTo>
                <a:lnTo>
                  <a:pt x="3120959" y="4086287"/>
                </a:lnTo>
                <a:lnTo>
                  <a:pt x="3111048" y="4086287"/>
                </a:lnTo>
                <a:lnTo>
                  <a:pt x="3107029" y="4082248"/>
                </a:lnTo>
                <a:lnTo>
                  <a:pt x="3107029" y="4072377"/>
                </a:lnTo>
                <a:close/>
                <a:moveTo>
                  <a:pt x="2871737" y="4068339"/>
                </a:moveTo>
                <a:lnTo>
                  <a:pt x="2881646" y="4068339"/>
                </a:lnTo>
                <a:lnTo>
                  <a:pt x="2885666" y="4072377"/>
                </a:lnTo>
                <a:lnTo>
                  <a:pt x="2885666" y="4082248"/>
                </a:lnTo>
                <a:lnTo>
                  <a:pt x="2881646" y="4086287"/>
                </a:lnTo>
                <a:lnTo>
                  <a:pt x="2871737" y="4086287"/>
                </a:lnTo>
                <a:lnTo>
                  <a:pt x="2867717" y="4082248"/>
                </a:lnTo>
                <a:lnTo>
                  <a:pt x="2867717" y="4072377"/>
                </a:lnTo>
                <a:close/>
                <a:moveTo>
                  <a:pt x="2632423" y="4068339"/>
                </a:moveTo>
                <a:lnTo>
                  <a:pt x="2642334" y="4068339"/>
                </a:lnTo>
                <a:lnTo>
                  <a:pt x="2646352" y="4072377"/>
                </a:lnTo>
                <a:lnTo>
                  <a:pt x="2646352" y="4082248"/>
                </a:lnTo>
                <a:lnTo>
                  <a:pt x="2642334" y="4086287"/>
                </a:lnTo>
                <a:lnTo>
                  <a:pt x="2632423" y="4086287"/>
                </a:lnTo>
                <a:lnTo>
                  <a:pt x="2628404" y="4082248"/>
                </a:lnTo>
                <a:lnTo>
                  <a:pt x="2628404" y="4072377"/>
                </a:lnTo>
                <a:close/>
                <a:moveTo>
                  <a:pt x="2393104" y="4068339"/>
                </a:moveTo>
                <a:lnTo>
                  <a:pt x="2403015" y="4068339"/>
                </a:lnTo>
                <a:lnTo>
                  <a:pt x="2407034" y="4072377"/>
                </a:lnTo>
                <a:lnTo>
                  <a:pt x="2407034" y="4082248"/>
                </a:lnTo>
                <a:lnTo>
                  <a:pt x="2403015" y="4086287"/>
                </a:lnTo>
                <a:lnTo>
                  <a:pt x="2393104" y="4086287"/>
                </a:lnTo>
                <a:lnTo>
                  <a:pt x="2389087" y="4082248"/>
                </a:lnTo>
                <a:lnTo>
                  <a:pt x="2389087" y="4072377"/>
                </a:lnTo>
                <a:close/>
                <a:moveTo>
                  <a:pt x="2157819" y="4068339"/>
                </a:moveTo>
                <a:lnTo>
                  <a:pt x="2167729" y="4068339"/>
                </a:lnTo>
                <a:lnTo>
                  <a:pt x="2171749" y="4072377"/>
                </a:lnTo>
                <a:lnTo>
                  <a:pt x="2171749" y="4082248"/>
                </a:lnTo>
                <a:lnTo>
                  <a:pt x="2167729" y="4086287"/>
                </a:lnTo>
                <a:lnTo>
                  <a:pt x="2157819" y="4086287"/>
                </a:lnTo>
                <a:lnTo>
                  <a:pt x="2153801" y="4082248"/>
                </a:lnTo>
                <a:lnTo>
                  <a:pt x="2153801" y="4072377"/>
                </a:lnTo>
                <a:close/>
                <a:moveTo>
                  <a:pt x="1918511" y="4068339"/>
                </a:moveTo>
                <a:lnTo>
                  <a:pt x="1928421" y="4068339"/>
                </a:lnTo>
                <a:lnTo>
                  <a:pt x="1932440" y="4072377"/>
                </a:lnTo>
                <a:lnTo>
                  <a:pt x="1932440" y="4082248"/>
                </a:lnTo>
                <a:lnTo>
                  <a:pt x="1928421" y="4086287"/>
                </a:lnTo>
                <a:lnTo>
                  <a:pt x="1918511" y="4086287"/>
                </a:lnTo>
                <a:lnTo>
                  <a:pt x="1914492" y="4082248"/>
                </a:lnTo>
                <a:lnTo>
                  <a:pt x="1914492" y="4072377"/>
                </a:lnTo>
                <a:close/>
                <a:moveTo>
                  <a:pt x="1679207" y="4068339"/>
                </a:moveTo>
                <a:lnTo>
                  <a:pt x="1689117" y="4068339"/>
                </a:lnTo>
                <a:lnTo>
                  <a:pt x="1693137" y="4072377"/>
                </a:lnTo>
                <a:lnTo>
                  <a:pt x="1693137" y="4082248"/>
                </a:lnTo>
                <a:lnTo>
                  <a:pt x="1689117" y="4086287"/>
                </a:lnTo>
                <a:lnTo>
                  <a:pt x="1679207" y="4086287"/>
                </a:lnTo>
                <a:lnTo>
                  <a:pt x="1675189" y="4082248"/>
                </a:lnTo>
                <a:lnTo>
                  <a:pt x="1675189" y="4072377"/>
                </a:lnTo>
                <a:close/>
                <a:moveTo>
                  <a:pt x="1439891" y="4068339"/>
                </a:moveTo>
                <a:lnTo>
                  <a:pt x="1449802" y="4068339"/>
                </a:lnTo>
                <a:lnTo>
                  <a:pt x="1453820" y="4072377"/>
                </a:lnTo>
                <a:lnTo>
                  <a:pt x="1453820" y="4082248"/>
                </a:lnTo>
                <a:lnTo>
                  <a:pt x="1449802" y="4086287"/>
                </a:lnTo>
                <a:lnTo>
                  <a:pt x="1439891" y="4086287"/>
                </a:lnTo>
                <a:lnTo>
                  <a:pt x="1435873" y="4082248"/>
                </a:lnTo>
                <a:lnTo>
                  <a:pt x="1435873" y="4072377"/>
                </a:lnTo>
                <a:close/>
                <a:moveTo>
                  <a:pt x="1200576" y="4068339"/>
                </a:moveTo>
                <a:lnTo>
                  <a:pt x="1210486" y="4068339"/>
                </a:lnTo>
                <a:lnTo>
                  <a:pt x="1214505" y="4072377"/>
                </a:lnTo>
                <a:lnTo>
                  <a:pt x="1214505" y="4082248"/>
                </a:lnTo>
                <a:lnTo>
                  <a:pt x="1210486" y="4086287"/>
                </a:lnTo>
                <a:lnTo>
                  <a:pt x="1200576" y="4086287"/>
                </a:lnTo>
                <a:lnTo>
                  <a:pt x="1196558" y="4082248"/>
                </a:lnTo>
                <a:lnTo>
                  <a:pt x="1196558" y="4072377"/>
                </a:lnTo>
                <a:close/>
                <a:moveTo>
                  <a:pt x="961263" y="4068339"/>
                </a:moveTo>
                <a:lnTo>
                  <a:pt x="971174" y="4068339"/>
                </a:lnTo>
                <a:lnTo>
                  <a:pt x="975192" y="4072377"/>
                </a:lnTo>
                <a:lnTo>
                  <a:pt x="975192" y="4082248"/>
                </a:lnTo>
                <a:lnTo>
                  <a:pt x="971174" y="4086287"/>
                </a:lnTo>
                <a:lnTo>
                  <a:pt x="961263" y="4086287"/>
                </a:lnTo>
                <a:lnTo>
                  <a:pt x="957244" y="4082248"/>
                </a:lnTo>
                <a:lnTo>
                  <a:pt x="957244" y="4072377"/>
                </a:lnTo>
                <a:close/>
                <a:moveTo>
                  <a:pt x="721965" y="4068339"/>
                </a:moveTo>
                <a:lnTo>
                  <a:pt x="731876" y="4068339"/>
                </a:lnTo>
                <a:lnTo>
                  <a:pt x="735894" y="4072377"/>
                </a:lnTo>
                <a:lnTo>
                  <a:pt x="735894" y="4082248"/>
                </a:lnTo>
                <a:lnTo>
                  <a:pt x="731876" y="4086287"/>
                </a:lnTo>
                <a:lnTo>
                  <a:pt x="721965" y="4086287"/>
                </a:lnTo>
                <a:lnTo>
                  <a:pt x="717946" y="4082248"/>
                </a:lnTo>
                <a:lnTo>
                  <a:pt x="717946" y="4072377"/>
                </a:lnTo>
                <a:close/>
                <a:moveTo>
                  <a:pt x="482653" y="4068339"/>
                </a:moveTo>
                <a:lnTo>
                  <a:pt x="492563" y="4068339"/>
                </a:lnTo>
                <a:lnTo>
                  <a:pt x="496583" y="4072377"/>
                </a:lnTo>
                <a:lnTo>
                  <a:pt x="496583" y="4082248"/>
                </a:lnTo>
                <a:lnTo>
                  <a:pt x="492563" y="4086287"/>
                </a:lnTo>
                <a:lnTo>
                  <a:pt x="482653" y="4086287"/>
                </a:lnTo>
                <a:lnTo>
                  <a:pt x="478634" y="4082248"/>
                </a:lnTo>
                <a:lnTo>
                  <a:pt x="478634" y="4072377"/>
                </a:lnTo>
                <a:close/>
                <a:moveTo>
                  <a:pt x="243339" y="4068339"/>
                </a:moveTo>
                <a:lnTo>
                  <a:pt x="253250" y="4068339"/>
                </a:lnTo>
                <a:lnTo>
                  <a:pt x="257269" y="4072377"/>
                </a:lnTo>
                <a:lnTo>
                  <a:pt x="257269" y="4082248"/>
                </a:lnTo>
                <a:lnTo>
                  <a:pt x="253250" y="4086287"/>
                </a:lnTo>
                <a:lnTo>
                  <a:pt x="243339" y="4086287"/>
                </a:lnTo>
                <a:lnTo>
                  <a:pt x="239320" y="4082248"/>
                </a:lnTo>
                <a:lnTo>
                  <a:pt x="239320" y="4072377"/>
                </a:lnTo>
                <a:close/>
                <a:moveTo>
                  <a:pt x="4026" y="4068339"/>
                </a:moveTo>
                <a:lnTo>
                  <a:pt x="13936" y="4068339"/>
                </a:lnTo>
                <a:lnTo>
                  <a:pt x="17956" y="4072377"/>
                </a:lnTo>
                <a:lnTo>
                  <a:pt x="17956" y="4082248"/>
                </a:lnTo>
                <a:lnTo>
                  <a:pt x="13936" y="4086287"/>
                </a:lnTo>
                <a:lnTo>
                  <a:pt x="4026" y="4086287"/>
                </a:lnTo>
                <a:lnTo>
                  <a:pt x="7" y="4082248"/>
                </a:lnTo>
                <a:lnTo>
                  <a:pt x="7" y="4072377"/>
                </a:lnTo>
                <a:close/>
                <a:moveTo>
                  <a:pt x="2157820" y="3829058"/>
                </a:moveTo>
                <a:lnTo>
                  <a:pt x="2167731" y="3829058"/>
                </a:lnTo>
                <a:lnTo>
                  <a:pt x="2171749" y="3833097"/>
                </a:lnTo>
                <a:lnTo>
                  <a:pt x="2171749" y="3842968"/>
                </a:lnTo>
                <a:lnTo>
                  <a:pt x="2167731" y="3847007"/>
                </a:lnTo>
                <a:lnTo>
                  <a:pt x="2157820" y="3847007"/>
                </a:lnTo>
                <a:lnTo>
                  <a:pt x="2153801" y="3842968"/>
                </a:lnTo>
                <a:lnTo>
                  <a:pt x="2153801" y="3833097"/>
                </a:lnTo>
                <a:close/>
                <a:moveTo>
                  <a:pt x="1918511" y="3829058"/>
                </a:moveTo>
                <a:lnTo>
                  <a:pt x="1928421" y="3829058"/>
                </a:lnTo>
                <a:lnTo>
                  <a:pt x="1932440" y="3833097"/>
                </a:lnTo>
                <a:lnTo>
                  <a:pt x="1932440" y="3842968"/>
                </a:lnTo>
                <a:lnTo>
                  <a:pt x="1928421" y="3847007"/>
                </a:lnTo>
                <a:lnTo>
                  <a:pt x="1918511" y="3847007"/>
                </a:lnTo>
                <a:lnTo>
                  <a:pt x="1914493" y="3842968"/>
                </a:lnTo>
                <a:lnTo>
                  <a:pt x="1914493" y="3833097"/>
                </a:lnTo>
                <a:close/>
                <a:moveTo>
                  <a:pt x="1679209" y="3829058"/>
                </a:moveTo>
                <a:lnTo>
                  <a:pt x="1689118" y="3829058"/>
                </a:lnTo>
                <a:lnTo>
                  <a:pt x="1693137" y="3833097"/>
                </a:lnTo>
                <a:lnTo>
                  <a:pt x="1693137" y="3842968"/>
                </a:lnTo>
                <a:lnTo>
                  <a:pt x="1689118" y="3847007"/>
                </a:lnTo>
                <a:lnTo>
                  <a:pt x="1679209" y="3847007"/>
                </a:lnTo>
                <a:lnTo>
                  <a:pt x="1675189" y="3842968"/>
                </a:lnTo>
                <a:lnTo>
                  <a:pt x="1675189" y="3833097"/>
                </a:lnTo>
                <a:close/>
                <a:moveTo>
                  <a:pt x="1439892" y="3829058"/>
                </a:moveTo>
                <a:lnTo>
                  <a:pt x="1449802" y="3829058"/>
                </a:lnTo>
                <a:lnTo>
                  <a:pt x="1453820" y="3833097"/>
                </a:lnTo>
                <a:lnTo>
                  <a:pt x="1453820" y="3842968"/>
                </a:lnTo>
                <a:lnTo>
                  <a:pt x="1449802" y="3847007"/>
                </a:lnTo>
                <a:lnTo>
                  <a:pt x="1439892" y="3847007"/>
                </a:lnTo>
                <a:lnTo>
                  <a:pt x="1435874" y="3842968"/>
                </a:lnTo>
                <a:lnTo>
                  <a:pt x="1435874" y="3833097"/>
                </a:lnTo>
                <a:close/>
                <a:moveTo>
                  <a:pt x="1200577" y="3829058"/>
                </a:moveTo>
                <a:lnTo>
                  <a:pt x="1210487" y="3829058"/>
                </a:lnTo>
                <a:lnTo>
                  <a:pt x="1214506" y="3833097"/>
                </a:lnTo>
                <a:lnTo>
                  <a:pt x="1214506" y="3842968"/>
                </a:lnTo>
                <a:lnTo>
                  <a:pt x="1210487" y="3847007"/>
                </a:lnTo>
                <a:lnTo>
                  <a:pt x="1200577" y="3847007"/>
                </a:lnTo>
                <a:lnTo>
                  <a:pt x="1196558" y="3842968"/>
                </a:lnTo>
                <a:lnTo>
                  <a:pt x="1196558" y="3833097"/>
                </a:lnTo>
                <a:close/>
                <a:moveTo>
                  <a:pt x="961264" y="3829058"/>
                </a:moveTo>
                <a:lnTo>
                  <a:pt x="971174" y="3829058"/>
                </a:lnTo>
                <a:lnTo>
                  <a:pt x="975193" y="3833097"/>
                </a:lnTo>
                <a:lnTo>
                  <a:pt x="975193" y="3842968"/>
                </a:lnTo>
                <a:lnTo>
                  <a:pt x="971174" y="3847007"/>
                </a:lnTo>
                <a:lnTo>
                  <a:pt x="961264" y="3847007"/>
                </a:lnTo>
                <a:lnTo>
                  <a:pt x="957245" y="3842968"/>
                </a:lnTo>
                <a:lnTo>
                  <a:pt x="957245" y="3833097"/>
                </a:lnTo>
                <a:close/>
                <a:moveTo>
                  <a:pt x="9572438" y="3829008"/>
                </a:moveTo>
                <a:lnTo>
                  <a:pt x="9582349" y="3829008"/>
                </a:lnTo>
                <a:lnTo>
                  <a:pt x="9586368" y="3833046"/>
                </a:lnTo>
                <a:lnTo>
                  <a:pt x="9586368" y="3842917"/>
                </a:lnTo>
                <a:lnTo>
                  <a:pt x="9582349" y="3846956"/>
                </a:lnTo>
                <a:lnTo>
                  <a:pt x="9572438" y="3846956"/>
                </a:lnTo>
                <a:lnTo>
                  <a:pt x="9568419" y="3842917"/>
                </a:lnTo>
                <a:lnTo>
                  <a:pt x="9568419" y="3833046"/>
                </a:lnTo>
                <a:close/>
                <a:moveTo>
                  <a:pt x="9333125" y="3829008"/>
                </a:moveTo>
                <a:lnTo>
                  <a:pt x="9343036" y="3829008"/>
                </a:lnTo>
                <a:lnTo>
                  <a:pt x="9347055" y="3833046"/>
                </a:lnTo>
                <a:lnTo>
                  <a:pt x="9347055" y="3842917"/>
                </a:lnTo>
                <a:lnTo>
                  <a:pt x="9343036" y="3846956"/>
                </a:lnTo>
                <a:lnTo>
                  <a:pt x="9333125" y="3846956"/>
                </a:lnTo>
                <a:lnTo>
                  <a:pt x="9329106" y="3842917"/>
                </a:lnTo>
                <a:lnTo>
                  <a:pt x="9329106" y="3833046"/>
                </a:lnTo>
                <a:close/>
                <a:moveTo>
                  <a:pt x="9093811" y="3829008"/>
                </a:moveTo>
                <a:lnTo>
                  <a:pt x="9103722" y="3829008"/>
                </a:lnTo>
                <a:lnTo>
                  <a:pt x="9107741" y="3833046"/>
                </a:lnTo>
                <a:lnTo>
                  <a:pt x="9107741" y="3842917"/>
                </a:lnTo>
                <a:lnTo>
                  <a:pt x="9103722" y="3846956"/>
                </a:lnTo>
                <a:lnTo>
                  <a:pt x="9093811" y="3846956"/>
                </a:lnTo>
                <a:lnTo>
                  <a:pt x="9089792" y="3842917"/>
                </a:lnTo>
                <a:lnTo>
                  <a:pt x="9089792" y="3833046"/>
                </a:lnTo>
                <a:close/>
                <a:moveTo>
                  <a:pt x="8854496" y="3829008"/>
                </a:moveTo>
                <a:lnTo>
                  <a:pt x="8864407" y="3829008"/>
                </a:lnTo>
                <a:lnTo>
                  <a:pt x="8868426" y="3833046"/>
                </a:lnTo>
                <a:lnTo>
                  <a:pt x="8868426" y="3842917"/>
                </a:lnTo>
                <a:lnTo>
                  <a:pt x="8864407" y="3846956"/>
                </a:lnTo>
                <a:lnTo>
                  <a:pt x="8854496" y="3846956"/>
                </a:lnTo>
                <a:lnTo>
                  <a:pt x="8850477" y="3842917"/>
                </a:lnTo>
                <a:lnTo>
                  <a:pt x="8850477" y="3833046"/>
                </a:lnTo>
                <a:close/>
                <a:moveTo>
                  <a:pt x="8615184" y="3829008"/>
                </a:moveTo>
                <a:lnTo>
                  <a:pt x="8625095" y="3829008"/>
                </a:lnTo>
                <a:lnTo>
                  <a:pt x="8629114" y="3833046"/>
                </a:lnTo>
                <a:lnTo>
                  <a:pt x="8629114" y="3842917"/>
                </a:lnTo>
                <a:lnTo>
                  <a:pt x="8625095" y="3846956"/>
                </a:lnTo>
                <a:lnTo>
                  <a:pt x="8615184" y="3846956"/>
                </a:lnTo>
                <a:lnTo>
                  <a:pt x="8611165" y="3842917"/>
                </a:lnTo>
                <a:lnTo>
                  <a:pt x="8611165" y="3833046"/>
                </a:lnTo>
                <a:close/>
                <a:moveTo>
                  <a:pt x="8375869" y="3829008"/>
                </a:moveTo>
                <a:lnTo>
                  <a:pt x="8385779" y="3829008"/>
                </a:lnTo>
                <a:lnTo>
                  <a:pt x="8389799" y="3833046"/>
                </a:lnTo>
                <a:lnTo>
                  <a:pt x="8389799" y="3842917"/>
                </a:lnTo>
                <a:lnTo>
                  <a:pt x="8385779" y="3846956"/>
                </a:lnTo>
                <a:lnTo>
                  <a:pt x="8375869" y="3846956"/>
                </a:lnTo>
                <a:lnTo>
                  <a:pt x="8371850" y="3842917"/>
                </a:lnTo>
                <a:lnTo>
                  <a:pt x="8371850" y="3833046"/>
                </a:lnTo>
                <a:close/>
                <a:moveTo>
                  <a:pt x="8136553" y="3829008"/>
                </a:moveTo>
                <a:lnTo>
                  <a:pt x="8146464" y="3829008"/>
                </a:lnTo>
                <a:lnTo>
                  <a:pt x="8150483" y="3833046"/>
                </a:lnTo>
                <a:lnTo>
                  <a:pt x="8150483" y="3842917"/>
                </a:lnTo>
                <a:lnTo>
                  <a:pt x="8146464" y="3846956"/>
                </a:lnTo>
                <a:lnTo>
                  <a:pt x="8136553" y="3846956"/>
                </a:lnTo>
                <a:lnTo>
                  <a:pt x="8132534" y="3842917"/>
                </a:lnTo>
                <a:lnTo>
                  <a:pt x="8132534" y="3833046"/>
                </a:lnTo>
                <a:close/>
                <a:moveTo>
                  <a:pt x="7897241" y="3829008"/>
                </a:moveTo>
                <a:lnTo>
                  <a:pt x="7907151" y="3829008"/>
                </a:lnTo>
                <a:lnTo>
                  <a:pt x="7911170" y="3833046"/>
                </a:lnTo>
                <a:lnTo>
                  <a:pt x="7911170" y="3842917"/>
                </a:lnTo>
                <a:lnTo>
                  <a:pt x="7907151" y="3846956"/>
                </a:lnTo>
                <a:lnTo>
                  <a:pt x="7897241" y="3846956"/>
                </a:lnTo>
                <a:lnTo>
                  <a:pt x="7893222" y="3842917"/>
                </a:lnTo>
                <a:lnTo>
                  <a:pt x="7893222" y="3833046"/>
                </a:lnTo>
                <a:close/>
                <a:moveTo>
                  <a:pt x="7657926" y="3829008"/>
                </a:moveTo>
                <a:lnTo>
                  <a:pt x="7667836" y="3829008"/>
                </a:lnTo>
                <a:lnTo>
                  <a:pt x="7671855" y="3833046"/>
                </a:lnTo>
                <a:lnTo>
                  <a:pt x="7671855" y="3842917"/>
                </a:lnTo>
                <a:lnTo>
                  <a:pt x="7667836" y="3846956"/>
                </a:lnTo>
                <a:lnTo>
                  <a:pt x="7657926" y="3846956"/>
                </a:lnTo>
                <a:lnTo>
                  <a:pt x="7653906" y="3842917"/>
                </a:lnTo>
                <a:lnTo>
                  <a:pt x="7653906" y="3833046"/>
                </a:lnTo>
                <a:close/>
                <a:moveTo>
                  <a:pt x="7418611" y="3829008"/>
                </a:moveTo>
                <a:lnTo>
                  <a:pt x="7428521" y="3829008"/>
                </a:lnTo>
                <a:lnTo>
                  <a:pt x="7432540" y="3833046"/>
                </a:lnTo>
                <a:lnTo>
                  <a:pt x="7432540" y="3842917"/>
                </a:lnTo>
                <a:lnTo>
                  <a:pt x="7428521" y="3846956"/>
                </a:lnTo>
                <a:lnTo>
                  <a:pt x="7418611" y="3846956"/>
                </a:lnTo>
                <a:lnTo>
                  <a:pt x="7414592" y="3842917"/>
                </a:lnTo>
                <a:lnTo>
                  <a:pt x="7414592" y="3833046"/>
                </a:lnTo>
                <a:close/>
                <a:moveTo>
                  <a:pt x="7179298" y="3829008"/>
                </a:moveTo>
                <a:lnTo>
                  <a:pt x="7189209" y="3829008"/>
                </a:lnTo>
                <a:lnTo>
                  <a:pt x="7193228" y="3833046"/>
                </a:lnTo>
                <a:lnTo>
                  <a:pt x="7193228" y="3842917"/>
                </a:lnTo>
                <a:lnTo>
                  <a:pt x="7189209" y="3846956"/>
                </a:lnTo>
                <a:lnTo>
                  <a:pt x="7179298" y="3846956"/>
                </a:lnTo>
                <a:lnTo>
                  <a:pt x="7175279" y="3842917"/>
                </a:lnTo>
                <a:lnTo>
                  <a:pt x="7175279" y="3833046"/>
                </a:lnTo>
                <a:close/>
                <a:moveTo>
                  <a:pt x="6939983" y="3829008"/>
                </a:moveTo>
                <a:lnTo>
                  <a:pt x="6949894" y="3829008"/>
                </a:lnTo>
                <a:lnTo>
                  <a:pt x="6953913" y="3833046"/>
                </a:lnTo>
                <a:lnTo>
                  <a:pt x="6953913" y="3842917"/>
                </a:lnTo>
                <a:lnTo>
                  <a:pt x="6949894" y="3846956"/>
                </a:lnTo>
                <a:lnTo>
                  <a:pt x="6939983" y="3846956"/>
                </a:lnTo>
                <a:lnTo>
                  <a:pt x="6935964" y="3842917"/>
                </a:lnTo>
                <a:lnTo>
                  <a:pt x="6935964" y="3833046"/>
                </a:lnTo>
                <a:close/>
                <a:moveTo>
                  <a:pt x="6700670" y="3829008"/>
                </a:moveTo>
                <a:lnTo>
                  <a:pt x="6710581" y="3829008"/>
                </a:lnTo>
                <a:lnTo>
                  <a:pt x="6714600" y="3833046"/>
                </a:lnTo>
                <a:lnTo>
                  <a:pt x="6714600" y="3842917"/>
                </a:lnTo>
                <a:lnTo>
                  <a:pt x="6710581" y="3846956"/>
                </a:lnTo>
                <a:lnTo>
                  <a:pt x="6700670" y="3846956"/>
                </a:lnTo>
                <a:lnTo>
                  <a:pt x="6696651" y="3842917"/>
                </a:lnTo>
                <a:lnTo>
                  <a:pt x="6696651" y="3833046"/>
                </a:lnTo>
                <a:close/>
                <a:moveTo>
                  <a:pt x="6461356" y="3829008"/>
                </a:moveTo>
                <a:lnTo>
                  <a:pt x="6471266" y="3829008"/>
                </a:lnTo>
                <a:lnTo>
                  <a:pt x="6475285" y="3833046"/>
                </a:lnTo>
                <a:lnTo>
                  <a:pt x="6475285" y="3842917"/>
                </a:lnTo>
                <a:lnTo>
                  <a:pt x="6471266" y="3846956"/>
                </a:lnTo>
                <a:lnTo>
                  <a:pt x="6461356" y="3846956"/>
                </a:lnTo>
                <a:lnTo>
                  <a:pt x="6457337" y="3842917"/>
                </a:lnTo>
                <a:lnTo>
                  <a:pt x="6457337" y="3833046"/>
                </a:lnTo>
                <a:close/>
                <a:moveTo>
                  <a:pt x="6222042" y="3829008"/>
                </a:moveTo>
                <a:lnTo>
                  <a:pt x="6231952" y="3829008"/>
                </a:lnTo>
                <a:lnTo>
                  <a:pt x="6235971" y="3833046"/>
                </a:lnTo>
                <a:lnTo>
                  <a:pt x="6235971" y="3842917"/>
                </a:lnTo>
                <a:lnTo>
                  <a:pt x="6231952" y="3846956"/>
                </a:lnTo>
                <a:lnTo>
                  <a:pt x="6222042" y="3846956"/>
                </a:lnTo>
                <a:lnTo>
                  <a:pt x="6218023" y="3842917"/>
                </a:lnTo>
                <a:lnTo>
                  <a:pt x="6218023" y="3833046"/>
                </a:lnTo>
                <a:close/>
                <a:moveTo>
                  <a:pt x="5982729" y="3829008"/>
                </a:moveTo>
                <a:lnTo>
                  <a:pt x="5992639" y="3829008"/>
                </a:lnTo>
                <a:lnTo>
                  <a:pt x="5996658" y="3833046"/>
                </a:lnTo>
                <a:lnTo>
                  <a:pt x="5996658" y="3842917"/>
                </a:lnTo>
                <a:lnTo>
                  <a:pt x="5992639" y="3846956"/>
                </a:lnTo>
                <a:lnTo>
                  <a:pt x="5982729" y="3846956"/>
                </a:lnTo>
                <a:lnTo>
                  <a:pt x="5978710" y="3842917"/>
                </a:lnTo>
                <a:lnTo>
                  <a:pt x="5978710" y="3833046"/>
                </a:lnTo>
                <a:close/>
                <a:moveTo>
                  <a:pt x="5743412" y="3829008"/>
                </a:moveTo>
                <a:lnTo>
                  <a:pt x="5753323" y="3829008"/>
                </a:lnTo>
                <a:lnTo>
                  <a:pt x="5757342" y="3833046"/>
                </a:lnTo>
                <a:lnTo>
                  <a:pt x="5757342" y="3842917"/>
                </a:lnTo>
                <a:lnTo>
                  <a:pt x="5753323" y="3846956"/>
                </a:lnTo>
                <a:lnTo>
                  <a:pt x="5743412" y="3846956"/>
                </a:lnTo>
                <a:lnTo>
                  <a:pt x="5739393" y="3842917"/>
                </a:lnTo>
                <a:lnTo>
                  <a:pt x="5739393" y="3833046"/>
                </a:lnTo>
                <a:close/>
                <a:moveTo>
                  <a:pt x="5504099" y="3829008"/>
                </a:moveTo>
                <a:lnTo>
                  <a:pt x="5514010" y="3829008"/>
                </a:lnTo>
                <a:lnTo>
                  <a:pt x="5518029" y="3833046"/>
                </a:lnTo>
                <a:lnTo>
                  <a:pt x="5518029" y="3842917"/>
                </a:lnTo>
                <a:lnTo>
                  <a:pt x="5514010" y="3846956"/>
                </a:lnTo>
                <a:lnTo>
                  <a:pt x="5504099" y="3846956"/>
                </a:lnTo>
                <a:lnTo>
                  <a:pt x="5500080" y="3842917"/>
                </a:lnTo>
                <a:lnTo>
                  <a:pt x="5500080" y="3833046"/>
                </a:lnTo>
                <a:close/>
                <a:moveTo>
                  <a:pt x="5264784" y="3829008"/>
                </a:moveTo>
                <a:lnTo>
                  <a:pt x="5274694" y="3829008"/>
                </a:lnTo>
                <a:lnTo>
                  <a:pt x="5278713" y="3833046"/>
                </a:lnTo>
                <a:lnTo>
                  <a:pt x="5278713" y="3842917"/>
                </a:lnTo>
                <a:lnTo>
                  <a:pt x="5274694" y="3846956"/>
                </a:lnTo>
                <a:lnTo>
                  <a:pt x="5264784" y="3846956"/>
                </a:lnTo>
                <a:lnTo>
                  <a:pt x="5260765" y="3842917"/>
                </a:lnTo>
                <a:lnTo>
                  <a:pt x="5260765" y="3833046"/>
                </a:lnTo>
                <a:close/>
                <a:moveTo>
                  <a:pt x="5025470" y="3829008"/>
                </a:moveTo>
                <a:lnTo>
                  <a:pt x="5035381" y="3829008"/>
                </a:lnTo>
                <a:lnTo>
                  <a:pt x="5039400" y="3833046"/>
                </a:lnTo>
                <a:lnTo>
                  <a:pt x="5039400" y="3842917"/>
                </a:lnTo>
                <a:lnTo>
                  <a:pt x="5035381" y="3846956"/>
                </a:lnTo>
                <a:lnTo>
                  <a:pt x="5025470" y="3846956"/>
                </a:lnTo>
                <a:lnTo>
                  <a:pt x="5021451" y="3842917"/>
                </a:lnTo>
                <a:lnTo>
                  <a:pt x="5021451" y="3833046"/>
                </a:lnTo>
                <a:close/>
                <a:moveTo>
                  <a:pt x="4786241" y="3829008"/>
                </a:moveTo>
                <a:lnTo>
                  <a:pt x="4796152" y="3829008"/>
                </a:lnTo>
                <a:lnTo>
                  <a:pt x="4800171" y="3833046"/>
                </a:lnTo>
                <a:lnTo>
                  <a:pt x="4800171" y="3842917"/>
                </a:lnTo>
                <a:lnTo>
                  <a:pt x="4796152" y="3846956"/>
                </a:lnTo>
                <a:lnTo>
                  <a:pt x="4786241" y="3846956"/>
                </a:lnTo>
                <a:lnTo>
                  <a:pt x="4782224" y="3842917"/>
                </a:lnTo>
                <a:lnTo>
                  <a:pt x="4782224" y="3833046"/>
                </a:lnTo>
                <a:close/>
                <a:moveTo>
                  <a:pt x="4546929" y="3829008"/>
                </a:moveTo>
                <a:lnTo>
                  <a:pt x="4556840" y="3829008"/>
                </a:lnTo>
                <a:lnTo>
                  <a:pt x="4560859" y="3833046"/>
                </a:lnTo>
                <a:lnTo>
                  <a:pt x="4560859" y="3842917"/>
                </a:lnTo>
                <a:lnTo>
                  <a:pt x="4556840" y="3846956"/>
                </a:lnTo>
                <a:lnTo>
                  <a:pt x="4546929" y="3846956"/>
                </a:lnTo>
                <a:lnTo>
                  <a:pt x="4542910" y="3842917"/>
                </a:lnTo>
                <a:lnTo>
                  <a:pt x="4542910" y="3833046"/>
                </a:lnTo>
                <a:close/>
                <a:moveTo>
                  <a:pt x="4307612" y="3829008"/>
                </a:moveTo>
                <a:lnTo>
                  <a:pt x="4317523" y="3829008"/>
                </a:lnTo>
                <a:lnTo>
                  <a:pt x="4321543" y="3833046"/>
                </a:lnTo>
                <a:lnTo>
                  <a:pt x="4321543" y="3842917"/>
                </a:lnTo>
                <a:lnTo>
                  <a:pt x="4317523" y="3846956"/>
                </a:lnTo>
                <a:lnTo>
                  <a:pt x="4307612" y="3846956"/>
                </a:lnTo>
                <a:lnTo>
                  <a:pt x="4303595" y="3842917"/>
                </a:lnTo>
                <a:lnTo>
                  <a:pt x="4303595" y="3833046"/>
                </a:lnTo>
                <a:close/>
                <a:moveTo>
                  <a:pt x="4068297" y="3829008"/>
                </a:moveTo>
                <a:lnTo>
                  <a:pt x="4078210" y="3829008"/>
                </a:lnTo>
                <a:lnTo>
                  <a:pt x="4082229" y="3833046"/>
                </a:lnTo>
                <a:lnTo>
                  <a:pt x="4082229" y="3842917"/>
                </a:lnTo>
                <a:lnTo>
                  <a:pt x="4078210" y="3846956"/>
                </a:lnTo>
                <a:lnTo>
                  <a:pt x="4068297" y="3846956"/>
                </a:lnTo>
                <a:lnTo>
                  <a:pt x="4064278" y="3842917"/>
                </a:lnTo>
                <a:lnTo>
                  <a:pt x="4064278" y="3833046"/>
                </a:lnTo>
                <a:close/>
                <a:moveTo>
                  <a:pt x="3828990" y="3829008"/>
                </a:moveTo>
                <a:lnTo>
                  <a:pt x="3838899" y="3829008"/>
                </a:lnTo>
                <a:lnTo>
                  <a:pt x="3842917" y="3833046"/>
                </a:lnTo>
                <a:lnTo>
                  <a:pt x="3842917" y="3842917"/>
                </a:lnTo>
                <a:lnTo>
                  <a:pt x="3838899" y="3846956"/>
                </a:lnTo>
                <a:lnTo>
                  <a:pt x="3828990" y="3846956"/>
                </a:lnTo>
                <a:lnTo>
                  <a:pt x="3824971" y="3842917"/>
                </a:lnTo>
                <a:lnTo>
                  <a:pt x="3824971" y="3833046"/>
                </a:lnTo>
                <a:close/>
                <a:moveTo>
                  <a:pt x="3589676" y="3829008"/>
                </a:moveTo>
                <a:lnTo>
                  <a:pt x="3599585" y="3829008"/>
                </a:lnTo>
                <a:lnTo>
                  <a:pt x="3603604" y="3833046"/>
                </a:lnTo>
                <a:lnTo>
                  <a:pt x="3603604" y="3842917"/>
                </a:lnTo>
                <a:lnTo>
                  <a:pt x="3599585" y="3846956"/>
                </a:lnTo>
                <a:lnTo>
                  <a:pt x="3589676" y="3846956"/>
                </a:lnTo>
                <a:lnTo>
                  <a:pt x="3585657" y="3842917"/>
                </a:lnTo>
                <a:lnTo>
                  <a:pt x="3585657" y="3833046"/>
                </a:lnTo>
                <a:close/>
                <a:moveTo>
                  <a:pt x="3350359" y="3829008"/>
                </a:moveTo>
                <a:lnTo>
                  <a:pt x="3360268" y="3829008"/>
                </a:lnTo>
                <a:lnTo>
                  <a:pt x="3364287" y="3833046"/>
                </a:lnTo>
                <a:lnTo>
                  <a:pt x="3364287" y="3842917"/>
                </a:lnTo>
                <a:lnTo>
                  <a:pt x="3360268" y="3846956"/>
                </a:lnTo>
                <a:lnTo>
                  <a:pt x="3350359" y="3846956"/>
                </a:lnTo>
                <a:lnTo>
                  <a:pt x="3346340" y="3842917"/>
                </a:lnTo>
                <a:lnTo>
                  <a:pt x="3346340" y="3833046"/>
                </a:lnTo>
                <a:close/>
                <a:moveTo>
                  <a:pt x="3111048" y="3829008"/>
                </a:moveTo>
                <a:lnTo>
                  <a:pt x="3120959" y="3829008"/>
                </a:lnTo>
                <a:lnTo>
                  <a:pt x="3124977" y="3833046"/>
                </a:lnTo>
                <a:lnTo>
                  <a:pt x="3124977" y="3842917"/>
                </a:lnTo>
                <a:lnTo>
                  <a:pt x="3120959" y="3846956"/>
                </a:lnTo>
                <a:lnTo>
                  <a:pt x="3111048" y="3846956"/>
                </a:lnTo>
                <a:lnTo>
                  <a:pt x="3107029" y="3842917"/>
                </a:lnTo>
                <a:lnTo>
                  <a:pt x="3107029" y="3833046"/>
                </a:lnTo>
                <a:close/>
                <a:moveTo>
                  <a:pt x="2871737" y="3829008"/>
                </a:moveTo>
                <a:lnTo>
                  <a:pt x="2881646" y="3829008"/>
                </a:lnTo>
                <a:lnTo>
                  <a:pt x="2885666" y="3833046"/>
                </a:lnTo>
                <a:lnTo>
                  <a:pt x="2885666" y="3842917"/>
                </a:lnTo>
                <a:lnTo>
                  <a:pt x="2881646" y="3846956"/>
                </a:lnTo>
                <a:lnTo>
                  <a:pt x="2871737" y="3846956"/>
                </a:lnTo>
                <a:lnTo>
                  <a:pt x="2867717" y="3842917"/>
                </a:lnTo>
                <a:lnTo>
                  <a:pt x="2867717" y="3833046"/>
                </a:lnTo>
                <a:close/>
                <a:moveTo>
                  <a:pt x="2632423" y="3829008"/>
                </a:moveTo>
                <a:lnTo>
                  <a:pt x="2642334" y="3829008"/>
                </a:lnTo>
                <a:lnTo>
                  <a:pt x="2646352" y="3833046"/>
                </a:lnTo>
                <a:lnTo>
                  <a:pt x="2646352" y="3842917"/>
                </a:lnTo>
                <a:lnTo>
                  <a:pt x="2642334" y="3846956"/>
                </a:lnTo>
                <a:lnTo>
                  <a:pt x="2632423" y="3846956"/>
                </a:lnTo>
                <a:lnTo>
                  <a:pt x="2628404" y="3842917"/>
                </a:lnTo>
                <a:lnTo>
                  <a:pt x="2628404" y="3833046"/>
                </a:lnTo>
                <a:close/>
                <a:moveTo>
                  <a:pt x="2393104" y="3829008"/>
                </a:moveTo>
                <a:lnTo>
                  <a:pt x="2403015" y="3829008"/>
                </a:lnTo>
                <a:lnTo>
                  <a:pt x="2407034" y="3833046"/>
                </a:lnTo>
                <a:lnTo>
                  <a:pt x="2407034" y="3842917"/>
                </a:lnTo>
                <a:lnTo>
                  <a:pt x="2403015" y="3846956"/>
                </a:lnTo>
                <a:lnTo>
                  <a:pt x="2393104" y="3846956"/>
                </a:lnTo>
                <a:lnTo>
                  <a:pt x="2389087" y="3842917"/>
                </a:lnTo>
                <a:lnTo>
                  <a:pt x="2389087" y="3833046"/>
                </a:lnTo>
                <a:close/>
                <a:moveTo>
                  <a:pt x="721966" y="3829008"/>
                </a:moveTo>
                <a:lnTo>
                  <a:pt x="731876" y="3829008"/>
                </a:lnTo>
                <a:lnTo>
                  <a:pt x="735895" y="3833046"/>
                </a:lnTo>
                <a:lnTo>
                  <a:pt x="735895" y="3842917"/>
                </a:lnTo>
                <a:lnTo>
                  <a:pt x="731876" y="3846956"/>
                </a:lnTo>
                <a:lnTo>
                  <a:pt x="721966" y="3846956"/>
                </a:lnTo>
                <a:lnTo>
                  <a:pt x="717947" y="3842917"/>
                </a:lnTo>
                <a:lnTo>
                  <a:pt x="717947" y="3833046"/>
                </a:lnTo>
                <a:close/>
                <a:moveTo>
                  <a:pt x="482654" y="3829008"/>
                </a:moveTo>
                <a:lnTo>
                  <a:pt x="492564" y="3829008"/>
                </a:lnTo>
                <a:lnTo>
                  <a:pt x="496583" y="3833046"/>
                </a:lnTo>
                <a:lnTo>
                  <a:pt x="496583" y="3842917"/>
                </a:lnTo>
                <a:lnTo>
                  <a:pt x="492564" y="3846956"/>
                </a:lnTo>
                <a:lnTo>
                  <a:pt x="482654" y="3846956"/>
                </a:lnTo>
                <a:lnTo>
                  <a:pt x="478635" y="3842917"/>
                </a:lnTo>
                <a:lnTo>
                  <a:pt x="478635" y="3833046"/>
                </a:lnTo>
                <a:close/>
                <a:moveTo>
                  <a:pt x="243340" y="3829008"/>
                </a:moveTo>
                <a:lnTo>
                  <a:pt x="253250" y="3829008"/>
                </a:lnTo>
                <a:lnTo>
                  <a:pt x="257269" y="3833046"/>
                </a:lnTo>
                <a:lnTo>
                  <a:pt x="257269" y="3842917"/>
                </a:lnTo>
                <a:lnTo>
                  <a:pt x="253250" y="3846956"/>
                </a:lnTo>
                <a:lnTo>
                  <a:pt x="243340" y="3846956"/>
                </a:lnTo>
                <a:lnTo>
                  <a:pt x="239321" y="3842917"/>
                </a:lnTo>
                <a:lnTo>
                  <a:pt x="239321" y="3833046"/>
                </a:lnTo>
                <a:close/>
                <a:moveTo>
                  <a:pt x="4027" y="3829008"/>
                </a:moveTo>
                <a:lnTo>
                  <a:pt x="13937" y="3829008"/>
                </a:lnTo>
                <a:lnTo>
                  <a:pt x="17956" y="3833046"/>
                </a:lnTo>
                <a:lnTo>
                  <a:pt x="17956" y="3842917"/>
                </a:lnTo>
                <a:lnTo>
                  <a:pt x="13937" y="3846956"/>
                </a:lnTo>
                <a:lnTo>
                  <a:pt x="4027" y="3846956"/>
                </a:lnTo>
                <a:lnTo>
                  <a:pt x="8" y="3842917"/>
                </a:lnTo>
                <a:lnTo>
                  <a:pt x="8" y="3833046"/>
                </a:lnTo>
                <a:close/>
                <a:moveTo>
                  <a:pt x="2157820" y="3589728"/>
                </a:moveTo>
                <a:lnTo>
                  <a:pt x="2167731" y="3589728"/>
                </a:lnTo>
                <a:lnTo>
                  <a:pt x="2171749" y="3593767"/>
                </a:lnTo>
                <a:lnTo>
                  <a:pt x="2171749" y="3603637"/>
                </a:lnTo>
                <a:lnTo>
                  <a:pt x="2167731" y="3607676"/>
                </a:lnTo>
                <a:lnTo>
                  <a:pt x="2157820" y="3607676"/>
                </a:lnTo>
                <a:lnTo>
                  <a:pt x="2153801" y="3603637"/>
                </a:lnTo>
                <a:lnTo>
                  <a:pt x="2153801" y="3593767"/>
                </a:lnTo>
                <a:close/>
                <a:moveTo>
                  <a:pt x="1918511" y="3589728"/>
                </a:moveTo>
                <a:lnTo>
                  <a:pt x="1928421" y="3589728"/>
                </a:lnTo>
                <a:lnTo>
                  <a:pt x="1932441" y="3593767"/>
                </a:lnTo>
                <a:lnTo>
                  <a:pt x="1932441" y="3603637"/>
                </a:lnTo>
                <a:lnTo>
                  <a:pt x="1928421" y="3607676"/>
                </a:lnTo>
                <a:lnTo>
                  <a:pt x="1918511" y="3607676"/>
                </a:lnTo>
                <a:lnTo>
                  <a:pt x="1914493" y="3603637"/>
                </a:lnTo>
                <a:lnTo>
                  <a:pt x="1914493" y="3593767"/>
                </a:lnTo>
                <a:close/>
                <a:moveTo>
                  <a:pt x="1679209" y="3589728"/>
                </a:moveTo>
                <a:lnTo>
                  <a:pt x="1689118" y="3589728"/>
                </a:lnTo>
                <a:lnTo>
                  <a:pt x="1693138" y="3593767"/>
                </a:lnTo>
                <a:lnTo>
                  <a:pt x="1693138" y="3603637"/>
                </a:lnTo>
                <a:lnTo>
                  <a:pt x="1689118" y="3607676"/>
                </a:lnTo>
                <a:lnTo>
                  <a:pt x="1679209" y="3607676"/>
                </a:lnTo>
                <a:lnTo>
                  <a:pt x="1675190" y="3603637"/>
                </a:lnTo>
                <a:lnTo>
                  <a:pt x="1675190" y="3593767"/>
                </a:lnTo>
                <a:close/>
                <a:moveTo>
                  <a:pt x="1439892" y="3589728"/>
                </a:moveTo>
                <a:lnTo>
                  <a:pt x="1449803" y="3589728"/>
                </a:lnTo>
                <a:lnTo>
                  <a:pt x="1453822" y="3593767"/>
                </a:lnTo>
                <a:lnTo>
                  <a:pt x="1453822" y="3603637"/>
                </a:lnTo>
                <a:lnTo>
                  <a:pt x="1449803" y="3607676"/>
                </a:lnTo>
                <a:lnTo>
                  <a:pt x="1439892" y="3607676"/>
                </a:lnTo>
                <a:lnTo>
                  <a:pt x="1435874" y="3603637"/>
                </a:lnTo>
                <a:lnTo>
                  <a:pt x="1435874" y="3593767"/>
                </a:lnTo>
                <a:close/>
                <a:moveTo>
                  <a:pt x="1200577" y="3589728"/>
                </a:moveTo>
                <a:lnTo>
                  <a:pt x="1210488" y="3589728"/>
                </a:lnTo>
                <a:lnTo>
                  <a:pt x="1214506" y="3593767"/>
                </a:lnTo>
                <a:lnTo>
                  <a:pt x="1214506" y="3603637"/>
                </a:lnTo>
                <a:lnTo>
                  <a:pt x="1210488" y="3607676"/>
                </a:lnTo>
                <a:lnTo>
                  <a:pt x="1200577" y="3607676"/>
                </a:lnTo>
                <a:lnTo>
                  <a:pt x="1196559" y="3603637"/>
                </a:lnTo>
                <a:lnTo>
                  <a:pt x="1196559" y="3593767"/>
                </a:lnTo>
                <a:close/>
                <a:moveTo>
                  <a:pt x="961265" y="3589728"/>
                </a:moveTo>
                <a:lnTo>
                  <a:pt x="971175" y="3589728"/>
                </a:lnTo>
                <a:lnTo>
                  <a:pt x="975193" y="3593767"/>
                </a:lnTo>
                <a:lnTo>
                  <a:pt x="975193" y="3603637"/>
                </a:lnTo>
                <a:lnTo>
                  <a:pt x="971175" y="3607676"/>
                </a:lnTo>
                <a:lnTo>
                  <a:pt x="961265" y="3607676"/>
                </a:lnTo>
                <a:lnTo>
                  <a:pt x="957246" y="3603637"/>
                </a:lnTo>
                <a:lnTo>
                  <a:pt x="957246" y="3593767"/>
                </a:lnTo>
                <a:close/>
                <a:moveTo>
                  <a:pt x="9572438" y="3589677"/>
                </a:moveTo>
                <a:lnTo>
                  <a:pt x="9582349" y="3589677"/>
                </a:lnTo>
                <a:lnTo>
                  <a:pt x="9586368" y="3593716"/>
                </a:lnTo>
                <a:lnTo>
                  <a:pt x="9586368" y="3603586"/>
                </a:lnTo>
                <a:lnTo>
                  <a:pt x="9582349" y="3607625"/>
                </a:lnTo>
                <a:lnTo>
                  <a:pt x="9572438" y="3607625"/>
                </a:lnTo>
                <a:lnTo>
                  <a:pt x="9568419" y="3603586"/>
                </a:lnTo>
                <a:lnTo>
                  <a:pt x="9568419" y="3593716"/>
                </a:lnTo>
                <a:close/>
                <a:moveTo>
                  <a:pt x="9333125" y="3589677"/>
                </a:moveTo>
                <a:lnTo>
                  <a:pt x="9343036" y="3589677"/>
                </a:lnTo>
                <a:lnTo>
                  <a:pt x="9347055" y="3593716"/>
                </a:lnTo>
                <a:lnTo>
                  <a:pt x="9347055" y="3603586"/>
                </a:lnTo>
                <a:lnTo>
                  <a:pt x="9343036" y="3607625"/>
                </a:lnTo>
                <a:lnTo>
                  <a:pt x="9333125" y="3607625"/>
                </a:lnTo>
                <a:lnTo>
                  <a:pt x="9329106" y="3603586"/>
                </a:lnTo>
                <a:lnTo>
                  <a:pt x="9329106" y="3593716"/>
                </a:lnTo>
                <a:close/>
                <a:moveTo>
                  <a:pt x="9093811" y="3589677"/>
                </a:moveTo>
                <a:lnTo>
                  <a:pt x="9103722" y="3589677"/>
                </a:lnTo>
                <a:lnTo>
                  <a:pt x="9107741" y="3593716"/>
                </a:lnTo>
                <a:lnTo>
                  <a:pt x="9107741" y="3603586"/>
                </a:lnTo>
                <a:lnTo>
                  <a:pt x="9103722" y="3607625"/>
                </a:lnTo>
                <a:lnTo>
                  <a:pt x="9093811" y="3607625"/>
                </a:lnTo>
                <a:lnTo>
                  <a:pt x="9089792" y="3603586"/>
                </a:lnTo>
                <a:lnTo>
                  <a:pt x="9089792" y="3593716"/>
                </a:lnTo>
                <a:close/>
                <a:moveTo>
                  <a:pt x="8854496" y="3589677"/>
                </a:moveTo>
                <a:lnTo>
                  <a:pt x="8864407" y="3589677"/>
                </a:lnTo>
                <a:lnTo>
                  <a:pt x="8868426" y="3593716"/>
                </a:lnTo>
                <a:lnTo>
                  <a:pt x="8868426" y="3603586"/>
                </a:lnTo>
                <a:lnTo>
                  <a:pt x="8864407" y="3607625"/>
                </a:lnTo>
                <a:lnTo>
                  <a:pt x="8854496" y="3607625"/>
                </a:lnTo>
                <a:lnTo>
                  <a:pt x="8850477" y="3603586"/>
                </a:lnTo>
                <a:lnTo>
                  <a:pt x="8850477" y="3593716"/>
                </a:lnTo>
                <a:close/>
                <a:moveTo>
                  <a:pt x="8615184" y="3589677"/>
                </a:moveTo>
                <a:lnTo>
                  <a:pt x="8625095" y="3589677"/>
                </a:lnTo>
                <a:lnTo>
                  <a:pt x="8629114" y="3593716"/>
                </a:lnTo>
                <a:lnTo>
                  <a:pt x="8629114" y="3603586"/>
                </a:lnTo>
                <a:lnTo>
                  <a:pt x="8625095" y="3607625"/>
                </a:lnTo>
                <a:lnTo>
                  <a:pt x="8615184" y="3607625"/>
                </a:lnTo>
                <a:lnTo>
                  <a:pt x="8611165" y="3603586"/>
                </a:lnTo>
                <a:lnTo>
                  <a:pt x="8611165" y="3593716"/>
                </a:lnTo>
                <a:close/>
                <a:moveTo>
                  <a:pt x="8375869" y="3589677"/>
                </a:moveTo>
                <a:lnTo>
                  <a:pt x="8385779" y="3589677"/>
                </a:lnTo>
                <a:lnTo>
                  <a:pt x="8389799" y="3593716"/>
                </a:lnTo>
                <a:lnTo>
                  <a:pt x="8389799" y="3603586"/>
                </a:lnTo>
                <a:lnTo>
                  <a:pt x="8385779" y="3607625"/>
                </a:lnTo>
                <a:lnTo>
                  <a:pt x="8375869" y="3607625"/>
                </a:lnTo>
                <a:lnTo>
                  <a:pt x="8371850" y="3603586"/>
                </a:lnTo>
                <a:lnTo>
                  <a:pt x="8371850" y="3593716"/>
                </a:lnTo>
                <a:close/>
                <a:moveTo>
                  <a:pt x="8136553" y="3589677"/>
                </a:moveTo>
                <a:lnTo>
                  <a:pt x="8146464" y="3589677"/>
                </a:lnTo>
                <a:lnTo>
                  <a:pt x="8150483" y="3593716"/>
                </a:lnTo>
                <a:lnTo>
                  <a:pt x="8150483" y="3603586"/>
                </a:lnTo>
                <a:lnTo>
                  <a:pt x="8146464" y="3607625"/>
                </a:lnTo>
                <a:lnTo>
                  <a:pt x="8136553" y="3607625"/>
                </a:lnTo>
                <a:lnTo>
                  <a:pt x="8132534" y="3603586"/>
                </a:lnTo>
                <a:lnTo>
                  <a:pt x="8132534" y="3593716"/>
                </a:lnTo>
                <a:close/>
                <a:moveTo>
                  <a:pt x="7897241" y="3589677"/>
                </a:moveTo>
                <a:lnTo>
                  <a:pt x="7907151" y="3589677"/>
                </a:lnTo>
                <a:lnTo>
                  <a:pt x="7911170" y="3593716"/>
                </a:lnTo>
                <a:lnTo>
                  <a:pt x="7911170" y="3603586"/>
                </a:lnTo>
                <a:lnTo>
                  <a:pt x="7907151" y="3607625"/>
                </a:lnTo>
                <a:lnTo>
                  <a:pt x="7897241" y="3607625"/>
                </a:lnTo>
                <a:lnTo>
                  <a:pt x="7893222" y="3603586"/>
                </a:lnTo>
                <a:lnTo>
                  <a:pt x="7893222" y="3593716"/>
                </a:lnTo>
                <a:close/>
                <a:moveTo>
                  <a:pt x="7657926" y="3589677"/>
                </a:moveTo>
                <a:lnTo>
                  <a:pt x="7667836" y="3589677"/>
                </a:lnTo>
                <a:lnTo>
                  <a:pt x="7671855" y="3593716"/>
                </a:lnTo>
                <a:lnTo>
                  <a:pt x="7671855" y="3603586"/>
                </a:lnTo>
                <a:lnTo>
                  <a:pt x="7667836" y="3607625"/>
                </a:lnTo>
                <a:lnTo>
                  <a:pt x="7657926" y="3607625"/>
                </a:lnTo>
                <a:lnTo>
                  <a:pt x="7653906" y="3603586"/>
                </a:lnTo>
                <a:lnTo>
                  <a:pt x="7653906" y="3593716"/>
                </a:lnTo>
                <a:close/>
                <a:moveTo>
                  <a:pt x="7418611" y="3589677"/>
                </a:moveTo>
                <a:lnTo>
                  <a:pt x="7428521" y="3589677"/>
                </a:lnTo>
                <a:lnTo>
                  <a:pt x="7432540" y="3593716"/>
                </a:lnTo>
                <a:lnTo>
                  <a:pt x="7432540" y="3603586"/>
                </a:lnTo>
                <a:lnTo>
                  <a:pt x="7428521" y="3607625"/>
                </a:lnTo>
                <a:lnTo>
                  <a:pt x="7418611" y="3607625"/>
                </a:lnTo>
                <a:lnTo>
                  <a:pt x="7414592" y="3603586"/>
                </a:lnTo>
                <a:lnTo>
                  <a:pt x="7414592" y="3593716"/>
                </a:lnTo>
                <a:close/>
                <a:moveTo>
                  <a:pt x="7179298" y="3589677"/>
                </a:moveTo>
                <a:lnTo>
                  <a:pt x="7189209" y="3589677"/>
                </a:lnTo>
                <a:lnTo>
                  <a:pt x="7193228" y="3593716"/>
                </a:lnTo>
                <a:lnTo>
                  <a:pt x="7193228" y="3603586"/>
                </a:lnTo>
                <a:lnTo>
                  <a:pt x="7189209" y="3607625"/>
                </a:lnTo>
                <a:lnTo>
                  <a:pt x="7179298" y="3607625"/>
                </a:lnTo>
                <a:lnTo>
                  <a:pt x="7175279" y="3603586"/>
                </a:lnTo>
                <a:lnTo>
                  <a:pt x="7175279" y="3593716"/>
                </a:lnTo>
                <a:close/>
                <a:moveTo>
                  <a:pt x="6939983" y="3589677"/>
                </a:moveTo>
                <a:lnTo>
                  <a:pt x="6949894" y="3589677"/>
                </a:lnTo>
                <a:lnTo>
                  <a:pt x="6953913" y="3593716"/>
                </a:lnTo>
                <a:lnTo>
                  <a:pt x="6953913" y="3603586"/>
                </a:lnTo>
                <a:lnTo>
                  <a:pt x="6949894" y="3607625"/>
                </a:lnTo>
                <a:lnTo>
                  <a:pt x="6939983" y="3607625"/>
                </a:lnTo>
                <a:lnTo>
                  <a:pt x="6935964" y="3603586"/>
                </a:lnTo>
                <a:lnTo>
                  <a:pt x="6935964" y="3593716"/>
                </a:lnTo>
                <a:close/>
                <a:moveTo>
                  <a:pt x="6700670" y="3589677"/>
                </a:moveTo>
                <a:lnTo>
                  <a:pt x="6710581" y="3589677"/>
                </a:lnTo>
                <a:lnTo>
                  <a:pt x="6714600" y="3593716"/>
                </a:lnTo>
                <a:lnTo>
                  <a:pt x="6714600" y="3603586"/>
                </a:lnTo>
                <a:lnTo>
                  <a:pt x="6710581" y="3607625"/>
                </a:lnTo>
                <a:lnTo>
                  <a:pt x="6700670" y="3607625"/>
                </a:lnTo>
                <a:lnTo>
                  <a:pt x="6696651" y="3603586"/>
                </a:lnTo>
                <a:lnTo>
                  <a:pt x="6696651" y="3593716"/>
                </a:lnTo>
                <a:close/>
                <a:moveTo>
                  <a:pt x="6461356" y="3589677"/>
                </a:moveTo>
                <a:lnTo>
                  <a:pt x="6471266" y="3589677"/>
                </a:lnTo>
                <a:lnTo>
                  <a:pt x="6475285" y="3593716"/>
                </a:lnTo>
                <a:lnTo>
                  <a:pt x="6475285" y="3603586"/>
                </a:lnTo>
                <a:lnTo>
                  <a:pt x="6471266" y="3607625"/>
                </a:lnTo>
                <a:lnTo>
                  <a:pt x="6461356" y="3607625"/>
                </a:lnTo>
                <a:lnTo>
                  <a:pt x="6457337" y="3603586"/>
                </a:lnTo>
                <a:lnTo>
                  <a:pt x="6457337" y="3593716"/>
                </a:lnTo>
                <a:close/>
                <a:moveTo>
                  <a:pt x="6222042" y="3589677"/>
                </a:moveTo>
                <a:lnTo>
                  <a:pt x="6231952" y="3589677"/>
                </a:lnTo>
                <a:lnTo>
                  <a:pt x="6235971" y="3593716"/>
                </a:lnTo>
                <a:lnTo>
                  <a:pt x="6235971" y="3603586"/>
                </a:lnTo>
                <a:lnTo>
                  <a:pt x="6231952" y="3607625"/>
                </a:lnTo>
                <a:lnTo>
                  <a:pt x="6222042" y="3607625"/>
                </a:lnTo>
                <a:lnTo>
                  <a:pt x="6218023" y="3603586"/>
                </a:lnTo>
                <a:lnTo>
                  <a:pt x="6218023" y="3593716"/>
                </a:lnTo>
                <a:close/>
                <a:moveTo>
                  <a:pt x="5982729" y="3589677"/>
                </a:moveTo>
                <a:lnTo>
                  <a:pt x="5992639" y="3589677"/>
                </a:lnTo>
                <a:lnTo>
                  <a:pt x="5996658" y="3593716"/>
                </a:lnTo>
                <a:lnTo>
                  <a:pt x="5996658" y="3603586"/>
                </a:lnTo>
                <a:lnTo>
                  <a:pt x="5992639" y="3607625"/>
                </a:lnTo>
                <a:lnTo>
                  <a:pt x="5982729" y="3607625"/>
                </a:lnTo>
                <a:lnTo>
                  <a:pt x="5978710" y="3603586"/>
                </a:lnTo>
                <a:lnTo>
                  <a:pt x="5978710" y="3593716"/>
                </a:lnTo>
                <a:close/>
                <a:moveTo>
                  <a:pt x="5743412" y="3589677"/>
                </a:moveTo>
                <a:lnTo>
                  <a:pt x="5753323" y="3589677"/>
                </a:lnTo>
                <a:lnTo>
                  <a:pt x="5757342" y="3593716"/>
                </a:lnTo>
                <a:lnTo>
                  <a:pt x="5757342" y="3603586"/>
                </a:lnTo>
                <a:lnTo>
                  <a:pt x="5753323" y="3607625"/>
                </a:lnTo>
                <a:lnTo>
                  <a:pt x="5743412" y="3607625"/>
                </a:lnTo>
                <a:lnTo>
                  <a:pt x="5739393" y="3603586"/>
                </a:lnTo>
                <a:lnTo>
                  <a:pt x="5739393" y="3593716"/>
                </a:lnTo>
                <a:close/>
                <a:moveTo>
                  <a:pt x="5504099" y="3589677"/>
                </a:moveTo>
                <a:lnTo>
                  <a:pt x="5514010" y="3589677"/>
                </a:lnTo>
                <a:lnTo>
                  <a:pt x="5518029" y="3593716"/>
                </a:lnTo>
                <a:lnTo>
                  <a:pt x="5518029" y="3603586"/>
                </a:lnTo>
                <a:lnTo>
                  <a:pt x="5514010" y="3607625"/>
                </a:lnTo>
                <a:lnTo>
                  <a:pt x="5504099" y="3607625"/>
                </a:lnTo>
                <a:lnTo>
                  <a:pt x="5500080" y="3603586"/>
                </a:lnTo>
                <a:lnTo>
                  <a:pt x="5500080" y="3593716"/>
                </a:lnTo>
                <a:close/>
                <a:moveTo>
                  <a:pt x="5264784" y="3589677"/>
                </a:moveTo>
                <a:lnTo>
                  <a:pt x="5274694" y="3589677"/>
                </a:lnTo>
                <a:lnTo>
                  <a:pt x="5278713" y="3593716"/>
                </a:lnTo>
                <a:lnTo>
                  <a:pt x="5278713" y="3603586"/>
                </a:lnTo>
                <a:lnTo>
                  <a:pt x="5274694" y="3607625"/>
                </a:lnTo>
                <a:lnTo>
                  <a:pt x="5264784" y="3607625"/>
                </a:lnTo>
                <a:lnTo>
                  <a:pt x="5260765" y="3603586"/>
                </a:lnTo>
                <a:lnTo>
                  <a:pt x="5260765" y="3593716"/>
                </a:lnTo>
                <a:close/>
                <a:moveTo>
                  <a:pt x="5025470" y="3589677"/>
                </a:moveTo>
                <a:lnTo>
                  <a:pt x="5035381" y="3589677"/>
                </a:lnTo>
                <a:lnTo>
                  <a:pt x="5039400" y="3593716"/>
                </a:lnTo>
                <a:lnTo>
                  <a:pt x="5039400" y="3603586"/>
                </a:lnTo>
                <a:lnTo>
                  <a:pt x="5035381" y="3607625"/>
                </a:lnTo>
                <a:lnTo>
                  <a:pt x="5025470" y="3607625"/>
                </a:lnTo>
                <a:lnTo>
                  <a:pt x="5021451" y="3603586"/>
                </a:lnTo>
                <a:lnTo>
                  <a:pt x="5021451" y="3593716"/>
                </a:lnTo>
                <a:close/>
                <a:moveTo>
                  <a:pt x="4786241" y="3589677"/>
                </a:moveTo>
                <a:lnTo>
                  <a:pt x="4796152" y="3589677"/>
                </a:lnTo>
                <a:lnTo>
                  <a:pt x="4800171" y="3593716"/>
                </a:lnTo>
                <a:lnTo>
                  <a:pt x="4800171" y="3603586"/>
                </a:lnTo>
                <a:lnTo>
                  <a:pt x="4796152" y="3607625"/>
                </a:lnTo>
                <a:lnTo>
                  <a:pt x="4786241" y="3607625"/>
                </a:lnTo>
                <a:lnTo>
                  <a:pt x="4782224" y="3603586"/>
                </a:lnTo>
                <a:lnTo>
                  <a:pt x="4782224" y="3593716"/>
                </a:lnTo>
                <a:close/>
                <a:moveTo>
                  <a:pt x="4546929" y="3589677"/>
                </a:moveTo>
                <a:lnTo>
                  <a:pt x="4556840" y="3589677"/>
                </a:lnTo>
                <a:lnTo>
                  <a:pt x="4560859" y="3593716"/>
                </a:lnTo>
                <a:lnTo>
                  <a:pt x="4560859" y="3603586"/>
                </a:lnTo>
                <a:lnTo>
                  <a:pt x="4556840" y="3607625"/>
                </a:lnTo>
                <a:lnTo>
                  <a:pt x="4546929" y="3607625"/>
                </a:lnTo>
                <a:lnTo>
                  <a:pt x="4542910" y="3603586"/>
                </a:lnTo>
                <a:lnTo>
                  <a:pt x="4542910" y="3593716"/>
                </a:lnTo>
                <a:close/>
                <a:moveTo>
                  <a:pt x="4307612" y="3589677"/>
                </a:moveTo>
                <a:lnTo>
                  <a:pt x="4317523" y="3589677"/>
                </a:lnTo>
                <a:lnTo>
                  <a:pt x="4321543" y="3593716"/>
                </a:lnTo>
                <a:lnTo>
                  <a:pt x="4321543" y="3603586"/>
                </a:lnTo>
                <a:lnTo>
                  <a:pt x="4317523" y="3607625"/>
                </a:lnTo>
                <a:lnTo>
                  <a:pt x="4307612" y="3607625"/>
                </a:lnTo>
                <a:lnTo>
                  <a:pt x="4303595" y="3603586"/>
                </a:lnTo>
                <a:lnTo>
                  <a:pt x="4303595" y="3593716"/>
                </a:lnTo>
                <a:close/>
                <a:moveTo>
                  <a:pt x="4068297" y="3589677"/>
                </a:moveTo>
                <a:lnTo>
                  <a:pt x="4078210" y="3589677"/>
                </a:lnTo>
                <a:lnTo>
                  <a:pt x="4082229" y="3593716"/>
                </a:lnTo>
                <a:lnTo>
                  <a:pt x="4082229" y="3603586"/>
                </a:lnTo>
                <a:lnTo>
                  <a:pt x="4078210" y="3607625"/>
                </a:lnTo>
                <a:lnTo>
                  <a:pt x="4068297" y="3607625"/>
                </a:lnTo>
                <a:lnTo>
                  <a:pt x="4064278" y="3603586"/>
                </a:lnTo>
                <a:lnTo>
                  <a:pt x="4064278" y="3593716"/>
                </a:lnTo>
                <a:close/>
                <a:moveTo>
                  <a:pt x="3828990" y="3589677"/>
                </a:moveTo>
                <a:lnTo>
                  <a:pt x="3838899" y="3589677"/>
                </a:lnTo>
                <a:lnTo>
                  <a:pt x="3842917" y="3593716"/>
                </a:lnTo>
                <a:lnTo>
                  <a:pt x="3842917" y="3603586"/>
                </a:lnTo>
                <a:lnTo>
                  <a:pt x="3838899" y="3607625"/>
                </a:lnTo>
                <a:lnTo>
                  <a:pt x="3828990" y="3607625"/>
                </a:lnTo>
                <a:lnTo>
                  <a:pt x="3824971" y="3603586"/>
                </a:lnTo>
                <a:lnTo>
                  <a:pt x="3824971" y="3593716"/>
                </a:lnTo>
                <a:close/>
                <a:moveTo>
                  <a:pt x="3589676" y="3589677"/>
                </a:moveTo>
                <a:lnTo>
                  <a:pt x="3599585" y="3589677"/>
                </a:lnTo>
                <a:lnTo>
                  <a:pt x="3603604" y="3593716"/>
                </a:lnTo>
                <a:lnTo>
                  <a:pt x="3603604" y="3603586"/>
                </a:lnTo>
                <a:lnTo>
                  <a:pt x="3599585" y="3607625"/>
                </a:lnTo>
                <a:lnTo>
                  <a:pt x="3589676" y="3607625"/>
                </a:lnTo>
                <a:lnTo>
                  <a:pt x="3585657" y="3603586"/>
                </a:lnTo>
                <a:lnTo>
                  <a:pt x="3585657" y="3593716"/>
                </a:lnTo>
                <a:close/>
                <a:moveTo>
                  <a:pt x="3350359" y="3589677"/>
                </a:moveTo>
                <a:lnTo>
                  <a:pt x="3360268" y="3589677"/>
                </a:lnTo>
                <a:lnTo>
                  <a:pt x="3364287" y="3593716"/>
                </a:lnTo>
                <a:lnTo>
                  <a:pt x="3364287" y="3603586"/>
                </a:lnTo>
                <a:lnTo>
                  <a:pt x="3360268" y="3607625"/>
                </a:lnTo>
                <a:lnTo>
                  <a:pt x="3350359" y="3607625"/>
                </a:lnTo>
                <a:lnTo>
                  <a:pt x="3346340" y="3603586"/>
                </a:lnTo>
                <a:lnTo>
                  <a:pt x="3346340" y="3593716"/>
                </a:lnTo>
                <a:close/>
                <a:moveTo>
                  <a:pt x="3111048" y="3589677"/>
                </a:moveTo>
                <a:lnTo>
                  <a:pt x="3120959" y="3589677"/>
                </a:lnTo>
                <a:lnTo>
                  <a:pt x="3124977" y="3593716"/>
                </a:lnTo>
                <a:lnTo>
                  <a:pt x="3124977" y="3603586"/>
                </a:lnTo>
                <a:lnTo>
                  <a:pt x="3120959" y="3607625"/>
                </a:lnTo>
                <a:lnTo>
                  <a:pt x="3111048" y="3607625"/>
                </a:lnTo>
                <a:lnTo>
                  <a:pt x="3107029" y="3603586"/>
                </a:lnTo>
                <a:lnTo>
                  <a:pt x="3107029" y="3593716"/>
                </a:lnTo>
                <a:close/>
                <a:moveTo>
                  <a:pt x="2871737" y="3589677"/>
                </a:moveTo>
                <a:lnTo>
                  <a:pt x="2881646" y="3589677"/>
                </a:lnTo>
                <a:lnTo>
                  <a:pt x="2885666" y="3593716"/>
                </a:lnTo>
                <a:lnTo>
                  <a:pt x="2885666" y="3603586"/>
                </a:lnTo>
                <a:lnTo>
                  <a:pt x="2881646" y="3607625"/>
                </a:lnTo>
                <a:lnTo>
                  <a:pt x="2871737" y="3607625"/>
                </a:lnTo>
                <a:lnTo>
                  <a:pt x="2867717" y="3603586"/>
                </a:lnTo>
                <a:lnTo>
                  <a:pt x="2867717" y="3593716"/>
                </a:lnTo>
                <a:close/>
                <a:moveTo>
                  <a:pt x="2632423" y="3589677"/>
                </a:moveTo>
                <a:lnTo>
                  <a:pt x="2642334" y="3589677"/>
                </a:lnTo>
                <a:lnTo>
                  <a:pt x="2646352" y="3593716"/>
                </a:lnTo>
                <a:lnTo>
                  <a:pt x="2646352" y="3603586"/>
                </a:lnTo>
                <a:lnTo>
                  <a:pt x="2642334" y="3607625"/>
                </a:lnTo>
                <a:lnTo>
                  <a:pt x="2632423" y="3607625"/>
                </a:lnTo>
                <a:lnTo>
                  <a:pt x="2628404" y="3603586"/>
                </a:lnTo>
                <a:lnTo>
                  <a:pt x="2628404" y="3593716"/>
                </a:lnTo>
                <a:close/>
                <a:moveTo>
                  <a:pt x="2393104" y="3589677"/>
                </a:moveTo>
                <a:lnTo>
                  <a:pt x="2403015" y="3589677"/>
                </a:lnTo>
                <a:lnTo>
                  <a:pt x="2407034" y="3593716"/>
                </a:lnTo>
                <a:lnTo>
                  <a:pt x="2407034" y="3603586"/>
                </a:lnTo>
                <a:lnTo>
                  <a:pt x="2403015" y="3607625"/>
                </a:lnTo>
                <a:lnTo>
                  <a:pt x="2393104" y="3607625"/>
                </a:lnTo>
                <a:lnTo>
                  <a:pt x="2389087" y="3603586"/>
                </a:lnTo>
                <a:lnTo>
                  <a:pt x="2389087" y="3593716"/>
                </a:lnTo>
                <a:close/>
                <a:moveTo>
                  <a:pt x="721966" y="3589677"/>
                </a:moveTo>
                <a:lnTo>
                  <a:pt x="731877" y="3589677"/>
                </a:lnTo>
                <a:lnTo>
                  <a:pt x="735896" y="3593716"/>
                </a:lnTo>
                <a:lnTo>
                  <a:pt x="735896" y="3603586"/>
                </a:lnTo>
                <a:lnTo>
                  <a:pt x="731877" y="3607625"/>
                </a:lnTo>
                <a:lnTo>
                  <a:pt x="721966" y="3607625"/>
                </a:lnTo>
                <a:lnTo>
                  <a:pt x="717948" y="3603586"/>
                </a:lnTo>
                <a:lnTo>
                  <a:pt x="717948" y="3593716"/>
                </a:lnTo>
                <a:close/>
                <a:moveTo>
                  <a:pt x="482654" y="3589677"/>
                </a:moveTo>
                <a:lnTo>
                  <a:pt x="492565" y="3589677"/>
                </a:lnTo>
                <a:lnTo>
                  <a:pt x="496584" y="3593716"/>
                </a:lnTo>
                <a:lnTo>
                  <a:pt x="496584" y="3603586"/>
                </a:lnTo>
                <a:lnTo>
                  <a:pt x="492565" y="3607625"/>
                </a:lnTo>
                <a:lnTo>
                  <a:pt x="482654" y="3607625"/>
                </a:lnTo>
                <a:lnTo>
                  <a:pt x="478635" y="3603586"/>
                </a:lnTo>
                <a:lnTo>
                  <a:pt x="478635" y="3593716"/>
                </a:lnTo>
                <a:close/>
                <a:moveTo>
                  <a:pt x="243341" y="3589677"/>
                </a:moveTo>
                <a:lnTo>
                  <a:pt x="253251" y="3589677"/>
                </a:lnTo>
                <a:lnTo>
                  <a:pt x="257270" y="3593716"/>
                </a:lnTo>
                <a:lnTo>
                  <a:pt x="257270" y="3603586"/>
                </a:lnTo>
                <a:lnTo>
                  <a:pt x="253251" y="3607625"/>
                </a:lnTo>
                <a:lnTo>
                  <a:pt x="243341" y="3607625"/>
                </a:lnTo>
                <a:lnTo>
                  <a:pt x="239321" y="3603586"/>
                </a:lnTo>
                <a:lnTo>
                  <a:pt x="239321" y="3593716"/>
                </a:lnTo>
                <a:close/>
                <a:moveTo>
                  <a:pt x="4027" y="3589677"/>
                </a:moveTo>
                <a:lnTo>
                  <a:pt x="13938" y="3589677"/>
                </a:lnTo>
                <a:lnTo>
                  <a:pt x="17957" y="3593716"/>
                </a:lnTo>
                <a:lnTo>
                  <a:pt x="17957" y="3603586"/>
                </a:lnTo>
                <a:lnTo>
                  <a:pt x="13938" y="3607625"/>
                </a:lnTo>
                <a:lnTo>
                  <a:pt x="4027" y="3607625"/>
                </a:lnTo>
                <a:lnTo>
                  <a:pt x="8" y="3603586"/>
                </a:lnTo>
                <a:lnTo>
                  <a:pt x="8" y="3593716"/>
                </a:lnTo>
                <a:close/>
                <a:moveTo>
                  <a:pt x="9572438" y="3350398"/>
                </a:moveTo>
                <a:lnTo>
                  <a:pt x="9582349" y="3350398"/>
                </a:lnTo>
                <a:lnTo>
                  <a:pt x="9586368" y="3354436"/>
                </a:lnTo>
                <a:lnTo>
                  <a:pt x="9586368" y="3364306"/>
                </a:lnTo>
                <a:lnTo>
                  <a:pt x="9582349" y="3368345"/>
                </a:lnTo>
                <a:lnTo>
                  <a:pt x="9572438" y="3368345"/>
                </a:lnTo>
                <a:lnTo>
                  <a:pt x="9568419" y="3364306"/>
                </a:lnTo>
                <a:lnTo>
                  <a:pt x="9568419" y="3354436"/>
                </a:lnTo>
                <a:close/>
                <a:moveTo>
                  <a:pt x="9333125" y="3350398"/>
                </a:moveTo>
                <a:lnTo>
                  <a:pt x="9343036" y="3350398"/>
                </a:lnTo>
                <a:lnTo>
                  <a:pt x="9347055" y="3354436"/>
                </a:lnTo>
                <a:lnTo>
                  <a:pt x="9347055" y="3364306"/>
                </a:lnTo>
                <a:lnTo>
                  <a:pt x="9343036" y="3368345"/>
                </a:lnTo>
                <a:lnTo>
                  <a:pt x="9333125" y="3368345"/>
                </a:lnTo>
                <a:lnTo>
                  <a:pt x="9329106" y="3364306"/>
                </a:lnTo>
                <a:lnTo>
                  <a:pt x="9329106" y="3354436"/>
                </a:lnTo>
                <a:close/>
                <a:moveTo>
                  <a:pt x="9093811" y="3350398"/>
                </a:moveTo>
                <a:lnTo>
                  <a:pt x="9103722" y="3350398"/>
                </a:lnTo>
                <a:lnTo>
                  <a:pt x="9107741" y="3354436"/>
                </a:lnTo>
                <a:lnTo>
                  <a:pt x="9107741" y="3364306"/>
                </a:lnTo>
                <a:lnTo>
                  <a:pt x="9103722" y="3368345"/>
                </a:lnTo>
                <a:lnTo>
                  <a:pt x="9093811" y="3368345"/>
                </a:lnTo>
                <a:lnTo>
                  <a:pt x="9089792" y="3364306"/>
                </a:lnTo>
                <a:lnTo>
                  <a:pt x="9089792" y="3354436"/>
                </a:lnTo>
                <a:close/>
                <a:moveTo>
                  <a:pt x="8854496" y="3350398"/>
                </a:moveTo>
                <a:lnTo>
                  <a:pt x="8864407" y="3350398"/>
                </a:lnTo>
                <a:lnTo>
                  <a:pt x="8868426" y="3354436"/>
                </a:lnTo>
                <a:lnTo>
                  <a:pt x="8868426" y="3364306"/>
                </a:lnTo>
                <a:lnTo>
                  <a:pt x="8864407" y="3368345"/>
                </a:lnTo>
                <a:lnTo>
                  <a:pt x="8854496" y="3368345"/>
                </a:lnTo>
                <a:lnTo>
                  <a:pt x="8850477" y="3364306"/>
                </a:lnTo>
                <a:lnTo>
                  <a:pt x="8850477" y="3354436"/>
                </a:lnTo>
                <a:close/>
                <a:moveTo>
                  <a:pt x="8615184" y="3350398"/>
                </a:moveTo>
                <a:lnTo>
                  <a:pt x="8625095" y="3350398"/>
                </a:lnTo>
                <a:lnTo>
                  <a:pt x="8629114" y="3354436"/>
                </a:lnTo>
                <a:lnTo>
                  <a:pt x="8629114" y="3364306"/>
                </a:lnTo>
                <a:lnTo>
                  <a:pt x="8625095" y="3368345"/>
                </a:lnTo>
                <a:lnTo>
                  <a:pt x="8615184" y="3368345"/>
                </a:lnTo>
                <a:lnTo>
                  <a:pt x="8611165" y="3364306"/>
                </a:lnTo>
                <a:lnTo>
                  <a:pt x="8611165" y="3354436"/>
                </a:lnTo>
                <a:close/>
                <a:moveTo>
                  <a:pt x="8375869" y="3350398"/>
                </a:moveTo>
                <a:lnTo>
                  <a:pt x="8385779" y="3350398"/>
                </a:lnTo>
                <a:lnTo>
                  <a:pt x="8389799" y="3354436"/>
                </a:lnTo>
                <a:lnTo>
                  <a:pt x="8389799" y="3364306"/>
                </a:lnTo>
                <a:lnTo>
                  <a:pt x="8385779" y="3368345"/>
                </a:lnTo>
                <a:lnTo>
                  <a:pt x="8375869" y="3368345"/>
                </a:lnTo>
                <a:lnTo>
                  <a:pt x="8371850" y="3364306"/>
                </a:lnTo>
                <a:lnTo>
                  <a:pt x="8371850" y="3354436"/>
                </a:lnTo>
                <a:close/>
                <a:moveTo>
                  <a:pt x="8136553" y="3350398"/>
                </a:moveTo>
                <a:lnTo>
                  <a:pt x="8146464" y="3350398"/>
                </a:lnTo>
                <a:lnTo>
                  <a:pt x="8150483" y="3354436"/>
                </a:lnTo>
                <a:lnTo>
                  <a:pt x="8150483" y="3364306"/>
                </a:lnTo>
                <a:lnTo>
                  <a:pt x="8146464" y="3368345"/>
                </a:lnTo>
                <a:lnTo>
                  <a:pt x="8136553" y="3368345"/>
                </a:lnTo>
                <a:lnTo>
                  <a:pt x="8132534" y="3364306"/>
                </a:lnTo>
                <a:lnTo>
                  <a:pt x="8132534" y="3354436"/>
                </a:lnTo>
                <a:close/>
                <a:moveTo>
                  <a:pt x="7897241" y="3350398"/>
                </a:moveTo>
                <a:lnTo>
                  <a:pt x="7907151" y="3350398"/>
                </a:lnTo>
                <a:lnTo>
                  <a:pt x="7911170" y="3354436"/>
                </a:lnTo>
                <a:lnTo>
                  <a:pt x="7911170" y="3364306"/>
                </a:lnTo>
                <a:lnTo>
                  <a:pt x="7907151" y="3368345"/>
                </a:lnTo>
                <a:lnTo>
                  <a:pt x="7897241" y="3368345"/>
                </a:lnTo>
                <a:lnTo>
                  <a:pt x="7893222" y="3364306"/>
                </a:lnTo>
                <a:lnTo>
                  <a:pt x="7893222" y="3354436"/>
                </a:lnTo>
                <a:close/>
                <a:moveTo>
                  <a:pt x="7657926" y="3350398"/>
                </a:moveTo>
                <a:lnTo>
                  <a:pt x="7667836" y="3350398"/>
                </a:lnTo>
                <a:lnTo>
                  <a:pt x="7671855" y="3354436"/>
                </a:lnTo>
                <a:lnTo>
                  <a:pt x="7671855" y="3364306"/>
                </a:lnTo>
                <a:lnTo>
                  <a:pt x="7667836" y="3368345"/>
                </a:lnTo>
                <a:lnTo>
                  <a:pt x="7657926" y="3368345"/>
                </a:lnTo>
                <a:lnTo>
                  <a:pt x="7653906" y="3364306"/>
                </a:lnTo>
                <a:lnTo>
                  <a:pt x="7653906" y="3354436"/>
                </a:lnTo>
                <a:close/>
                <a:moveTo>
                  <a:pt x="7418611" y="3350398"/>
                </a:moveTo>
                <a:lnTo>
                  <a:pt x="7428521" y="3350398"/>
                </a:lnTo>
                <a:lnTo>
                  <a:pt x="7432540" y="3354436"/>
                </a:lnTo>
                <a:lnTo>
                  <a:pt x="7432540" y="3364306"/>
                </a:lnTo>
                <a:lnTo>
                  <a:pt x="7428521" y="3368345"/>
                </a:lnTo>
                <a:lnTo>
                  <a:pt x="7418611" y="3368345"/>
                </a:lnTo>
                <a:lnTo>
                  <a:pt x="7414592" y="3364306"/>
                </a:lnTo>
                <a:lnTo>
                  <a:pt x="7414592" y="3354436"/>
                </a:lnTo>
                <a:close/>
                <a:moveTo>
                  <a:pt x="7179298" y="3350398"/>
                </a:moveTo>
                <a:lnTo>
                  <a:pt x="7189209" y="3350398"/>
                </a:lnTo>
                <a:lnTo>
                  <a:pt x="7193228" y="3354436"/>
                </a:lnTo>
                <a:lnTo>
                  <a:pt x="7193228" y="3364306"/>
                </a:lnTo>
                <a:lnTo>
                  <a:pt x="7189209" y="3368345"/>
                </a:lnTo>
                <a:lnTo>
                  <a:pt x="7179298" y="3368345"/>
                </a:lnTo>
                <a:lnTo>
                  <a:pt x="7175279" y="3364306"/>
                </a:lnTo>
                <a:lnTo>
                  <a:pt x="7175279" y="3354436"/>
                </a:lnTo>
                <a:close/>
                <a:moveTo>
                  <a:pt x="6939983" y="3350398"/>
                </a:moveTo>
                <a:lnTo>
                  <a:pt x="6949894" y="3350398"/>
                </a:lnTo>
                <a:lnTo>
                  <a:pt x="6953913" y="3354436"/>
                </a:lnTo>
                <a:lnTo>
                  <a:pt x="6953913" y="3364306"/>
                </a:lnTo>
                <a:lnTo>
                  <a:pt x="6949894" y="3368345"/>
                </a:lnTo>
                <a:lnTo>
                  <a:pt x="6939983" y="3368345"/>
                </a:lnTo>
                <a:lnTo>
                  <a:pt x="6935964" y="3364306"/>
                </a:lnTo>
                <a:lnTo>
                  <a:pt x="6935964" y="3354436"/>
                </a:lnTo>
                <a:close/>
                <a:moveTo>
                  <a:pt x="6700670" y="3350398"/>
                </a:moveTo>
                <a:lnTo>
                  <a:pt x="6710581" y="3350398"/>
                </a:lnTo>
                <a:lnTo>
                  <a:pt x="6714600" y="3354436"/>
                </a:lnTo>
                <a:lnTo>
                  <a:pt x="6714600" y="3364306"/>
                </a:lnTo>
                <a:lnTo>
                  <a:pt x="6710581" y="3368345"/>
                </a:lnTo>
                <a:lnTo>
                  <a:pt x="6700670" y="3368345"/>
                </a:lnTo>
                <a:lnTo>
                  <a:pt x="6696651" y="3364306"/>
                </a:lnTo>
                <a:lnTo>
                  <a:pt x="6696651" y="3354436"/>
                </a:lnTo>
                <a:close/>
                <a:moveTo>
                  <a:pt x="6461356" y="3350398"/>
                </a:moveTo>
                <a:lnTo>
                  <a:pt x="6471266" y="3350398"/>
                </a:lnTo>
                <a:lnTo>
                  <a:pt x="6475285" y="3354436"/>
                </a:lnTo>
                <a:lnTo>
                  <a:pt x="6475285" y="3364306"/>
                </a:lnTo>
                <a:lnTo>
                  <a:pt x="6471266" y="3368345"/>
                </a:lnTo>
                <a:lnTo>
                  <a:pt x="6461356" y="3368345"/>
                </a:lnTo>
                <a:lnTo>
                  <a:pt x="6457337" y="3364306"/>
                </a:lnTo>
                <a:lnTo>
                  <a:pt x="6457337" y="3354436"/>
                </a:lnTo>
                <a:close/>
                <a:moveTo>
                  <a:pt x="6222042" y="3350398"/>
                </a:moveTo>
                <a:lnTo>
                  <a:pt x="6231952" y="3350398"/>
                </a:lnTo>
                <a:lnTo>
                  <a:pt x="6235971" y="3354436"/>
                </a:lnTo>
                <a:lnTo>
                  <a:pt x="6235971" y="3364306"/>
                </a:lnTo>
                <a:lnTo>
                  <a:pt x="6231952" y="3368345"/>
                </a:lnTo>
                <a:lnTo>
                  <a:pt x="6222042" y="3368345"/>
                </a:lnTo>
                <a:lnTo>
                  <a:pt x="6218023" y="3364306"/>
                </a:lnTo>
                <a:lnTo>
                  <a:pt x="6218023" y="3354436"/>
                </a:lnTo>
                <a:close/>
                <a:moveTo>
                  <a:pt x="5982729" y="3350398"/>
                </a:moveTo>
                <a:lnTo>
                  <a:pt x="5992639" y="3350398"/>
                </a:lnTo>
                <a:lnTo>
                  <a:pt x="5996658" y="3354436"/>
                </a:lnTo>
                <a:lnTo>
                  <a:pt x="5996658" y="3364306"/>
                </a:lnTo>
                <a:lnTo>
                  <a:pt x="5992639" y="3368345"/>
                </a:lnTo>
                <a:lnTo>
                  <a:pt x="5982729" y="3368345"/>
                </a:lnTo>
                <a:lnTo>
                  <a:pt x="5978710" y="3364306"/>
                </a:lnTo>
                <a:lnTo>
                  <a:pt x="5978710" y="3354436"/>
                </a:lnTo>
                <a:close/>
                <a:moveTo>
                  <a:pt x="5743412" y="3350398"/>
                </a:moveTo>
                <a:lnTo>
                  <a:pt x="5753323" y="3350398"/>
                </a:lnTo>
                <a:lnTo>
                  <a:pt x="5757342" y="3354436"/>
                </a:lnTo>
                <a:lnTo>
                  <a:pt x="5757342" y="3364306"/>
                </a:lnTo>
                <a:lnTo>
                  <a:pt x="5753323" y="3368345"/>
                </a:lnTo>
                <a:lnTo>
                  <a:pt x="5743412" y="3368345"/>
                </a:lnTo>
                <a:lnTo>
                  <a:pt x="5739393" y="3364306"/>
                </a:lnTo>
                <a:lnTo>
                  <a:pt x="5739393" y="3354436"/>
                </a:lnTo>
                <a:close/>
                <a:moveTo>
                  <a:pt x="5504099" y="3350398"/>
                </a:moveTo>
                <a:lnTo>
                  <a:pt x="5514010" y="3350398"/>
                </a:lnTo>
                <a:lnTo>
                  <a:pt x="5518029" y="3354436"/>
                </a:lnTo>
                <a:lnTo>
                  <a:pt x="5518029" y="3364306"/>
                </a:lnTo>
                <a:lnTo>
                  <a:pt x="5514010" y="3368345"/>
                </a:lnTo>
                <a:lnTo>
                  <a:pt x="5504099" y="3368345"/>
                </a:lnTo>
                <a:lnTo>
                  <a:pt x="5500080" y="3364306"/>
                </a:lnTo>
                <a:lnTo>
                  <a:pt x="5500080" y="3354436"/>
                </a:lnTo>
                <a:close/>
                <a:moveTo>
                  <a:pt x="5264784" y="3350398"/>
                </a:moveTo>
                <a:lnTo>
                  <a:pt x="5274694" y="3350398"/>
                </a:lnTo>
                <a:lnTo>
                  <a:pt x="5278713" y="3354436"/>
                </a:lnTo>
                <a:lnTo>
                  <a:pt x="5278713" y="3364306"/>
                </a:lnTo>
                <a:lnTo>
                  <a:pt x="5274694" y="3368345"/>
                </a:lnTo>
                <a:lnTo>
                  <a:pt x="5264784" y="3368345"/>
                </a:lnTo>
                <a:lnTo>
                  <a:pt x="5260765" y="3364306"/>
                </a:lnTo>
                <a:lnTo>
                  <a:pt x="5260765" y="3354436"/>
                </a:lnTo>
                <a:close/>
                <a:moveTo>
                  <a:pt x="5025470" y="3350398"/>
                </a:moveTo>
                <a:lnTo>
                  <a:pt x="5035381" y="3350398"/>
                </a:lnTo>
                <a:lnTo>
                  <a:pt x="5039400" y="3354436"/>
                </a:lnTo>
                <a:lnTo>
                  <a:pt x="5039400" y="3364306"/>
                </a:lnTo>
                <a:lnTo>
                  <a:pt x="5035381" y="3368345"/>
                </a:lnTo>
                <a:lnTo>
                  <a:pt x="5025470" y="3368345"/>
                </a:lnTo>
                <a:lnTo>
                  <a:pt x="5021451" y="3364306"/>
                </a:lnTo>
                <a:lnTo>
                  <a:pt x="5021451" y="3354436"/>
                </a:lnTo>
                <a:close/>
                <a:moveTo>
                  <a:pt x="4786241" y="3350398"/>
                </a:moveTo>
                <a:lnTo>
                  <a:pt x="4796152" y="3350398"/>
                </a:lnTo>
                <a:lnTo>
                  <a:pt x="4800171" y="3354436"/>
                </a:lnTo>
                <a:lnTo>
                  <a:pt x="4800171" y="3364306"/>
                </a:lnTo>
                <a:lnTo>
                  <a:pt x="4796152" y="3368345"/>
                </a:lnTo>
                <a:lnTo>
                  <a:pt x="4786241" y="3368345"/>
                </a:lnTo>
                <a:lnTo>
                  <a:pt x="4782224" y="3364306"/>
                </a:lnTo>
                <a:lnTo>
                  <a:pt x="4782224" y="3354436"/>
                </a:lnTo>
                <a:close/>
                <a:moveTo>
                  <a:pt x="4546929" y="3350398"/>
                </a:moveTo>
                <a:lnTo>
                  <a:pt x="4556840" y="3350398"/>
                </a:lnTo>
                <a:lnTo>
                  <a:pt x="4560859" y="3354436"/>
                </a:lnTo>
                <a:lnTo>
                  <a:pt x="4560859" y="3364306"/>
                </a:lnTo>
                <a:lnTo>
                  <a:pt x="4556840" y="3368345"/>
                </a:lnTo>
                <a:lnTo>
                  <a:pt x="4546929" y="3368345"/>
                </a:lnTo>
                <a:lnTo>
                  <a:pt x="4542910" y="3364306"/>
                </a:lnTo>
                <a:lnTo>
                  <a:pt x="4542910" y="3354436"/>
                </a:lnTo>
                <a:close/>
                <a:moveTo>
                  <a:pt x="4307612" y="3350398"/>
                </a:moveTo>
                <a:lnTo>
                  <a:pt x="4317523" y="3350398"/>
                </a:lnTo>
                <a:lnTo>
                  <a:pt x="4321543" y="3354436"/>
                </a:lnTo>
                <a:lnTo>
                  <a:pt x="4321543" y="3364306"/>
                </a:lnTo>
                <a:lnTo>
                  <a:pt x="4317523" y="3368345"/>
                </a:lnTo>
                <a:lnTo>
                  <a:pt x="4307612" y="3368345"/>
                </a:lnTo>
                <a:lnTo>
                  <a:pt x="4303595" y="3364306"/>
                </a:lnTo>
                <a:lnTo>
                  <a:pt x="4303595" y="3354436"/>
                </a:lnTo>
                <a:close/>
                <a:moveTo>
                  <a:pt x="4068297" y="3350398"/>
                </a:moveTo>
                <a:lnTo>
                  <a:pt x="4078210" y="3350398"/>
                </a:lnTo>
                <a:lnTo>
                  <a:pt x="4082229" y="3354436"/>
                </a:lnTo>
                <a:lnTo>
                  <a:pt x="4082229" y="3364306"/>
                </a:lnTo>
                <a:lnTo>
                  <a:pt x="4078210" y="3368345"/>
                </a:lnTo>
                <a:lnTo>
                  <a:pt x="4068297" y="3368345"/>
                </a:lnTo>
                <a:lnTo>
                  <a:pt x="4064278" y="3364306"/>
                </a:lnTo>
                <a:lnTo>
                  <a:pt x="4064278" y="3354436"/>
                </a:lnTo>
                <a:close/>
                <a:moveTo>
                  <a:pt x="3828990" y="3350398"/>
                </a:moveTo>
                <a:lnTo>
                  <a:pt x="3838899" y="3350398"/>
                </a:lnTo>
                <a:lnTo>
                  <a:pt x="3842917" y="3354436"/>
                </a:lnTo>
                <a:lnTo>
                  <a:pt x="3842917" y="3364306"/>
                </a:lnTo>
                <a:lnTo>
                  <a:pt x="3838899" y="3368345"/>
                </a:lnTo>
                <a:lnTo>
                  <a:pt x="3828990" y="3368345"/>
                </a:lnTo>
                <a:lnTo>
                  <a:pt x="3824971" y="3364306"/>
                </a:lnTo>
                <a:lnTo>
                  <a:pt x="3824971" y="3354436"/>
                </a:lnTo>
                <a:close/>
                <a:moveTo>
                  <a:pt x="3589676" y="3350398"/>
                </a:moveTo>
                <a:lnTo>
                  <a:pt x="3599585" y="3350398"/>
                </a:lnTo>
                <a:lnTo>
                  <a:pt x="3603604" y="3354436"/>
                </a:lnTo>
                <a:lnTo>
                  <a:pt x="3603604" y="3364306"/>
                </a:lnTo>
                <a:lnTo>
                  <a:pt x="3599585" y="3368345"/>
                </a:lnTo>
                <a:lnTo>
                  <a:pt x="3589676" y="3368345"/>
                </a:lnTo>
                <a:lnTo>
                  <a:pt x="3585657" y="3364306"/>
                </a:lnTo>
                <a:lnTo>
                  <a:pt x="3585657" y="3354436"/>
                </a:lnTo>
                <a:close/>
                <a:moveTo>
                  <a:pt x="3350359" y="3350398"/>
                </a:moveTo>
                <a:lnTo>
                  <a:pt x="3360268" y="3350398"/>
                </a:lnTo>
                <a:lnTo>
                  <a:pt x="3364287" y="3354436"/>
                </a:lnTo>
                <a:lnTo>
                  <a:pt x="3364287" y="3364306"/>
                </a:lnTo>
                <a:lnTo>
                  <a:pt x="3360268" y="3368345"/>
                </a:lnTo>
                <a:lnTo>
                  <a:pt x="3350359" y="3368345"/>
                </a:lnTo>
                <a:lnTo>
                  <a:pt x="3346340" y="3364306"/>
                </a:lnTo>
                <a:lnTo>
                  <a:pt x="3346340" y="3354436"/>
                </a:lnTo>
                <a:close/>
                <a:moveTo>
                  <a:pt x="3111048" y="3350398"/>
                </a:moveTo>
                <a:lnTo>
                  <a:pt x="3120959" y="3350398"/>
                </a:lnTo>
                <a:lnTo>
                  <a:pt x="3124977" y="3354436"/>
                </a:lnTo>
                <a:lnTo>
                  <a:pt x="3124977" y="3364306"/>
                </a:lnTo>
                <a:lnTo>
                  <a:pt x="3120959" y="3368345"/>
                </a:lnTo>
                <a:lnTo>
                  <a:pt x="3111048" y="3368345"/>
                </a:lnTo>
                <a:lnTo>
                  <a:pt x="3107029" y="3364306"/>
                </a:lnTo>
                <a:lnTo>
                  <a:pt x="3107029" y="3354436"/>
                </a:lnTo>
                <a:close/>
                <a:moveTo>
                  <a:pt x="2871737" y="3350398"/>
                </a:moveTo>
                <a:lnTo>
                  <a:pt x="2881646" y="3350398"/>
                </a:lnTo>
                <a:lnTo>
                  <a:pt x="2885666" y="3354436"/>
                </a:lnTo>
                <a:lnTo>
                  <a:pt x="2885666" y="3364306"/>
                </a:lnTo>
                <a:lnTo>
                  <a:pt x="2881646" y="3368345"/>
                </a:lnTo>
                <a:lnTo>
                  <a:pt x="2871737" y="3368345"/>
                </a:lnTo>
                <a:lnTo>
                  <a:pt x="2867717" y="3364306"/>
                </a:lnTo>
                <a:lnTo>
                  <a:pt x="2867717" y="3354436"/>
                </a:lnTo>
                <a:close/>
                <a:moveTo>
                  <a:pt x="2632423" y="3350398"/>
                </a:moveTo>
                <a:lnTo>
                  <a:pt x="2642334" y="3350398"/>
                </a:lnTo>
                <a:lnTo>
                  <a:pt x="2646352" y="3354436"/>
                </a:lnTo>
                <a:lnTo>
                  <a:pt x="2646352" y="3364306"/>
                </a:lnTo>
                <a:lnTo>
                  <a:pt x="2642334" y="3368345"/>
                </a:lnTo>
                <a:lnTo>
                  <a:pt x="2632423" y="3368345"/>
                </a:lnTo>
                <a:lnTo>
                  <a:pt x="2628404" y="3364306"/>
                </a:lnTo>
                <a:lnTo>
                  <a:pt x="2628404" y="3354436"/>
                </a:lnTo>
                <a:close/>
                <a:moveTo>
                  <a:pt x="2393104" y="3350398"/>
                </a:moveTo>
                <a:lnTo>
                  <a:pt x="2403015" y="3350398"/>
                </a:lnTo>
                <a:lnTo>
                  <a:pt x="2407034" y="3354436"/>
                </a:lnTo>
                <a:lnTo>
                  <a:pt x="2407034" y="3364306"/>
                </a:lnTo>
                <a:lnTo>
                  <a:pt x="2403015" y="3368345"/>
                </a:lnTo>
                <a:lnTo>
                  <a:pt x="2393104" y="3368345"/>
                </a:lnTo>
                <a:lnTo>
                  <a:pt x="2389087" y="3364306"/>
                </a:lnTo>
                <a:lnTo>
                  <a:pt x="2389087" y="3354436"/>
                </a:lnTo>
                <a:close/>
                <a:moveTo>
                  <a:pt x="2157820" y="3350398"/>
                </a:moveTo>
                <a:lnTo>
                  <a:pt x="2167731" y="3350398"/>
                </a:lnTo>
                <a:lnTo>
                  <a:pt x="2171749" y="3354436"/>
                </a:lnTo>
                <a:lnTo>
                  <a:pt x="2171749" y="3364306"/>
                </a:lnTo>
                <a:lnTo>
                  <a:pt x="2167731" y="3368345"/>
                </a:lnTo>
                <a:lnTo>
                  <a:pt x="2157820" y="3368345"/>
                </a:lnTo>
                <a:lnTo>
                  <a:pt x="2153802" y="3364306"/>
                </a:lnTo>
                <a:lnTo>
                  <a:pt x="2153802" y="3354436"/>
                </a:lnTo>
                <a:close/>
                <a:moveTo>
                  <a:pt x="1918511" y="3350398"/>
                </a:moveTo>
                <a:lnTo>
                  <a:pt x="1928422" y="3350398"/>
                </a:lnTo>
                <a:lnTo>
                  <a:pt x="1932441" y="3354436"/>
                </a:lnTo>
                <a:lnTo>
                  <a:pt x="1932441" y="3364306"/>
                </a:lnTo>
                <a:lnTo>
                  <a:pt x="1928422" y="3368345"/>
                </a:lnTo>
                <a:lnTo>
                  <a:pt x="1918511" y="3368345"/>
                </a:lnTo>
                <a:lnTo>
                  <a:pt x="1914493" y="3364306"/>
                </a:lnTo>
                <a:lnTo>
                  <a:pt x="1914493" y="3354436"/>
                </a:lnTo>
                <a:close/>
                <a:moveTo>
                  <a:pt x="1679210" y="3350398"/>
                </a:moveTo>
                <a:lnTo>
                  <a:pt x="1689120" y="3350398"/>
                </a:lnTo>
                <a:lnTo>
                  <a:pt x="1693138" y="3354436"/>
                </a:lnTo>
                <a:lnTo>
                  <a:pt x="1693138" y="3364306"/>
                </a:lnTo>
                <a:lnTo>
                  <a:pt x="1689120" y="3368345"/>
                </a:lnTo>
                <a:lnTo>
                  <a:pt x="1679210" y="3368345"/>
                </a:lnTo>
                <a:lnTo>
                  <a:pt x="1675191" y="3364306"/>
                </a:lnTo>
                <a:lnTo>
                  <a:pt x="1675191" y="3354436"/>
                </a:lnTo>
                <a:close/>
                <a:moveTo>
                  <a:pt x="1439893" y="3350398"/>
                </a:moveTo>
                <a:lnTo>
                  <a:pt x="1449803" y="3350398"/>
                </a:lnTo>
                <a:lnTo>
                  <a:pt x="1453823" y="3354436"/>
                </a:lnTo>
                <a:lnTo>
                  <a:pt x="1453823" y="3364306"/>
                </a:lnTo>
                <a:lnTo>
                  <a:pt x="1449803" y="3368345"/>
                </a:lnTo>
                <a:lnTo>
                  <a:pt x="1439893" y="3368345"/>
                </a:lnTo>
                <a:lnTo>
                  <a:pt x="1435875" y="3364306"/>
                </a:lnTo>
                <a:lnTo>
                  <a:pt x="1435875" y="3354436"/>
                </a:lnTo>
                <a:close/>
                <a:moveTo>
                  <a:pt x="1200578" y="3350398"/>
                </a:moveTo>
                <a:lnTo>
                  <a:pt x="1210488" y="3350398"/>
                </a:lnTo>
                <a:lnTo>
                  <a:pt x="1214507" y="3354436"/>
                </a:lnTo>
                <a:lnTo>
                  <a:pt x="1214507" y="3364306"/>
                </a:lnTo>
                <a:lnTo>
                  <a:pt x="1210488" y="3368345"/>
                </a:lnTo>
                <a:lnTo>
                  <a:pt x="1200578" y="3368345"/>
                </a:lnTo>
                <a:lnTo>
                  <a:pt x="1196559" y="3364306"/>
                </a:lnTo>
                <a:lnTo>
                  <a:pt x="1196559" y="3354436"/>
                </a:lnTo>
                <a:close/>
                <a:moveTo>
                  <a:pt x="961265" y="3350398"/>
                </a:moveTo>
                <a:lnTo>
                  <a:pt x="971176" y="3350398"/>
                </a:lnTo>
                <a:lnTo>
                  <a:pt x="975194" y="3354436"/>
                </a:lnTo>
                <a:lnTo>
                  <a:pt x="975194" y="3364306"/>
                </a:lnTo>
                <a:lnTo>
                  <a:pt x="971176" y="3368345"/>
                </a:lnTo>
                <a:lnTo>
                  <a:pt x="961265" y="3368345"/>
                </a:lnTo>
                <a:lnTo>
                  <a:pt x="957246" y="3364306"/>
                </a:lnTo>
                <a:lnTo>
                  <a:pt x="957246" y="3354436"/>
                </a:lnTo>
                <a:close/>
                <a:moveTo>
                  <a:pt x="721967" y="3350398"/>
                </a:moveTo>
                <a:lnTo>
                  <a:pt x="731877" y="3350398"/>
                </a:lnTo>
                <a:lnTo>
                  <a:pt x="735896" y="3354436"/>
                </a:lnTo>
                <a:lnTo>
                  <a:pt x="735896" y="3364306"/>
                </a:lnTo>
                <a:lnTo>
                  <a:pt x="731877" y="3368345"/>
                </a:lnTo>
                <a:lnTo>
                  <a:pt x="721967" y="3368345"/>
                </a:lnTo>
                <a:lnTo>
                  <a:pt x="717949" y="3364306"/>
                </a:lnTo>
                <a:lnTo>
                  <a:pt x="717949" y="3354436"/>
                </a:lnTo>
                <a:close/>
                <a:moveTo>
                  <a:pt x="482655" y="3350398"/>
                </a:moveTo>
                <a:lnTo>
                  <a:pt x="492565" y="3350398"/>
                </a:lnTo>
                <a:lnTo>
                  <a:pt x="496584" y="3354436"/>
                </a:lnTo>
                <a:lnTo>
                  <a:pt x="496584" y="3364306"/>
                </a:lnTo>
                <a:lnTo>
                  <a:pt x="492565" y="3368345"/>
                </a:lnTo>
                <a:lnTo>
                  <a:pt x="482655" y="3368345"/>
                </a:lnTo>
                <a:lnTo>
                  <a:pt x="478636" y="3364306"/>
                </a:lnTo>
                <a:lnTo>
                  <a:pt x="478636" y="3354436"/>
                </a:lnTo>
                <a:close/>
                <a:moveTo>
                  <a:pt x="243341" y="3350398"/>
                </a:moveTo>
                <a:lnTo>
                  <a:pt x="253252" y="3350398"/>
                </a:lnTo>
                <a:lnTo>
                  <a:pt x="257271" y="3354436"/>
                </a:lnTo>
                <a:lnTo>
                  <a:pt x="257271" y="3364306"/>
                </a:lnTo>
                <a:lnTo>
                  <a:pt x="253252" y="3368345"/>
                </a:lnTo>
                <a:lnTo>
                  <a:pt x="243341" y="3368345"/>
                </a:lnTo>
                <a:lnTo>
                  <a:pt x="239322" y="3364306"/>
                </a:lnTo>
                <a:lnTo>
                  <a:pt x="239322" y="3354436"/>
                </a:lnTo>
                <a:close/>
                <a:moveTo>
                  <a:pt x="4029" y="3350398"/>
                </a:moveTo>
                <a:lnTo>
                  <a:pt x="13938" y="3350398"/>
                </a:lnTo>
                <a:lnTo>
                  <a:pt x="17957" y="3354436"/>
                </a:lnTo>
                <a:lnTo>
                  <a:pt x="17957" y="3364306"/>
                </a:lnTo>
                <a:lnTo>
                  <a:pt x="13938" y="3368345"/>
                </a:lnTo>
                <a:lnTo>
                  <a:pt x="4029" y="3368345"/>
                </a:lnTo>
                <a:lnTo>
                  <a:pt x="9" y="3364306"/>
                </a:lnTo>
                <a:lnTo>
                  <a:pt x="9" y="3354436"/>
                </a:lnTo>
                <a:close/>
                <a:moveTo>
                  <a:pt x="2157820" y="3111118"/>
                </a:moveTo>
                <a:lnTo>
                  <a:pt x="2167731" y="3111118"/>
                </a:lnTo>
                <a:lnTo>
                  <a:pt x="2171750" y="3115157"/>
                </a:lnTo>
                <a:lnTo>
                  <a:pt x="2171750" y="3125027"/>
                </a:lnTo>
                <a:lnTo>
                  <a:pt x="2167731" y="3129066"/>
                </a:lnTo>
                <a:lnTo>
                  <a:pt x="2157820" y="3129066"/>
                </a:lnTo>
                <a:lnTo>
                  <a:pt x="2153802" y="3125027"/>
                </a:lnTo>
                <a:lnTo>
                  <a:pt x="2153802" y="3115157"/>
                </a:lnTo>
                <a:close/>
                <a:moveTo>
                  <a:pt x="1918513" y="3111118"/>
                </a:moveTo>
                <a:lnTo>
                  <a:pt x="1928422" y="3111118"/>
                </a:lnTo>
                <a:lnTo>
                  <a:pt x="1932441" y="3115157"/>
                </a:lnTo>
                <a:lnTo>
                  <a:pt x="1932441" y="3125027"/>
                </a:lnTo>
                <a:lnTo>
                  <a:pt x="1928422" y="3129066"/>
                </a:lnTo>
                <a:lnTo>
                  <a:pt x="1918513" y="3129066"/>
                </a:lnTo>
                <a:lnTo>
                  <a:pt x="1914493" y="3125027"/>
                </a:lnTo>
                <a:lnTo>
                  <a:pt x="1914493" y="3115157"/>
                </a:lnTo>
                <a:close/>
                <a:moveTo>
                  <a:pt x="1679211" y="3111118"/>
                </a:moveTo>
                <a:lnTo>
                  <a:pt x="1689121" y="3111118"/>
                </a:lnTo>
                <a:lnTo>
                  <a:pt x="1693139" y="3115157"/>
                </a:lnTo>
                <a:lnTo>
                  <a:pt x="1693139" y="3125027"/>
                </a:lnTo>
                <a:lnTo>
                  <a:pt x="1689121" y="3129066"/>
                </a:lnTo>
                <a:lnTo>
                  <a:pt x="1679211" y="3129066"/>
                </a:lnTo>
                <a:lnTo>
                  <a:pt x="1675191" y="3125027"/>
                </a:lnTo>
                <a:lnTo>
                  <a:pt x="1675191" y="3115157"/>
                </a:lnTo>
                <a:close/>
                <a:moveTo>
                  <a:pt x="1439895" y="3111118"/>
                </a:moveTo>
                <a:lnTo>
                  <a:pt x="1449805" y="3111118"/>
                </a:lnTo>
                <a:lnTo>
                  <a:pt x="1453823" y="3115157"/>
                </a:lnTo>
                <a:lnTo>
                  <a:pt x="1453823" y="3125027"/>
                </a:lnTo>
                <a:lnTo>
                  <a:pt x="1449805" y="3129066"/>
                </a:lnTo>
                <a:lnTo>
                  <a:pt x="1439895" y="3129066"/>
                </a:lnTo>
                <a:lnTo>
                  <a:pt x="1435875" y="3125027"/>
                </a:lnTo>
                <a:lnTo>
                  <a:pt x="1435875" y="3115157"/>
                </a:lnTo>
                <a:close/>
                <a:moveTo>
                  <a:pt x="1200578" y="3111118"/>
                </a:moveTo>
                <a:lnTo>
                  <a:pt x="1210489" y="3111118"/>
                </a:lnTo>
                <a:lnTo>
                  <a:pt x="1214507" y="3115157"/>
                </a:lnTo>
                <a:lnTo>
                  <a:pt x="1214507" y="3125027"/>
                </a:lnTo>
                <a:lnTo>
                  <a:pt x="1210489" y="3129066"/>
                </a:lnTo>
                <a:lnTo>
                  <a:pt x="1200578" y="3129066"/>
                </a:lnTo>
                <a:lnTo>
                  <a:pt x="1196560" y="3125027"/>
                </a:lnTo>
                <a:lnTo>
                  <a:pt x="1196560" y="3115157"/>
                </a:lnTo>
                <a:close/>
                <a:moveTo>
                  <a:pt x="961266" y="3111118"/>
                </a:moveTo>
                <a:lnTo>
                  <a:pt x="971176" y="3111118"/>
                </a:lnTo>
                <a:lnTo>
                  <a:pt x="975195" y="3115157"/>
                </a:lnTo>
                <a:lnTo>
                  <a:pt x="975195" y="3125027"/>
                </a:lnTo>
                <a:lnTo>
                  <a:pt x="971176" y="3129066"/>
                </a:lnTo>
                <a:lnTo>
                  <a:pt x="961266" y="3129066"/>
                </a:lnTo>
                <a:lnTo>
                  <a:pt x="957247" y="3125027"/>
                </a:lnTo>
                <a:lnTo>
                  <a:pt x="957247" y="3115157"/>
                </a:lnTo>
                <a:close/>
                <a:moveTo>
                  <a:pt x="9572438" y="3111067"/>
                </a:moveTo>
                <a:lnTo>
                  <a:pt x="9582349" y="3111067"/>
                </a:lnTo>
                <a:lnTo>
                  <a:pt x="9586368" y="3115105"/>
                </a:lnTo>
                <a:lnTo>
                  <a:pt x="9586368" y="3124976"/>
                </a:lnTo>
                <a:lnTo>
                  <a:pt x="9582349" y="3129015"/>
                </a:lnTo>
                <a:lnTo>
                  <a:pt x="9572438" y="3129015"/>
                </a:lnTo>
                <a:lnTo>
                  <a:pt x="9568419" y="3124976"/>
                </a:lnTo>
                <a:lnTo>
                  <a:pt x="9568419" y="3115105"/>
                </a:lnTo>
                <a:close/>
                <a:moveTo>
                  <a:pt x="9333125" y="3111067"/>
                </a:moveTo>
                <a:lnTo>
                  <a:pt x="9343036" y="3111067"/>
                </a:lnTo>
                <a:lnTo>
                  <a:pt x="9347055" y="3115105"/>
                </a:lnTo>
                <a:lnTo>
                  <a:pt x="9347055" y="3124976"/>
                </a:lnTo>
                <a:lnTo>
                  <a:pt x="9343036" y="3129015"/>
                </a:lnTo>
                <a:lnTo>
                  <a:pt x="9333125" y="3129015"/>
                </a:lnTo>
                <a:lnTo>
                  <a:pt x="9329106" y="3124976"/>
                </a:lnTo>
                <a:lnTo>
                  <a:pt x="9329106" y="3115105"/>
                </a:lnTo>
                <a:close/>
                <a:moveTo>
                  <a:pt x="9093811" y="3111067"/>
                </a:moveTo>
                <a:lnTo>
                  <a:pt x="9103722" y="3111067"/>
                </a:lnTo>
                <a:lnTo>
                  <a:pt x="9107741" y="3115105"/>
                </a:lnTo>
                <a:lnTo>
                  <a:pt x="9107741" y="3124976"/>
                </a:lnTo>
                <a:lnTo>
                  <a:pt x="9103722" y="3129015"/>
                </a:lnTo>
                <a:lnTo>
                  <a:pt x="9093811" y="3129015"/>
                </a:lnTo>
                <a:lnTo>
                  <a:pt x="9089792" y="3124976"/>
                </a:lnTo>
                <a:lnTo>
                  <a:pt x="9089792" y="3115105"/>
                </a:lnTo>
                <a:close/>
                <a:moveTo>
                  <a:pt x="8854496" y="3111067"/>
                </a:moveTo>
                <a:lnTo>
                  <a:pt x="8864407" y="3111067"/>
                </a:lnTo>
                <a:lnTo>
                  <a:pt x="8868426" y="3115105"/>
                </a:lnTo>
                <a:lnTo>
                  <a:pt x="8868426" y="3124976"/>
                </a:lnTo>
                <a:lnTo>
                  <a:pt x="8864407" y="3129015"/>
                </a:lnTo>
                <a:lnTo>
                  <a:pt x="8854496" y="3129015"/>
                </a:lnTo>
                <a:lnTo>
                  <a:pt x="8850477" y="3124976"/>
                </a:lnTo>
                <a:lnTo>
                  <a:pt x="8850477" y="3115105"/>
                </a:lnTo>
                <a:close/>
                <a:moveTo>
                  <a:pt x="8615184" y="3111067"/>
                </a:moveTo>
                <a:lnTo>
                  <a:pt x="8625095" y="3111067"/>
                </a:lnTo>
                <a:lnTo>
                  <a:pt x="8629114" y="3115105"/>
                </a:lnTo>
                <a:lnTo>
                  <a:pt x="8629114" y="3124976"/>
                </a:lnTo>
                <a:lnTo>
                  <a:pt x="8625095" y="3129015"/>
                </a:lnTo>
                <a:lnTo>
                  <a:pt x="8615184" y="3129015"/>
                </a:lnTo>
                <a:lnTo>
                  <a:pt x="8611165" y="3124976"/>
                </a:lnTo>
                <a:lnTo>
                  <a:pt x="8611165" y="3115105"/>
                </a:lnTo>
                <a:close/>
                <a:moveTo>
                  <a:pt x="8375869" y="3111067"/>
                </a:moveTo>
                <a:lnTo>
                  <a:pt x="8385779" y="3111067"/>
                </a:lnTo>
                <a:lnTo>
                  <a:pt x="8389799" y="3115105"/>
                </a:lnTo>
                <a:lnTo>
                  <a:pt x="8389799" y="3124976"/>
                </a:lnTo>
                <a:lnTo>
                  <a:pt x="8385779" y="3129015"/>
                </a:lnTo>
                <a:lnTo>
                  <a:pt x="8375869" y="3129015"/>
                </a:lnTo>
                <a:lnTo>
                  <a:pt x="8371850" y="3124976"/>
                </a:lnTo>
                <a:lnTo>
                  <a:pt x="8371850" y="3115105"/>
                </a:lnTo>
                <a:close/>
                <a:moveTo>
                  <a:pt x="8136553" y="3111067"/>
                </a:moveTo>
                <a:lnTo>
                  <a:pt x="8146464" y="3111067"/>
                </a:lnTo>
                <a:lnTo>
                  <a:pt x="8150483" y="3115105"/>
                </a:lnTo>
                <a:lnTo>
                  <a:pt x="8150483" y="3124976"/>
                </a:lnTo>
                <a:lnTo>
                  <a:pt x="8146464" y="3129015"/>
                </a:lnTo>
                <a:lnTo>
                  <a:pt x="8136553" y="3129015"/>
                </a:lnTo>
                <a:lnTo>
                  <a:pt x="8132534" y="3124976"/>
                </a:lnTo>
                <a:lnTo>
                  <a:pt x="8132534" y="3115105"/>
                </a:lnTo>
                <a:close/>
                <a:moveTo>
                  <a:pt x="7897241" y="3111067"/>
                </a:moveTo>
                <a:lnTo>
                  <a:pt x="7907151" y="3111067"/>
                </a:lnTo>
                <a:lnTo>
                  <a:pt x="7911170" y="3115105"/>
                </a:lnTo>
                <a:lnTo>
                  <a:pt x="7911170" y="3124976"/>
                </a:lnTo>
                <a:lnTo>
                  <a:pt x="7907151" y="3129015"/>
                </a:lnTo>
                <a:lnTo>
                  <a:pt x="7897241" y="3129015"/>
                </a:lnTo>
                <a:lnTo>
                  <a:pt x="7893222" y="3124976"/>
                </a:lnTo>
                <a:lnTo>
                  <a:pt x="7893222" y="3115105"/>
                </a:lnTo>
                <a:close/>
                <a:moveTo>
                  <a:pt x="7657926" y="3111067"/>
                </a:moveTo>
                <a:lnTo>
                  <a:pt x="7667836" y="3111067"/>
                </a:lnTo>
                <a:lnTo>
                  <a:pt x="7671855" y="3115105"/>
                </a:lnTo>
                <a:lnTo>
                  <a:pt x="7671855" y="3124976"/>
                </a:lnTo>
                <a:lnTo>
                  <a:pt x="7667836" y="3129015"/>
                </a:lnTo>
                <a:lnTo>
                  <a:pt x="7657926" y="3129015"/>
                </a:lnTo>
                <a:lnTo>
                  <a:pt x="7653906" y="3124976"/>
                </a:lnTo>
                <a:lnTo>
                  <a:pt x="7653906" y="3115105"/>
                </a:lnTo>
                <a:close/>
                <a:moveTo>
                  <a:pt x="7418611" y="3111067"/>
                </a:moveTo>
                <a:lnTo>
                  <a:pt x="7428521" y="3111067"/>
                </a:lnTo>
                <a:lnTo>
                  <a:pt x="7432540" y="3115105"/>
                </a:lnTo>
                <a:lnTo>
                  <a:pt x="7432540" y="3124976"/>
                </a:lnTo>
                <a:lnTo>
                  <a:pt x="7428521" y="3129015"/>
                </a:lnTo>
                <a:lnTo>
                  <a:pt x="7418611" y="3129015"/>
                </a:lnTo>
                <a:lnTo>
                  <a:pt x="7414592" y="3124976"/>
                </a:lnTo>
                <a:lnTo>
                  <a:pt x="7414592" y="3115105"/>
                </a:lnTo>
                <a:close/>
                <a:moveTo>
                  <a:pt x="7179298" y="3111067"/>
                </a:moveTo>
                <a:lnTo>
                  <a:pt x="7189209" y="3111067"/>
                </a:lnTo>
                <a:lnTo>
                  <a:pt x="7193228" y="3115105"/>
                </a:lnTo>
                <a:lnTo>
                  <a:pt x="7193228" y="3124976"/>
                </a:lnTo>
                <a:lnTo>
                  <a:pt x="7189209" y="3129015"/>
                </a:lnTo>
                <a:lnTo>
                  <a:pt x="7179298" y="3129015"/>
                </a:lnTo>
                <a:lnTo>
                  <a:pt x="7175279" y="3124976"/>
                </a:lnTo>
                <a:lnTo>
                  <a:pt x="7175279" y="3115105"/>
                </a:lnTo>
                <a:close/>
                <a:moveTo>
                  <a:pt x="6939983" y="3111067"/>
                </a:moveTo>
                <a:lnTo>
                  <a:pt x="6949894" y="3111067"/>
                </a:lnTo>
                <a:lnTo>
                  <a:pt x="6953913" y="3115105"/>
                </a:lnTo>
                <a:lnTo>
                  <a:pt x="6953913" y="3124976"/>
                </a:lnTo>
                <a:lnTo>
                  <a:pt x="6949894" y="3129015"/>
                </a:lnTo>
                <a:lnTo>
                  <a:pt x="6939983" y="3129015"/>
                </a:lnTo>
                <a:lnTo>
                  <a:pt x="6935964" y="3124976"/>
                </a:lnTo>
                <a:lnTo>
                  <a:pt x="6935964" y="3115105"/>
                </a:lnTo>
                <a:close/>
                <a:moveTo>
                  <a:pt x="6700670" y="3111067"/>
                </a:moveTo>
                <a:lnTo>
                  <a:pt x="6710581" y="3111067"/>
                </a:lnTo>
                <a:lnTo>
                  <a:pt x="6714600" y="3115105"/>
                </a:lnTo>
                <a:lnTo>
                  <a:pt x="6714600" y="3124976"/>
                </a:lnTo>
                <a:lnTo>
                  <a:pt x="6710581" y="3129015"/>
                </a:lnTo>
                <a:lnTo>
                  <a:pt x="6700670" y="3129015"/>
                </a:lnTo>
                <a:lnTo>
                  <a:pt x="6696651" y="3124976"/>
                </a:lnTo>
                <a:lnTo>
                  <a:pt x="6696651" y="3115105"/>
                </a:lnTo>
                <a:close/>
                <a:moveTo>
                  <a:pt x="6461356" y="3111067"/>
                </a:moveTo>
                <a:lnTo>
                  <a:pt x="6471266" y="3111067"/>
                </a:lnTo>
                <a:lnTo>
                  <a:pt x="6475285" y="3115105"/>
                </a:lnTo>
                <a:lnTo>
                  <a:pt x="6475285" y="3124976"/>
                </a:lnTo>
                <a:lnTo>
                  <a:pt x="6471266" y="3129015"/>
                </a:lnTo>
                <a:lnTo>
                  <a:pt x="6461356" y="3129015"/>
                </a:lnTo>
                <a:lnTo>
                  <a:pt x="6457337" y="3124976"/>
                </a:lnTo>
                <a:lnTo>
                  <a:pt x="6457337" y="3115105"/>
                </a:lnTo>
                <a:close/>
                <a:moveTo>
                  <a:pt x="6222042" y="3111067"/>
                </a:moveTo>
                <a:lnTo>
                  <a:pt x="6231952" y="3111067"/>
                </a:lnTo>
                <a:lnTo>
                  <a:pt x="6235971" y="3115105"/>
                </a:lnTo>
                <a:lnTo>
                  <a:pt x="6235971" y="3124976"/>
                </a:lnTo>
                <a:lnTo>
                  <a:pt x="6231952" y="3129015"/>
                </a:lnTo>
                <a:lnTo>
                  <a:pt x="6222042" y="3129015"/>
                </a:lnTo>
                <a:lnTo>
                  <a:pt x="6218023" y="3124976"/>
                </a:lnTo>
                <a:lnTo>
                  <a:pt x="6218023" y="3115105"/>
                </a:lnTo>
                <a:close/>
                <a:moveTo>
                  <a:pt x="5982729" y="3111067"/>
                </a:moveTo>
                <a:lnTo>
                  <a:pt x="5992639" y="3111067"/>
                </a:lnTo>
                <a:lnTo>
                  <a:pt x="5996658" y="3115105"/>
                </a:lnTo>
                <a:lnTo>
                  <a:pt x="5996658" y="3124976"/>
                </a:lnTo>
                <a:lnTo>
                  <a:pt x="5992639" y="3129015"/>
                </a:lnTo>
                <a:lnTo>
                  <a:pt x="5982729" y="3129015"/>
                </a:lnTo>
                <a:lnTo>
                  <a:pt x="5978710" y="3124976"/>
                </a:lnTo>
                <a:lnTo>
                  <a:pt x="5978710" y="3115105"/>
                </a:lnTo>
                <a:close/>
                <a:moveTo>
                  <a:pt x="5743412" y="3111067"/>
                </a:moveTo>
                <a:lnTo>
                  <a:pt x="5753323" y="3111067"/>
                </a:lnTo>
                <a:lnTo>
                  <a:pt x="5757342" y="3115105"/>
                </a:lnTo>
                <a:lnTo>
                  <a:pt x="5757342" y="3124976"/>
                </a:lnTo>
                <a:lnTo>
                  <a:pt x="5753323" y="3129015"/>
                </a:lnTo>
                <a:lnTo>
                  <a:pt x="5743412" y="3129015"/>
                </a:lnTo>
                <a:lnTo>
                  <a:pt x="5739393" y="3124976"/>
                </a:lnTo>
                <a:lnTo>
                  <a:pt x="5739393" y="3115105"/>
                </a:lnTo>
                <a:close/>
                <a:moveTo>
                  <a:pt x="5504099" y="3111067"/>
                </a:moveTo>
                <a:lnTo>
                  <a:pt x="5514010" y="3111067"/>
                </a:lnTo>
                <a:lnTo>
                  <a:pt x="5518029" y="3115105"/>
                </a:lnTo>
                <a:lnTo>
                  <a:pt x="5518029" y="3124976"/>
                </a:lnTo>
                <a:lnTo>
                  <a:pt x="5514010" y="3129015"/>
                </a:lnTo>
                <a:lnTo>
                  <a:pt x="5504099" y="3129015"/>
                </a:lnTo>
                <a:lnTo>
                  <a:pt x="5500080" y="3124976"/>
                </a:lnTo>
                <a:lnTo>
                  <a:pt x="5500080" y="3115105"/>
                </a:lnTo>
                <a:close/>
                <a:moveTo>
                  <a:pt x="5264784" y="3111067"/>
                </a:moveTo>
                <a:lnTo>
                  <a:pt x="5274694" y="3111067"/>
                </a:lnTo>
                <a:lnTo>
                  <a:pt x="5278713" y="3115105"/>
                </a:lnTo>
                <a:lnTo>
                  <a:pt x="5278713" y="3124976"/>
                </a:lnTo>
                <a:lnTo>
                  <a:pt x="5274694" y="3129015"/>
                </a:lnTo>
                <a:lnTo>
                  <a:pt x="5264784" y="3129015"/>
                </a:lnTo>
                <a:lnTo>
                  <a:pt x="5260765" y="3124976"/>
                </a:lnTo>
                <a:lnTo>
                  <a:pt x="5260765" y="3115105"/>
                </a:lnTo>
                <a:close/>
                <a:moveTo>
                  <a:pt x="5025470" y="3111067"/>
                </a:moveTo>
                <a:lnTo>
                  <a:pt x="5035381" y="3111067"/>
                </a:lnTo>
                <a:lnTo>
                  <a:pt x="5039400" y="3115105"/>
                </a:lnTo>
                <a:lnTo>
                  <a:pt x="5039400" y="3124976"/>
                </a:lnTo>
                <a:lnTo>
                  <a:pt x="5035381" y="3129015"/>
                </a:lnTo>
                <a:lnTo>
                  <a:pt x="5025470" y="3129015"/>
                </a:lnTo>
                <a:lnTo>
                  <a:pt x="5021451" y="3124976"/>
                </a:lnTo>
                <a:lnTo>
                  <a:pt x="5021451" y="3115105"/>
                </a:lnTo>
                <a:close/>
                <a:moveTo>
                  <a:pt x="4786241" y="3111067"/>
                </a:moveTo>
                <a:lnTo>
                  <a:pt x="4796152" y="3111067"/>
                </a:lnTo>
                <a:lnTo>
                  <a:pt x="4800171" y="3115105"/>
                </a:lnTo>
                <a:lnTo>
                  <a:pt x="4800171" y="3124976"/>
                </a:lnTo>
                <a:lnTo>
                  <a:pt x="4796152" y="3129015"/>
                </a:lnTo>
                <a:lnTo>
                  <a:pt x="4786241" y="3129015"/>
                </a:lnTo>
                <a:lnTo>
                  <a:pt x="4782224" y="3124976"/>
                </a:lnTo>
                <a:lnTo>
                  <a:pt x="4782224" y="3115105"/>
                </a:lnTo>
                <a:close/>
                <a:moveTo>
                  <a:pt x="4546929" y="3111067"/>
                </a:moveTo>
                <a:lnTo>
                  <a:pt x="4556840" y="3111067"/>
                </a:lnTo>
                <a:lnTo>
                  <a:pt x="4560859" y="3115105"/>
                </a:lnTo>
                <a:lnTo>
                  <a:pt x="4560859" y="3124976"/>
                </a:lnTo>
                <a:lnTo>
                  <a:pt x="4556840" y="3129015"/>
                </a:lnTo>
                <a:lnTo>
                  <a:pt x="4546929" y="3129015"/>
                </a:lnTo>
                <a:lnTo>
                  <a:pt x="4542910" y="3124976"/>
                </a:lnTo>
                <a:lnTo>
                  <a:pt x="4542910" y="3115105"/>
                </a:lnTo>
                <a:close/>
                <a:moveTo>
                  <a:pt x="4307612" y="3111067"/>
                </a:moveTo>
                <a:lnTo>
                  <a:pt x="4317523" y="3111067"/>
                </a:lnTo>
                <a:lnTo>
                  <a:pt x="4321543" y="3115105"/>
                </a:lnTo>
                <a:lnTo>
                  <a:pt x="4321543" y="3124976"/>
                </a:lnTo>
                <a:lnTo>
                  <a:pt x="4317523" y="3129015"/>
                </a:lnTo>
                <a:lnTo>
                  <a:pt x="4307612" y="3129015"/>
                </a:lnTo>
                <a:lnTo>
                  <a:pt x="4303595" y="3124976"/>
                </a:lnTo>
                <a:lnTo>
                  <a:pt x="4303595" y="3115105"/>
                </a:lnTo>
                <a:close/>
                <a:moveTo>
                  <a:pt x="4068297" y="3111067"/>
                </a:moveTo>
                <a:lnTo>
                  <a:pt x="4078210" y="3111067"/>
                </a:lnTo>
                <a:lnTo>
                  <a:pt x="4082229" y="3115105"/>
                </a:lnTo>
                <a:lnTo>
                  <a:pt x="4082229" y="3124976"/>
                </a:lnTo>
                <a:lnTo>
                  <a:pt x="4078210" y="3129015"/>
                </a:lnTo>
                <a:lnTo>
                  <a:pt x="4068297" y="3129015"/>
                </a:lnTo>
                <a:lnTo>
                  <a:pt x="4064278" y="3124976"/>
                </a:lnTo>
                <a:lnTo>
                  <a:pt x="4064278" y="3115105"/>
                </a:lnTo>
                <a:close/>
                <a:moveTo>
                  <a:pt x="3828990" y="3111067"/>
                </a:moveTo>
                <a:lnTo>
                  <a:pt x="3838899" y="3111067"/>
                </a:lnTo>
                <a:lnTo>
                  <a:pt x="3842917" y="3115105"/>
                </a:lnTo>
                <a:lnTo>
                  <a:pt x="3842917" y="3124976"/>
                </a:lnTo>
                <a:lnTo>
                  <a:pt x="3838899" y="3129015"/>
                </a:lnTo>
                <a:lnTo>
                  <a:pt x="3828990" y="3129015"/>
                </a:lnTo>
                <a:lnTo>
                  <a:pt x="3824971" y="3124976"/>
                </a:lnTo>
                <a:lnTo>
                  <a:pt x="3824971" y="3115105"/>
                </a:lnTo>
                <a:close/>
                <a:moveTo>
                  <a:pt x="3589676" y="3111067"/>
                </a:moveTo>
                <a:lnTo>
                  <a:pt x="3599585" y="3111067"/>
                </a:lnTo>
                <a:lnTo>
                  <a:pt x="3603604" y="3115105"/>
                </a:lnTo>
                <a:lnTo>
                  <a:pt x="3603604" y="3124976"/>
                </a:lnTo>
                <a:lnTo>
                  <a:pt x="3599585" y="3129015"/>
                </a:lnTo>
                <a:lnTo>
                  <a:pt x="3589676" y="3129015"/>
                </a:lnTo>
                <a:lnTo>
                  <a:pt x="3585657" y="3124976"/>
                </a:lnTo>
                <a:lnTo>
                  <a:pt x="3585657" y="3115105"/>
                </a:lnTo>
                <a:close/>
                <a:moveTo>
                  <a:pt x="3350359" y="3111067"/>
                </a:moveTo>
                <a:lnTo>
                  <a:pt x="3360268" y="3111067"/>
                </a:lnTo>
                <a:lnTo>
                  <a:pt x="3364287" y="3115105"/>
                </a:lnTo>
                <a:lnTo>
                  <a:pt x="3364287" y="3124976"/>
                </a:lnTo>
                <a:lnTo>
                  <a:pt x="3360268" y="3129015"/>
                </a:lnTo>
                <a:lnTo>
                  <a:pt x="3350359" y="3129015"/>
                </a:lnTo>
                <a:lnTo>
                  <a:pt x="3346340" y="3124976"/>
                </a:lnTo>
                <a:lnTo>
                  <a:pt x="3346340" y="3115105"/>
                </a:lnTo>
                <a:close/>
                <a:moveTo>
                  <a:pt x="3111048" y="3111067"/>
                </a:moveTo>
                <a:lnTo>
                  <a:pt x="3120959" y="3111067"/>
                </a:lnTo>
                <a:lnTo>
                  <a:pt x="3124977" y="3115105"/>
                </a:lnTo>
                <a:lnTo>
                  <a:pt x="3124977" y="3124976"/>
                </a:lnTo>
                <a:lnTo>
                  <a:pt x="3120959" y="3129015"/>
                </a:lnTo>
                <a:lnTo>
                  <a:pt x="3111048" y="3129015"/>
                </a:lnTo>
                <a:lnTo>
                  <a:pt x="3107029" y="3124976"/>
                </a:lnTo>
                <a:lnTo>
                  <a:pt x="3107029" y="3115105"/>
                </a:lnTo>
                <a:close/>
                <a:moveTo>
                  <a:pt x="2871737" y="3111067"/>
                </a:moveTo>
                <a:lnTo>
                  <a:pt x="2881646" y="3111067"/>
                </a:lnTo>
                <a:lnTo>
                  <a:pt x="2885666" y="3115105"/>
                </a:lnTo>
                <a:lnTo>
                  <a:pt x="2885666" y="3124976"/>
                </a:lnTo>
                <a:lnTo>
                  <a:pt x="2881646" y="3129015"/>
                </a:lnTo>
                <a:lnTo>
                  <a:pt x="2871737" y="3129015"/>
                </a:lnTo>
                <a:lnTo>
                  <a:pt x="2867717" y="3124976"/>
                </a:lnTo>
                <a:lnTo>
                  <a:pt x="2867717" y="3115105"/>
                </a:lnTo>
                <a:close/>
                <a:moveTo>
                  <a:pt x="2632423" y="3111067"/>
                </a:moveTo>
                <a:lnTo>
                  <a:pt x="2642334" y="3111067"/>
                </a:lnTo>
                <a:lnTo>
                  <a:pt x="2646352" y="3115105"/>
                </a:lnTo>
                <a:lnTo>
                  <a:pt x="2646352" y="3124976"/>
                </a:lnTo>
                <a:lnTo>
                  <a:pt x="2642334" y="3129015"/>
                </a:lnTo>
                <a:lnTo>
                  <a:pt x="2632423" y="3129015"/>
                </a:lnTo>
                <a:lnTo>
                  <a:pt x="2628404" y="3124976"/>
                </a:lnTo>
                <a:lnTo>
                  <a:pt x="2628404" y="3115105"/>
                </a:lnTo>
                <a:close/>
                <a:moveTo>
                  <a:pt x="2393104" y="3111067"/>
                </a:moveTo>
                <a:lnTo>
                  <a:pt x="2403015" y="3111067"/>
                </a:lnTo>
                <a:lnTo>
                  <a:pt x="2407034" y="3115105"/>
                </a:lnTo>
                <a:lnTo>
                  <a:pt x="2407034" y="3124976"/>
                </a:lnTo>
                <a:lnTo>
                  <a:pt x="2403015" y="3129015"/>
                </a:lnTo>
                <a:lnTo>
                  <a:pt x="2393104" y="3129015"/>
                </a:lnTo>
                <a:lnTo>
                  <a:pt x="2389087" y="3124976"/>
                </a:lnTo>
                <a:lnTo>
                  <a:pt x="2389087" y="3115105"/>
                </a:lnTo>
                <a:close/>
                <a:moveTo>
                  <a:pt x="721968" y="3111067"/>
                </a:moveTo>
                <a:lnTo>
                  <a:pt x="731878" y="3111067"/>
                </a:lnTo>
                <a:lnTo>
                  <a:pt x="735897" y="3115105"/>
                </a:lnTo>
                <a:lnTo>
                  <a:pt x="735897" y="3124976"/>
                </a:lnTo>
                <a:lnTo>
                  <a:pt x="731878" y="3129015"/>
                </a:lnTo>
                <a:lnTo>
                  <a:pt x="721968" y="3129015"/>
                </a:lnTo>
                <a:lnTo>
                  <a:pt x="717949" y="3124976"/>
                </a:lnTo>
                <a:lnTo>
                  <a:pt x="717949" y="3115105"/>
                </a:lnTo>
                <a:close/>
                <a:moveTo>
                  <a:pt x="482656" y="3111067"/>
                </a:moveTo>
                <a:lnTo>
                  <a:pt x="492566" y="3111067"/>
                </a:lnTo>
                <a:lnTo>
                  <a:pt x="496585" y="3115105"/>
                </a:lnTo>
                <a:lnTo>
                  <a:pt x="496585" y="3124976"/>
                </a:lnTo>
                <a:lnTo>
                  <a:pt x="492566" y="3129015"/>
                </a:lnTo>
                <a:lnTo>
                  <a:pt x="482656" y="3129015"/>
                </a:lnTo>
                <a:lnTo>
                  <a:pt x="478637" y="3124976"/>
                </a:lnTo>
                <a:lnTo>
                  <a:pt x="478637" y="3115105"/>
                </a:lnTo>
                <a:close/>
                <a:moveTo>
                  <a:pt x="243342" y="3111067"/>
                </a:moveTo>
                <a:lnTo>
                  <a:pt x="253252" y="3111067"/>
                </a:lnTo>
                <a:lnTo>
                  <a:pt x="257271" y="3115105"/>
                </a:lnTo>
                <a:lnTo>
                  <a:pt x="257271" y="3124976"/>
                </a:lnTo>
                <a:lnTo>
                  <a:pt x="253252" y="3129015"/>
                </a:lnTo>
                <a:lnTo>
                  <a:pt x="243342" y="3129015"/>
                </a:lnTo>
                <a:lnTo>
                  <a:pt x="239323" y="3124976"/>
                </a:lnTo>
                <a:lnTo>
                  <a:pt x="239323" y="3115105"/>
                </a:lnTo>
                <a:close/>
                <a:moveTo>
                  <a:pt x="4029" y="3111067"/>
                </a:moveTo>
                <a:lnTo>
                  <a:pt x="13939" y="3111067"/>
                </a:lnTo>
                <a:lnTo>
                  <a:pt x="17959" y="3115105"/>
                </a:lnTo>
                <a:lnTo>
                  <a:pt x="17959" y="3124976"/>
                </a:lnTo>
                <a:lnTo>
                  <a:pt x="13939" y="3129015"/>
                </a:lnTo>
                <a:lnTo>
                  <a:pt x="4029" y="3129015"/>
                </a:lnTo>
                <a:lnTo>
                  <a:pt x="10" y="3124976"/>
                </a:lnTo>
                <a:lnTo>
                  <a:pt x="10" y="3115105"/>
                </a:lnTo>
                <a:close/>
                <a:moveTo>
                  <a:pt x="2157820" y="2871788"/>
                </a:moveTo>
                <a:lnTo>
                  <a:pt x="2167732" y="2871788"/>
                </a:lnTo>
                <a:lnTo>
                  <a:pt x="2171750" y="2875826"/>
                </a:lnTo>
                <a:lnTo>
                  <a:pt x="2171750" y="2885696"/>
                </a:lnTo>
                <a:lnTo>
                  <a:pt x="2167732" y="2889735"/>
                </a:lnTo>
                <a:lnTo>
                  <a:pt x="2157820" y="2889735"/>
                </a:lnTo>
                <a:lnTo>
                  <a:pt x="2153802" y="2885696"/>
                </a:lnTo>
                <a:lnTo>
                  <a:pt x="2153802" y="2875826"/>
                </a:lnTo>
                <a:close/>
                <a:moveTo>
                  <a:pt x="1918513" y="2871788"/>
                </a:moveTo>
                <a:lnTo>
                  <a:pt x="1928422" y="2871788"/>
                </a:lnTo>
                <a:lnTo>
                  <a:pt x="1932441" y="2875826"/>
                </a:lnTo>
                <a:lnTo>
                  <a:pt x="1932441" y="2885696"/>
                </a:lnTo>
                <a:lnTo>
                  <a:pt x="1928422" y="2889735"/>
                </a:lnTo>
                <a:lnTo>
                  <a:pt x="1918513" y="2889735"/>
                </a:lnTo>
                <a:lnTo>
                  <a:pt x="1914493" y="2885696"/>
                </a:lnTo>
                <a:lnTo>
                  <a:pt x="1914493" y="2875826"/>
                </a:lnTo>
                <a:close/>
                <a:moveTo>
                  <a:pt x="1679211" y="2871788"/>
                </a:moveTo>
                <a:lnTo>
                  <a:pt x="1689121" y="2871788"/>
                </a:lnTo>
                <a:lnTo>
                  <a:pt x="1693141" y="2875826"/>
                </a:lnTo>
                <a:lnTo>
                  <a:pt x="1693141" y="2885696"/>
                </a:lnTo>
                <a:lnTo>
                  <a:pt x="1689121" y="2889735"/>
                </a:lnTo>
                <a:lnTo>
                  <a:pt x="1679211" y="2889735"/>
                </a:lnTo>
                <a:lnTo>
                  <a:pt x="1675193" y="2885696"/>
                </a:lnTo>
                <a:lnTo>
                  <a:pt x="1675193" y="2875826"/>
                </a:lnTo>
                <a:close/>
                <a:moveTo>
                  <a:pt x="1439895" y="2871788"/>
                </a:moveTo>
                <a:lnTo>
                  <a:pt x="1449805" y="2871788"/>
                </a:lnTo>
                <a:lnTo>
                  <a:pt x="1453824" y="2875826"/>
                </a:lnTo>
                <a:lnTo>
                  <a:pt x="1453824" y="2885696"/>
                </a:lnTo>
                <a:lnTo>
                  <a:pt x="1449805" y="2889735"/>
                </a:lnTo>
                <a:lnTo>
                  <a:pt x="1439895" y="2889735"/>
                </a:lnTo>
                <a:lnTo>
                  <a:pt x="1435876" y="2885696"/>
                </a:lnTo>
                <a:lnTo>
                  <a:pt x="1435876" y="2875826"/>
                </a:lnTo>
                <a:close/>
                <a:moveTo>
                  <a:pt x="1200579" y="2871788"/>
                </a:moveTo>
                <a:lnTo>
                  <a:pt x="1210489" y="2871788"/>
                </a:lnTo>
                <a:lnTo>
                  <a:pt x="1214509" y="2875826"/>
                </a:lnTo>
                <a:lnTo>
                  <a:pt x="1214509" y="2885696"/>
                </a:lnTo>
                <a:lnTo>
                  <a:pt x="1210489" y="2889735"/>
                </a:lnTo>
                <a:lnTo>
                  <a:pt x="1200579" y="2889735"/>
                </a:lnTo>
                <a:lnTo>
                  <a:pt x="1196560" y="2885696"/>
                </a:lnTo>
                <a:lnTo>
                  <a:pt x="1196560" y="2875826"/>
                </a:lnTo>
                <a:close/>
                <a:moveTo>
                  <a:pt x="961267" y="2871788"/>
                </a:moveTo>
                <a:lnTo>
                  <a:pt x="971177" y="2871788"/>
                </a:lnTo>
                <a:lnTo>
                  <a:pt x="975195" y="2875826"/>
                </a:lnTo>
                <a:lnTo>
                  <a:pt x="975195" y="2885696"/>
                </a:lnTo>
                <a:lnTo>
                  <a:pt x="971177" y="2889735"/>
                </a:lnTo>
                <a:lnTo>
                  <a:pt x="961267" y="2889735"/>
                </a:lnTo>
                <a:lnTo>
                  <a:pt x="957247" y="2885696"/>
                </a:lnTo>
                <a:lnTo>
                  <a:pt x="957247" y="2875826"/>
                </a:lnTo>
                <a:close/>
                <a:moveTo>
                  <a:pt x="9572438" y="2871736"/>
                </a:moveTo>
                <a:lnTo>
                  <a:pt x="9582349" y="2871736"/>
                </a:lnTo>
                <a:lnTo>
                  <a:pt x="9586368" y="2875775"/>
                </a:lnTo>
                <a:lnTo>
                  <a:pt x="9586368" y="2885645"/>
                </a:lnTo>
                <a:lnTo>
                  <a:pt x="9582349" y="2889684"/>
                </a:lnTo>
                <a:lnTo>
                  <a:pt x="9572438" y="2889684"/>
                </a:lnTo>
                <a:lnTo>
                  <a:pt x="9568419" y="2885645"/>
                </a:lnTo>
                <a:lnTo>
                  <a:pt x="9568419" y="2875775"/>
                </a:lnTo>
                <a:close/>
                <a:moveTo>
                  <a:pt x="9333125" y="2871736"/>
                </a:moveTo>
                <a:lnTo>
                  <a:pt x="9343036" y="2871736"/>
                </a:lnTo>
                <a:lnTo>
                  <a:pt x="9347055" y="2875775"/>
                </a:lnTo>
                <a:lnTo>
                  <a:pt x="9347055" y="2885645"/>
                </a:lnTo>
                <a:lnTo>
                  <a:pt x="9343036" y="2889684"/>
                </a:lnTo>
                <a:lnTo>
                  <a:pt x="9333125" y="2889684"/>
                </a:lnTo>
                <a:lnTo>
                  <a:pt x="9329106" y="2885645"/>
                </a:lnTo>
                <a:lnTo>
                  <a:pt x="9329106" y="2875775"/>
                </a:lnTo>
                <a:close/>
                <a:moveTo>
                  <a:pt x="9093811" y="2871736"/>
                </a:moveTo>
                <a:lnTo>
                  <a:pt x="9103722" y="2871736"/>
                </a:lnTo>
                <a:lnTo>
                  <a:pt x="9107741" y="2875775"/>
                </a:lnTo>
                <a:lnTo>
                  <a:pt x="9107741" y="2885645"/>
                </a:lnTo>
                <a:lnTo>
                  <a:pt x="9103722" y="2889684"/>
                </a:lnTo>
                <a:lnTo>
                  <a:pt x="9093811" y="2889684"/>
                </a:lnTo>
                <a:lnTo>
                  <a:pt x="9089792" y="2885645"/>
                </a:lnTo>
                <a:lnTo>
                  <a:pt x="9089792" y="2875775"/>
                </a:lnTo>
                <a:close/>
                <a:moveTo>
                  <a:pt x="8854496" y="2871736"/>
                </a:moveTo>
                <a:lnTo>
                  <a:pt x="8864407" y="2871736"/>
                </a:lnTo>
                <a:lnTo>
                  <a:pt x="8868426" y="2875775"/>
                </a:lnTo>
                <a:lnTo>
                  <a:pt x="8868426" y="2885645"/>
                </a:lnTo>
                <a:lnTo>
                  <a:pt x="8864407" y="2889684"/>
                </a:lnTo>
                <a:lnTo>
                  <a:pt x="8854496" y="2889684"/>
                </a:lnTo>
                <a:lnTo>
                  <a:pt x="8850477" y="2885645"/>
                </a:lnTo>
                <a:lnTo>
                  <a:pt x="8850477" y="2875775"/>
                </a:lnTo>
                <a:close/>
                <a:moveTo>
                  <a:pt x="8615184" y="2871736"/>
                </a:moveTo>
                <a:lnTo>
                  <a:pt x="8625095" y="2871736"/>
                </a:lnTo>
                <a:lnTo>
                  <a:pt x="8629114" y="2875775"/>
                </a:lnTo>
                <a:lnTo>
                  <a:pt x="8629114" y="2885645"/>
                </a:lnTo>
                <a:lnTo>
                  <a:pt x="8625095" y="2889684"/>
                </a:lnTo>
                <a:lnTo>
                  <a:pt x="8615184" y="2889684"/>
                </a:lnTo>
                <a:lnTo>
                  <a:pt x="8611165" y="2885645"/>
                </a:lnTo>
                <a:lnTo>
                  <a:pt x="8611165" y="2875775"/>
                </a:lnTo>
                <a:close/>
                <a:moveTo>
                  <a:pt x="8375869" y="2871736"/>
                </a:moveTo>
                <a:lnTo>
                  <a:pt x="8385779" y="2871736"/>
                </a:lnTo>
                <a:lnTo>
                  <a:pt x="8389799" y="2875775"/>
                </a:lnTo>
                <a:lnTo>
                  <a:pt x="8389799" y="2885645"/>
                </a:lnTo>
                <a:lnTo>
                  <a:pt x="8385779" y="2889684"/>
                </a:lnTo>
                <a:lnTo>
                  <a:pt x="8375869" y="2889684"/>
                </a:lnTo>
                <a:lnTo>
                  <a:pt x="8371850" y="2885645"/>
                </a:lnTo>
                <a:lnTo>
                  <a:pt x="8371850" y="2875775"/>
                </a:lnTo>
                <a:close/>
                <a:moveTo>
                  <a:pt x="8136553" y="2871736"/>
                </a:moveTo>
                <a:lnTo>
                  <a:pt x="8146464" y="2871736"/>
                </a:lnTo>
                <a:lnTo>
                  <a:pt x="8150483" y="2875775"/>
                </a:lnTo>
                <a:lnTo>
                  <a:pt x="8150483" y="2885645"/>
                </a:lnTo>
                <a:lnTo>
                  <a:pt x="8146464" y="2889684"/>
                </a:lnTo>
                <a:lnTo>
                  <a:pt x="8136553" y="2889684"/>
                </a:lnTo>
                <a:lnTo>
                  <a:pt x="8132534" y="2885645"/>
                </a:lnTo>
                <a:lnTo>
                  <a:pt x="8132534" y="2875775"/>
                </a:lnTo>
                <a:close/>
                <a:moveTo>
                  <a:pt x="7897241" y="2871736"/>
                </a:moveTo>
                <a:lnTo>
                  <a:pt x="7907151" y="2871736"/>
                </a:lnTo>
                <a:lnTo>
                  <a:pt x="7911170" y="2875775"/>
                </a:lnTo>
                <a:lnTo>
                  <a:pt x="7911170" y="2885645"/>
                </a:lnTo>
                <a:lnTo>
                  <a:pt x="7907151" y="2889684"/>
                </a:lnTo>
                <a:lnTo>
                  <a:pt x="7897241" y="2889684"/>
                </a:lnTo>
                <a:lnTo>
                  <a:pt x="7893222" y="2885645"/>
                </a:lnTo>
                <a:lnTo>
                  <a:pt x="7893222" y="2875775"/>
                </a:lnTo>
                <a:close/>
                <a:moveTo>
                  <a:pt x="7657926" y="2871736"/>
                </a:moveTo>
                <a:lnTo>
                  <a:pt x="7667836" y="2871736"/>
                </a:lnTo>
                <a:lnTo>
                  <a:pt x="7671855" y="2875775"/>
                </a:lnTo>
                <a:lnTo>
                  <a:pt x="7671855" y="2885645"/>
                </a:lnTo>
                <a:lnTo>
                  <a:pt x="7667836" y="2889684"/>
                </a:lnTo>
                <a:lnTo>
                  <a:pt x="7657926" y="2889684"/>
                </a:lnTo>
                <a:lnTo>
                  <a:pt x="7653906" y="2885645"/>
                </a:lnTo>
                <a:lnTo>
                  <a:pt x="7653906" y="2875775"/>
                </a:lnTo>
                <a:close/>
                <a:moveTo>
                  <a:pt x="7418611" y="2871736"/>
                </a:moveTo>
                <a:lnTo>
                  <a:pt x="7428521" y="2871736"/>
                </a:lnTo>
                <a:lnTo>
                  <a:pt x="7432540" y="2875775"/>
                </a:lnTo>
                <a:lnTo>
                  <a:pt x="7432540" y="2885645"/>
                </a:lnTo>
                <a:lnTo>
                  <a:pt x="7428521" y="2889684"/>
                </a:lnTo>
                <a:lnTo>
                  <a:pt x="7418611" y="2889684"/>
                </a:lnTo>
                <a:lnTo>
                  <a:pt x="7414592" y="2885645"/>
                </a:lnTo>
                <a:lnTo>
                  <a:pt x="7414592" y="2875775"/>
                </a:lnTo>
                <a:close/>
                <a:moveTo>
                  <a:pt x="7179298" y="2871736"/>
                </a:moveTo>
                <a:lnTo>
                  <a:pt x="7189209" y="2871736"/>
                </a:lnTo>
                <a:lnTo>
                  <a:pt x="7193228" y="2875775"/>
                </a:lnTo>
                <a:lnTo>
                  <a:pt x="7193228" y="2885645"/>
                </a:lnTo>
                <a:lnTo>
                  <a:pt x="7189209" y="2889684"/>
                </a:lnTo>
                <a:lnTo>
                  <a:pt x="7179298" y="2889684"/>
                </a:lnTo>
                <a:lnTo>
                  <a:pt x="7175279" y="2885645"/>
                </a:lnTo>
                <a:lnTo>
                  <a:pt x="7175279" y="2875775"/>
                </a:lnTo>
                <a:close/>
                <a:moveTo>
                  <a:pt x="6939983" y="2871736"/>
                </a:moveTo>
                <a:lnTo>
                  <a:pt x="6949894" y="2871736"/>
                </a:lnTo>
                <a:lnTo>
                  <a:pt x="6953913" y="2875775"/>
                </a:lnTo>
                <a:lnTo>
                  <a:pt x="6953913" y="2885645"/>
                </a:lnTo>
                <a:lnTo>
                  <a:pt x="6949894" y="2889684"/>
                </a:lnTo>
                <a:lnTo>
                  <a:pt x="6939983" y="2889684"/>
                </a:lnTo>
                <a:lnTo>
                  <a:pt x="6935964" y="2885645"/>
                </a:lnTo>
                <a:lnTo>
                  <a:pt x="6935964" y="2875775"/>
                </a:lnTo>
                <a:close/>
                <a:moveTo>
                  <a:pt x="6700670" y="2871736"/>
                </a:moveTo>
                <a:lnTo>
                  <a:pt x="6710581" y="2871736"/>
                </a:lnTo>
                <a:lnTo>
                  <a:pt x="6714600" y="2875775"/>
                </a:lnTo>
                <a:lnTo>
                  <a:pt x="6714600" y="2885645"/>
                </a:lnTo>
                <a:lnTo>
                  <a:pt x="6710581" y="2889684"/>
                </a:lnTo>
                <a:lnTo>
                  <a:pt x="6700670" y="2889684"/>
                </a:lnTo>
                <a:lnTo>
                  <a:pt x="6696651" y="2885645"/>
                </a:lnTo>
                <a:lnTo>
                  <a:pt x="6696651" y="2875775"/>
                </a:lnTo>
                <a:close/>
                <a:moveTo>
                  <a:pt x="6461356" y="2871736"/>
                </a:moveTo>
                <a:lnTo>
                  <a:pt x="6471266" y="2871736"/>
                </a:lnTo>
                <a:lnTo>
                  <a:pt x="6475285" y="2875775"/>
                </a:lnTo>
                <a:lnTo>
                  <a:pt x="6475285" y="2885645"/>
                </a:lnTo>
                <a:lnTo>
                  <a:pt x="6471266" y="2889684"/>
                </a:lnTo>
                <a:lnTo>
                  <a:pt x="6461356" y="2889684"/>
                </a:lnTo>
                <a:lnTo>
                  <a:pt x="6457337" y="2885645"/>
                </a:lnTo>
                <a:lnTo>
                  <a:pt x="6457337" y="2875775"/>
                </a:lnTo>
                <a:close/>
                <a:moveTo>
                  <a:pt x="6222042" y="2871736"/>
                </a:moveTo>
                <a:lnTo>
                  <a:pt x="6231952" y="2871736"/>
                </a:lnTo>
                <a:lnTo>
                  <a:pt x="6235971" y="2875775"/>
                </a:lnTo>
                <a:lnTo>
                  <a:pt x="6235971" y="2885645"/>
                </a:lnTo>
                <a:lnTo>
                  <a:pt x="6231952" y="2889684"/>
                </a:lnTo>
                <a:lnTo>
                  <a:pt x="6222042" y="2889684"/>
                </a:lnTo>
                <a:lnTo>
                  <a:pt x="6218023" y="2885645"/>
                </a:lnTo>
                <a:lnTo>
                  <a:pt x="6218023" y="2875775"/>
                </a:lnTo>
                <a:close/>
                <a:moveTo>
                  <a:pt x="5982729" y="2871736"/>
                </a:moveTo>
                <a:lnTo>
                  <a:pt x="5992639" y="2871736"/>
                </a:lnTo>
                <a:lnTo>
                  <a:pt x="5996658" y="2875775"/>
                </a:lnTo>
                <a:lnTo>
                  <a:pt x="5996658" y="2885645"/>
                </a:lnTo>
                <a:lnTo>
                  <a:pt x="5992639" y="2889684"/>
                </a:lnTo>
                <a:lnTo>
                  <a:pt x="5982729" y="2889684"/>
                </a:lnTo>
                <a:lnTo>
                  <a:pt x="5978710" y="2885645"/>
                </a:lnTo>
                <a:lnTo>
                  <a:pt x="5978710" y="2875775"/>
                </a:lnTo>
                <a:close/>
                <a:moveTo>
                  <a:pt x="5743412" y="2871736"/>
                </a:moveTo>
                <a:lnTo>
                  <a:pt x="5753323" y="2871736"/>
                </a:lnTo>
                <a:lnTo>
                  <a:pt x="5757342" y="2875775"/>
                </a:lnTo>
                <a:lnTo>
                  <a:pt x="5757342" y="2885645"/>
                </a:lnTo>
                <a:lnTo>
                  <a:pt x="5753323" y="2889684"/>
                </a:lnTo>
                <a:lnTo>
                  <a:pt x="5743412" y="2889684"/>
                </a:lnTo>
                <a:lnTo>
                  <a:pt x="5739393" y="2885645"/>
                </a:lnTo>
                <a:lnTo>
                  <a:pt x="5739393" y="2875775"/>
                </a:lnTo>
                <a:close/>
                <a:moveTo>
                  <a:pt x="5504099" y="2871736"/>
                </a:moveTo>
                <a:lnTo>
                  <a:pt x="5514010" y="2871736"/>
                </a:lnTo>
                <a:lnTo>
                  <a:pt x="5518029" y="2875775"/>
                </a:lnTo>
                <a:lnTo>
                  <a:pt x="5518029" y="2885645"/>
                </a:lnTo>
                <a:lnTo>
                  <a:pt x="5514010" y="2889684"/>
                </a:lnTo>
                <a:lnTo>
                  <a:pt x="5504099" y="2889684"/>
                </a:lnTo>
                <a:lnTo>
                  <a:pt x="5500080" y="2885645"/>
                </a:lnTo>
                <a:lnTo>
                  <a:pt x="5500080" y="2875775"/>
                </a:lnTo>
                <a:close/>
                <a:moveTo>
                  <a:pt x="5264784" y="2871736"/>
                </a:moveTo>
                <a:lnTo>
                  <a:pt x="5274694" y="2871736"/>
                </a:lnTo>
                <a:lnTo>
                  <a:pt x="5278713" y="2875775"/>
                </a:lnTo>
                <a:lnTo>
                  <a:pt x="5278713" y="2885645"/>
                </a:lnTo>
                <a:lnTo>
                  <a:pt x="5274694" y="2889684"/>
                </a:lnTo>
                <a:lnTo>
                  <a:pt x="5264784" y="2889684"/>
                </a:lnTo>
                <a:lnTo>
                  <a:pt x="5260765" y="2885645"/>
                </a:lnTo>
                <a:lnTo>
                  <a:pt x="5260765" y="2875775"/>
                </a:lnTo>
                <a:close/>
                <a:moveTo>
                  <a:pt x="5025470" y="2871736"/>
                </a:moveTo>
                <a:lnTo>
                  <a:pt x="5035381" y="2871736"/>
                </a:lnTo>
                <a:lnTo>
                  <a:pt x="5039400" y="2875775"/>
                </a:lnTo>
                <a:lnTo>
                  <a:pt x="5039400" y="2885645"/>
                </a:lnTo>
                <a:lnTo>
                  <a:pt x="5035381" y="2889684"/>
                </a:lnTo>
                <a:lnTo>
                  <a:pt x="5025470" y="2889684"/>
                </a:lnTo>
                <a:lnTo>
                  <a:pt x="5021451" y="2885645"/>
                </a:lnTo>
                <a:lnTo>
                  <a:pt x="5021451" y="2875775"/>
                </a:lnTo>
                <a:close/>
                <a:moveTo>
                  <a:pt x="4786241" y="2871736"/>
                </a:moveTo>
                <a:lnTo>
                  <a:pt x="4796152" y="2871736"/>
                </a:lnTo>
                <a:lnTo>
                  <a:pt x="4800171" y="2875775"/>
                </a:lnTo>
                <a:lnTo>
                  <a:pt x="4800171" y="2885645"/>
                </a:lnTo>
                <a:lnTo>
                  <a:pt x="4796152" y="2889684"/>
                </a:lnTo>
                <a:lnTo>
                  <a:pt x="4786241" y="2889684"/>
                </a:lnTo>
                <a:lnTo>
                  <a:pt x="4782224" y="2885645"/>
                </a:lnTo>
                <a:lnTo>
                  <a:pt x="4782224" y="2875775"/>
                </a:lnTo>
                <a:close/>
                <a:moveTo>
                  <a:pt x="4546929" y="2871736"/>
                </a:moveTo>
                <a:lnTo>
                  <a:pt x="4556840" y="2871736"/>
                </a:lnTo>
                <a:lnTo>
                  <a:pt x="4560859" y="2875775"/>
                </a:lnTo>
                <a:lnTo>
                  <a:pt x="4560859" y="2885645"/>
                </a:lnTo>
                <a:lnTo>
                  <a:pt x="4556840" y="2889684"/>
                </a:lnTo>
                <a:lnTo>
                  <a:pt x="4546929" y="2889684"/>
                </a:lnTo>
                <a:lnTo>
                  <a:pt x="4542910" y="2885645"/>
                </a:lnTo>
                <a:lnTo>
                  <a:pt x="4542910" y="2875775"/>
                </a:lnTo>
                <a:close/>
                <a:moveTo>
                  <a:pt x="4307612" y="2871736"/>
                </a:moveTo>
                <a:lnTo>
                  <a:pt x="4317523" y="2871736"/>
                </a:lnTo>
                <a:lnTo>
                  <a:pt x="4321543" y="2875775"/>
                </a:lnTo>
                <a:lnTo>
                  <a:pt x="4321543" y="2885645"/>
                </a:lnTo>
                <a:lnTo>
                  <a:pt x="4317523" y="2889684"/>
                </a:lnTo>
                <a:lnTo>
                  <a:pt x="4307612" y="2889684"/>
                </a:lnTo>
                <a:lnTo>
                  <a:pt x="4303595" y="2885645"/>
                </a:lnTo>
                <a:lnTo>
                  <a:pt x="4303595" y="2875775"/>
                </a:lnTo>
                <a:close/>
                <a:moveTo>
                  <a:pt x="4068297" y="2871736"/>
                </a:moveTo>
                <a:lnTo>
                  <a:pt x="4078210" y="2871736"/>
                </a:lnTo>
                <a:lnTo>
                  <a:pt x="4082229" y="2875775"/>
                </a:lnTo>
                <a:lnTo>
                  <a:pt x="4082229" y="2885645"/>
                </a:lnTo>
                <a:lnTo>
                  <a:pt x="4078210" y="2889684"/>
                </a:lnTo>
                <a:lnTo>
                  <a:pt x="4068297" y="2889684"/>
                </a:lnTo>
                <a:lnTo>
                  <a:pt x="4064278" y="2885645"/>
                </a:lnTo>
                <a:lnTo>
                  <a:pt x="4064278" y="2875775"/>
                </a:lnTo>
                <a:close/>
                <a:moveTo>
                  <a:pt x="3828990" y="2871736"/>
                </a:moveTo>
                <a:lnTo>
                  <a:pt x="3838899" y="2871736"/>
                </a:lnTo>
                <a:lnTo>
                  <a:pt x="3842917" y="2875775"/>
                </a:lnTo>
                <a:lnTo>
                  <a:pt x="3842917" y="2885645"/>
                </a:lnTo>
                <a:lnTo>
                  <a:pt x="3838899" y="2889684"/>
                </a:lnTo>
                <a:lnTo>
                  <a:pt x="3828990" y="2889684"/>
                </a:lnTo>
                <a:lnTo>
                  <a:pt x="3824971" y="2885645"/>
                </a:lnTo>
                <a:lnTo>
                  <a:pt x="3824971" y="2875775"/>
                </a:lnTo>
                <a:close/>
                <a:moveTo>
                  <a:pt x="3589676" y="2871736"/>
                </a:moveTo>
                <a:lnTo>
                  <a:pt x="3599585" y="2871736"/>
                </a:lnTo>
                <a:lnTo>
                  <a:pt x="3603604" y="2875775"/>
                </a:lnTo>
                <a:lnTo>
                  <a:pt x="3603604" y="2885645"/>
                </a:lnTo>
                <a:lnTo>
                  <a:pt x="3599585" y="2889684"/>
                </a:lnTo>
                <a:lnTo>
                  <a:pt x="3589676" y="2889684"/>
                </a:lnTo>
                <a:lnTo>
                  <a:pt x="3585657" y="2885645"/>
                </a:lnTo>
                <a:lnTo>
                  <a:pt x="3585657" y="2875775"/>
                </a:lnTo>
                <a:close/>
                <a:moveTo>
                  <a:pt x="3350359" y="2871736"/>
                </a:moveTo>
                <a:lnTo>
                  <a:pt x="3360268" y="2871736"/>
                </a:lnTo>
                <a:lnTo>
                  <a:pt x="3364287" y="2875775"/>
                </a:lnTo>
                <a:lnTo>
                  <a:pt x="3364287" y="2885645"/>
                </a:lnTo>
                <a:lnTo>
                  <a:pt x="3360268" y="2889684"/>
                </a:lnTo>
                <a:lnTo>
                  <a:pt x="3350359" y="2889684"/>
                </a:lnTo>
                <a:lnTo>
                  <a:pt x="3346340" y="2885645"/>
                </a:lnTo>
                <a:lnTo>
                  <a:pt x="3346340" y="2875775"/>
                </a:lnTo>
                <a:close/>
                <a:moveTo>
                  <a:pt x="3111048" y="2871736"/>
                </a:moveTo>
                <a:lnTo>
                  <a:pt x="3120959" y="2871736"/>
                </a:lnTo>
                <a:lnTo>
                  <a:pt x="3124977" y="2875775"/>
                </a:lnTo>
                <a:lnTo>
                  <a:pt x="3124977" y="2885645"/>
                </a:lnTo>
                <a:lnTo>
                  <a:pt x="3120959" y="2889684"/>
                </a:lnTo>
                <a:lnTo>
                  <a:pt x="3111048" y="2889684"/>
                </a:lnTo>
                <a:lnTo>
                  <a:pt x="3107029" y="2885645"/>
                </a:lnTo>
                <a:lnTo>
                  <a:pt x="3107029" y="2875775"/>
                </a:lnTo>
                <a:close/>
                <a:moveTo>
                  <a:pt x="2871737" y="2871736"/>
                </a:moveTo>
                <a:lnTo>
                  <a:pt x="2881646" y="2871736"/>
                </a:lnTo>
                <a:lnTo>
                  <a:pt x="2885666" y="2875775"/>
                </a:lnTo>
                <a:lnTo>
                  <a:pt x="2885666" y="2885645"/>
                </a:lnTo>
                <a:lnTo>
                  <a:pt x="2881646" y="2889684"/>
                </a:lnTo>
                <a:lnTo>
                  <a:pt x="2871737" y="2889684"/>
                </a:lnTo>
                <a:lnTo>
                  <a:pt x="2867717" y="2885645"/>
                </a:lnTo>
                <a:lnTo>
                  <a:pt x="2867717" y="2875775"/>
                </a:lnTo>
                <a:close/>
                <a:moveTo>
                  <a:pt x="2632423" y="2871736"/>
                </a:moveTo>
                <a:lnTo>
                  <a:pt x="2642334" y="2871736"/>
                </a:lnTo>
                <a:lnTo>
                  <a:pt x="2646352" y="2875775"/>
                </a:lnTo>
                <a:lnTo>
                  <a:pt x="2646352" y="2885645"/>
                </a:lnTo>
                <a:lnTo>
                  <a:pt x="2642334" y="2889684"/>
                </a:lnTo>
                <a:lnTo>
                  <a:pt x="2632423" y="2889684"/>
                </a:lnTo>
                <a:lnTo>
                  <a:pt x="2628404" y="2885645"/>
                </a:lnTo>
                <a:lnTo>
                  <a:pt x="2628404" y="2875775"/>
                </a:lnTo>
                <a:close/>
                <a:moveTo>
                  <a:pt x="2393104" y="2871736"/>
                </a:moveTo>
                <a:lnTo>
                  <a:pt x="2403015" y="2871736"/>
                </a:lnTo>
                <a:lnTo>
                  <a:pt x="2407034" y="2875775"/>
                </a:lnTo>
                <a:lnTo>
                  <a:pt x="2407034" y="2885645"/>
                </a:lnTo>
                <a:lnTo>
                  <a:pt x="2403015" y="2889684"/>
                </a:lnTo>
                <a:lnTo>
                  <a:pt x="2393104" y="2889684"/>
                </a:lnTo>
                <a:lnTo>
                  <a:pt x="2389087" y="2885645"/>
                </a:lnTo>
                <a:lnTo>
                  <a:pt x="2389087" y="2875775"/>
                </a:lnTo>
                <a:close/>
                <a:moveTo>
                  <a:pt x="721969" y="2871736"/>
                </a:moveTo>
                <a:lnTo>
                  <a:pt x="731879" y="2871736"/>
                </a:lnTo>
                <a:lnTo>
                  <a:pt x="735898" y="2875775"/>
                </a:lnTo>
                <a:lnTo>
                  <a:pt x="735898" y="2885645"/>
                </a:lnTo>
                <a:lnTo>
                  <a:pt x="731879" y="2889684"/>
                </a:lnTo>
                <a:lnTo>
                  <a:pt x="721969" y="2889684"/>
                </a:lnTo>
                <a:lnTo>
                  <a:pt x="717950" y="2885645"/>
                </a:lnTo>
                <a:lnTo>
                  <a:pt x="717950" y="2875775"/>
                </a:lnTo>
                <a:close/>
                <a:moveTo>
                  <a:pt x="482656" y="2871736"/>
                </a:moveTo>
                <a:lnTo>
                  <a:pt x="492567" y="2871736"/>
                </a:lnTo>
                <a:lnTo>
                  <a:pt x="496586" y="2875775"/>
                </a:lnTo>
                <a:lnTo>
                  <a:pt x="496586" y="2885645"/>
                </a:lnTo>
                <a:lnTo>
                  <a:pt x="492567" y="2889684"/>
                </a:lnTo>
                <a:lnTo>
                  <a:pt x="482656" y="2889684"/>
                </a:lnTo>
                <a:lnTo>
                  <a:pt x="478637" y="2885645"/>
                </a:lnTo>
                <a:lnTo>
                  <a:pt x="478637" y="2875775"/>
                </a:lnTo>
                <a:close/>
                <a:moveTo>
                  <a:pt x="243343" y="2871736"/>
                </a:moveTo>
                <a:lnTo>
                  <a:pt x="253253" y="2871736"/>
                </a:lnTo>
                <a:lnTo>
                  <a:pt x="257272" y="2875775"/>
                </a:lnTo>
                <a:lnTo>
                  <a:pt x="257272" y="2885645"/>
                </a:lnTo>
                <a:lnTo>
                  <a:pt x="253253" y="2889684"/>
                </a:lnTo>
                <a:lnTo>
                  <a:pt x="243343" y="2889684"/>
                </a:lnTo>
                <a:lnTo>
                  <a:pt x="239324" y="2885645"/>
                </a:lnTo>
                <a:lnTo>
                  <a:pt x="239324" y="2875775"/>
                </a:lnTo>
                <a:close/>
                <a:moveTo>
                  <a:pt x="4030" y="2871736"/>
                </a:moveTo>
                <a:lnTo>
                  <a:pt x="13940" y="2871736"/>
                </a:lnTo>
                <a:lnTo>
                  <a:pt x="17959" y="2875775"/>
                </a:lnTo>
                <a:lnTo>
                  <a:pt x="17959" y="2885645"/>
                </a:lnTo>
                <a:lnTo>
                  <a:pt x="13940" y="2889684"/>
                </a:lnTo>
                <a:lnTo>
                  <a:pt x="4030" y="2889684"/>
                </a:lnTo>
                <a:lnTo>
                  <a:pt x="11" y="2885645"/>
                </a:lnTo>
                <a:lnTo>
                  <a:pt x="11" y="2875775"/>
                </a:lnTo>
                <a:close/>
                <a:moveTo>
                  <a:pt x="9572438" y="2632457"/>
                </a:moveTo>
                <a:lnTo>
                  <a:pt x="9582349" y="2632457"/>
                </a:lnTo>
                <a:lnTo>
                  <a:pt x="9586368" y="2636496"/>
                </a:lnTo>
                <a:lnTo>
                  <a:pt x="9586368" y="2646366"/>
                </a:lnTo>
                <a:lnTo>
                  <a:pt x="9582349" y="2650405"/>
                </a:lnTo>
                <a:lnTo>
                  <a:pt x="9572438" y="2650405"/>
                </a:lnTo>
                <a:lnTo>
                  <a:pt x="9568419" y="2646366"/>
                </a:lnTo>
                <a:lnTo>
                  <a:pt x="9568419" y="2636496"/>
                </a:lnTo>
                <a:close/>
                <a:moveTo>
                  <a:pt x="9333125" y="2632457"/>
                </a:moveTo>
                <a:lnTo>
                  <a:pt x="9343036" y="2632457"/>
                </a:lnTo>
                <a:lnTo>
                  <a:pt x="9347055" y="2636496"/>
                </a:lnTo>
                <a:lnTo>
                  <a:pt x="9347055" y="2646366"/>
                </a:lnTo>
                <a:lnTo>
                  <a:pt x="9343036" y="2650405"/>
                </a:lnTo>
                <a:lnTo>
                  <a:pt x="9333125" y="2650405"/>
                </a:lnTo>
                <a:lnTo>
                  <a:pt x="9329106" y="2646366"/>
                </a:lnTo>
                <a:lnTo>
                  <a:pt x="9329106" y="2636496"/>
                </a:lnTo>
                <a:close/>
                <a:moveTo>
                  <a:pt x="9093811" y="2632457"/>
                </a:moveTo>
                <a:lnTo>
                  <a:pt x="9103722" y="2632457"/>
                </a:lnTo>
                <a:lnTo>
                  <a:pt x="9107741" y="2636496"/>
                </a:lnTo>
                <a:lnTo>
                  <a:pt x="9107741" y="2646366"/>
                </a:lnTo>
                <a:lnTo>
                  <a:pt x="9103722" y="2650405"/>
                </a:lnTo>
                <a:lnTo>
                  <a:pt x="9093811" y="2650405"/>
                </a:lnTo>
                <a:lnTo>
                  <a:pt x="9089792" y="2646366"/>
                </a:lnTo>
                <a:lnTo>
                  <a:pt x="9089792" y="2636496"/>
                </a:lnTo>
                <a:close/>
                <a:moveTo>
                  <a:pt x="8854496" y="2632457"/>
                </a:moveTo>
                <a:lnTo>
                  <a:pt x="8864407" y="2632457"/>
                </a:lnTo>
                <a:lnTo>
                  <a:pt x="8868426" y="2636496"/>
                </a:lnTo>
                <a:lnTo>
                  <a:pt x="8868426" y="2646366"/>
                </a:lnTo>
                <a:lnTo>
                  <a:pt x="8864407" y="2650405"/>
                </a:lnTo>
                <a:lnTo>
                  <a:pt x="8854496" y="2650405"/>
                </a:lnTo>
                <a:lnTo>
                  <a:pt x="8850477" y="2646366"/>
                </a:lnTo>
                <a:lnTo>
                  <a:pt x="8850477" y="2636496"/>
                </a:lnTo>
                <a:close/>
                <a:moveTo>
                  <a:pt x="8615184" y="2632457"/>
                </a:moveTo>
                <a:lnTo>
                  <a:pt x="8625095" y="2632457"/>
                </a:lnTo>
                <a:lnTo>
                  <a:pt x="8629114" y="2636496"/>
                </a:lnTo>
                <a:lnTo>
                  <a:pt x="8629114" y="2646366"/>
                </a:lnTo>
                <a:lnTo>
                  <a:pt x="8625095" y="2650405"/>
                </a:lnTo>
                <a:lnTo>
                  <a:pt x="8615184" y="2650405"/>
                </a:lnTo>
                <a:lnTo>
                  <a:pt x="8611165" y="2646366"/>
                </a:lnTo>
                <a:lnTo>
                  <a:pt x="8611165" y="2636496"/>
                </a:lnTo>
                <a:close/>
                <a:moveTo>
                  <a:pt x="8375869" y="2632457"/>
                </a:moveTo>
                <a:lnTo>
                  <a:pt x="8385779" y="2632457"/>
                </a:lnTo>
                <a:lnTo>
                  <a:pt x="8389799" y="2636496"/>
                </a:lnTo>
                <a:lnTo>
                  <a:pt x="8389799" y="2646366"/>
                </a:lnTo>
                <a:lnTo>
                  <a:pt x="8385779" y="2650405"/>
                </a:lnTo>
                <a:lnTo>
                  <a:pt x="8375869" y="2650405"/>
                </a:lnTo>
                <a:lnTo>
                  <a:pt x="8371850" y="2646366"/>
                </a:lnTo>
                <a:lnTo>
                  <a:pt x="8371850" y="2636496"/>
                </a:lnTo>
                <a:close/>
                <a:moveTo>
                  <a:pt x="8136553" y="2632457"/>
                </a:moveTo>
                <a:lnTo>
                  <a:pt x="8146464" y="2632457"/>
                </a:lnTo>
                <a:lnTo>
                  <a:pt x="8150483" y="2636496"/>
                </a:lnTo>
                <a:lnTo>
                  <a:pt x="8150483" y="2646366"/>
                </a:lnTo>
                <a:lnTo>
                  <a:pt x="8146464" y="2650405"/>
                </a:lnTo>
                <a:lnTo>
                  <a:pt x="8136553" y="2650405"/>
                </a:lnTo>
                <a:lnTo>
                  <a:pt x="8132534" y="2646366"/>
                </a:lnTo>
                <a:lnTo>
                  <a:pt x="8132534" y="2636496"/>
                </a:lnTo>
                <a:close/>
                <a:moveTo>
                  <a:pt x="7897241" y="2632457"/>
                </a:moveTo>
                <a:lnTo>
                  <a:pt x="7907151" y="2632457"/>
                </a:lnTo>
                <a:lnTo>
                  <a:pt x="7911170" y="2636496"/>
                </a:lnTo>
                <a:lnTo>
                  <a:pt x="7911170" y="2646366"/>
                </a:lnTo>
                <a:lnTo>
                  <a:pt x="7907151" y="2650405"/>
                </a:lnTo>
                <a:lnTo>
                  <a:pt x="7897241" y="2650405"/>
                </a:lnTo>
                <a:lnTo>
                  <a:pt x="7893222" y="2646366"/>
                </a:lnTo>
                <a:lnTo>
                  <a:pt x="7893222" y="2636496"/>
                </a:lnTo>
                <a:close/>
                <a:moveTo>
                  <a:pt x="7657926" y="2632457"/>
                </a:moveTo>
                <a:lnTo>
                  <a:pt x="7667836" y="2632457"/>
                </a:lnTo>
                <a:lnTo>
                  <a:pt x="7671855" y="2636496"/>
                </a:lnTo>
                <a:lnTo>
                  <a:pt x="7671855" y="2646366"/>
                </a:lnTo>
                <a:lnTo>
                  <a:pt x="7667836" y="2650405"/>
                </a:lnTo>
                <a:lnTo>
                  <a:pt x="7657926" y="2650405"/>
                </a:lnTo>
                <a:lnTo>
                  <a:pt x="7653906" y="2646366"/>
                </a:lnTo>
                <a:lnTo>
                  <a:pt x="7653906" y="2636496"/>
                </a:lnTo>
                <a:close/>
                <a:moveTo>
                  <a:pt x="7418611" y="2632457"/>
                </a:moveTo>
                <a:lnTo>
                  <a:pt x="7428521" y="2632457"/>
                </a:lnTo>
                <a:lnTo>
                  <a:pt x="7432540" y="2636496"/>
                </a:lnTo>
                <a:lnTo>
                  <a:pt x="7432540" y="2646366"/>
                </a:lnTo>
                <a:lnTo>
                  <a:pt x="7428521" y="2650405"/>
                </a:lnTo>
                <a:lnTo>
                  <a:pt x="7418611" y="2650405"/>
                </a:lnTo>
                <a:lnTo>
                  <a:pt x="7414592" y="2646366"/>
                </a:lnTo>
                <a:lnTo>
                  <a:pt x="7414592" y="2636496"/>
                </a:lnTo>
                <a:close/>
                <a:moveTo>
                  <a:pt x="7179298" y="2632457"/>
                </a:moveTo>
                <a:lnTo>
                  <a:pt x="7189209" y="2632457"/>
                </a:lnTo>
                <a:lnTo>
                  <a:pt x="7193228" y="2636496"/>
                </a:lnTo>
                <a:lnTo>
                  <a:pt x="7193228" y="2646366"/>
                </a:lnTo>
                <a:lnTo>
                  <a:pt x="7189209" y="2650405"/>
                </a:lnTo>
                <a:lnTo>
                  <a:pt x="7179298" y="2650405"/>
                </a:lnTo>
                <a:lnTo>
                  <a:pt x="7175279" y="2646366"/>
                </a:lnTo>
                <a:lnTo>
                  <a:pt x="7175279" y="2636496"/>
                </a:lnTo>
                <a:close/>
                <a:moveTo>
                  <a:pt x="6939983" y="2632457"/>
                </a:moveTo>
                <a:lnTo>
                  <a:pt x="6949894" y="2632457"/>
                </a:lnTo>
                <a:lnTo>
                  <a:pt x="6953913" y="2636496"/>
                </a:lnTo>
                <a:lnTo>
                  <a:pt x="6953913" y="2646366"/>
                </a:lnTo>
                <a:lnTo>
                  <a:pt x="6949894" y="2650405"/>
                </a:lnTo>
                <a:lnTo>
                  <a:pt x="6939983" y="2650405"/>
                </a:lnTo>
                <a:lnTo>
                  <a:pt x="6935964" y="2646366"/>
                </a:lnTo>
                <a:lnTo>
                  <a:pt x="6935964" y="2636496"/>
                </a:lnTo>
                <a:close/>
                <a:moveTo>
                  <a:pt x="6700670" y="2632457"/>
                </a:moveTo>
                <a:lnTo>
                  <a:pt x="6710581" y="2632457"/>
                </a:lnTo>
                <a:lnTo>
                  <a:pt x="6714600" y="2636496"/>
                </a:lnTo>
                <a:lnTo>
                  <a:pt x="6714600" y="2646366"/>
                </a:lnTo>
                <a:lnTo>
                  <a:pt x="6710581" y="2650405"/>
                </a:lnTo>
                <a:lnTo>
                  <a:pt x="6700670" y="2650405"/>
                </a:lnTo>
                <a:lnTo>
                  <a:pt x="6696651" y="2646366"/>
                </a:lnTo>
                <a:lnTo>
                  <a:pt x="6696651" y="2636496"/>
                </a:lnTo>
                <a:close/>
                <a:moveTo>
                  <a:pt x="6461356" y="2632457"/>
                </a:moveTo>
                <a:lnTo>
                  <a:pt x="6471266" y="2632457"/>
                </a:lnTo>
                <a:lnTo>
                  <a:pt x="6475285" y="2636496"/>
                </a:lnTo>
                <a:lnTo>
                  <a:pt x="6475285" y="2646366"/>
                </a:lnTo>
                <a:lnTo>
                  <a:pt x="6471266" y="2650405"/>
                </a:lnTo>
                <a:lnTo>
                  <a:pt x="6461356" y="2650405"/>
                </a:lnTo>
                <a:lnTo>
                  <a:pt x="6457337" y="2646366"/>
                </a:lnTo>
                <a:lnTo>
                  <a:pt x="6457337" y="2636496"/>
                </a:lnTo>
                <a:close/>
                <a:moveTo>
                  <a:pt x="6222042" y="2632457"/>
                </a:moveTo>
                <a:lnTo>
                  <a:pt x="6231952" y="2632457"/>
                </a:lnTo>
                <a:lnTo>
                  <a:pt x="6235971" y="2636496"/>
                </a:lnTo>
                <a:lnTo>
                  <a:pt x="6235971" y="2646366"/>
                </a:lnTo>
                <a:lnTo>
                  <a:pt x="6231952" y="2650405"/>
                </a:lnTo>
                <a:lnTo>
                  <a:pt x="6222042" y="2650405"/>
                </a:lnTo>
                <a:lnTo>
                  <a:pt x="6218023" y="2646366"/>
                </a:lnTo>
                <a:lnTo>
                  <a:pt x="6218023" y="2636496"/>
                </a:lnTo>
                <a:close/>
                <a:moveTo>
                  <a:pt x="5982729" y="2632457"/>
                </a:moveTo>
                <a:lnTo>
                  <a:pt x="5992639" y="2632457"/>
                </a:lnTo>
                <a:lnTo>
                  <a:pt x="5996658" y="2636496"/>
                </a:lnTo>
                <a:lnTo>
                  <a:pt x="5996658" y="2646366"/>
                </a:lnTo>
                <a:lnTo>
                  <a:pt x="5992639" y="2650405"/>
                </a:lnTo>
                <a:lnTo>
                  <a:pt x="5982729" y="2650405"/>
                </a:lnTo>
                <a:lnTo>
                  <a:pt x="5978710" y="2646366"/>
                </a:lnTo>
                <a:lnTo>
                  <a:pt x="5978710" y="2636496"/>
                </a:lnTo>
                <a:close/>
                <a:moveTo>
                  <a:pt x="5743412" y="2632457"/>
                </a:moveTo>
                <a:lnTo>
                  <a:pt x="5753323" y="2632457"/>
                </a:lnTo>
                <a:lnTo>
                  <a:pt x="5757342" y="2636496"/>
                </a:lnTo>
                <a:lnTo>
                  <a:pt x="5757342" y="2646366"/>
                </a:lnTo>
                <a:lnTo>
                  <a:pt x="5753323" y="2650405"/>
                </a:lnTo>
                <a:lnTo>
                  <a:pt x="5743412" y="2650405"/>
                </a:lnTo>
                <a:lnTo>
                  <a:pt x="5739393" y="2646366"/>
                </a:lnTo>
                <a:lnTo>
                  <a:pt x="5739393" y="2636496"/>
                </a:lnTo>
                <a:close/>
                <a:moveTo>
                  <a:pt x="5504099" y="2632457"/>
                </a:moveTo>
                <a:lnTo>
                  <a:pt x="5514010" y="2632457"/>
                </a:lnTo>
                <a:lnTo>
                  <a:pt x="5518029" y="2636496"/>
                </a:lnTo>
                <a:lnTo>
                  <a:pt x="5518029" y="2646366"/>
                </a:lnTo>
                <a:lnTo>
                  <a:pt x="5514010" y="2650405"/>
                </a:lnTo>
                <a:lnTo>
                  <a:pt x="5504099" y="2650405"/>
                </a:lnTo>
                <a:lnTo>
                  <a:pt x="5500080" y="2646366"/>
                </a:lnTo>
                <a:lnTo>
                  <a:pt x="5500080" y="2636496"/>
                </a:lnTo>
                <a:close/>
                <a:moveTo>
                  <a:pt x="5264784" y="2632457"/>
                </a:moveTo>
                <a:lnTo>
                  <a:pt x="5274694" y="2632457"/>
                </a:lnTo>
                <a:lnTo>
                  <a:pt x="5278713" y="2636496"/>
                </a:lnTo>
                <a:lnTo>
                  <a:pt x="5278713" y="2646366"/>
                </a:lnTo>
                <a:lnTo>
                  <a:pt x="5274694" y="2650405"/>
                </a:lnTo>
                <a:lnTo>
                  <a:pt x="5264784" y="2650405"/>
                </a:lnTo>
                <a:lnTo>
                  <a:pt x="5260765" y="2646366"/>
                </a:lnTo>
                <a:lnTo>
                  <a:pt x="5260765" y="2636496"/>
                </a:lnTo>
                <a:close/>
                <a:moveTo>
                  <a:pt x="5025470" y="2632457"/>
                </a:moveTo>
                <a:lnTo>
                  <a:pt x="5035381" y="2632457"/>
                </a:lnTo>
                <a:lnTo>
                  <a:pt x="5039400" y="2636496"/>
                </a:lnTo>
                <a:lnTo>
                  <a:pt x="5039400" y="2646366"/>
                </a:lnTo>
                <a:lnTo>
                  <a:pt x="5035381" y="2650405"/>
                </a:lnTo>
                <a:lnTo>
                  <a:pt x="5025470" y="2650405"/>
                </a:lnTo>
                <a:lnTo>
                  <a:pt x="5021451" y="2646366"/>
                </a:lnTo>
                <a:lnTo>
                  <a:pt x="5021451" y="2636496"/>
                </a:lnTo>
                <a:close/>
                <a:moveTo>
                  <a:pt x="4786241" y="2632457"/>
                </a:moveTo>
                <a:lnTo>
                  <a:pt x="4796152" y="2632457"/>
                </a:lnTo>
                <a:lnTo>
                  <a:pt x="4800171" y="2636496"/>
                </a:lnTo>
                <a:lnTo>
                  <a:pt x="4800171" y="2646366"/>
                </a:lnTo>
                <a:lnTo>
                  <a:pt x="4796152" y="2650405"/>
                </a:lnTo>
                <a:lnTo>
                  <a:pt x="4786241" y="2650405"/>
                </a:lnTo>
                <a:lnTo>
                  <a:pt x="4782224" y="2646366"/>
                </a:lnTo>
                <a:lnTo>
                  <a:pt x="4782224" y="2636496"/>
                </a:lnTo>
                <a:close/>
                <a:moveTo>
                  <a:pt x="4546929" y="2632457"/>
                </a:moveTo>
                <a:lnTo>
                  <a:pt x="4556840" y="2632457"/>
                </a:lnTo>
                <a:lnTo>
                  <a:pt x="4560859" y="2636496"/>
                </a:lnTo>
                <a:lnTo>
                  <a:pt x="4560859" y="2646366"/>
                </a:lnTo>
                <a:lnTo>
                  <a:pt x="4556840" y="2650405"/>
                </a:lnTo>
                <a:lnTo>
                  <a:pt x="4546929" y="2650405"/>
                </a:lnTo>
                <a:lnTo>
                  <a:pt x="4542910" y="2646366"/>
                </a:lnTo>
                <a:lnTo>
                  <a:pt x="4542910" y="2636496"/>
                </a:lnTo>
                <a:close/>
                <a:moveTo>
                  <a:pt x="4307612" y="2632457"/>
                </a:moveTo>
                <a:lnTo>
                  <a:pt x="4317523" y="2632457"/>
                </a:lnTo>
                <a:lnTo>
                  <a:pt x="4321543" y="2636496"/>
                </a:lnTo>
                <a:lnTo>
                  <a:pt x="4321543" y="2646366"/>
                </a:lnTo>
                <a:lnTo>
                  <a:pt x="4317523" y="2650405"/>
                </a:lnTo>
                <a:lnTo>
                  <a:pt x="4307612" y="2650405"/>
                </a:lnTo>
                <a:lnTo>
                  <a:pt x="4303595" y="2646366"/>
                </a:lnTo>
                <a:lnTo>
                  <a:pt x="4303595" y="2636496"/>
                </a:lnTo>
                <a:close/>
                <a:moveTo>
                  <a:pt x="4068297" y="2632457"/>
                </a:moveTo>
                <a:lnTo>
                  <a:pt x="4078210" y="2632457"/>
                </a:lnTo>
                <a:lnTo>
                  <a:pt x="4082229" y="2636496"/>
                </a:lnTo>
                <a:lnTo>
                  <a:pt x="4082229" y="2646366"/>
                </a:lnTo>
                <a:lnTo>
                  <a:pt x="4078210" y="2650405"/>
                </a:lnTo>
                <a:lnTo>
                  <a:pt x="4068297" y="2650405"/>
                </a:lnTo>
                <a:lnTo>
                  <a:pt x="4064278" y="2646366"/>
                </a:lnTo>
                <a:lnTo>
                  <a:pt x="4064278" y="2636496"/>
                </a:lnTo>
                <a:close/>
                <a:moveTo>
                  <a:pt x="3828990" y="2632457"/>
                </a:moveTo>
                <a:lnTo>
                  <a:pt x="3838899" y="2632457"/>
                </a:lnTo>
                <a:lnTo>
                  <a:pt x="3842917" y="2636496"/>
                </a:lnTo>
                <a:lnTo>
                  <a:pt x="3842917" y="2646366"/>
                </a:lnTo>
                <a:lnTo>
                  <a:pt x="3838899" y="2650405"/>
                </a:lnTo>
                <a:lnTo>
                  <a:pt x="3828990" y="2650405"/>
                </a:lnTo>
                <a:lnTo>
                  <a:pt x="3824971" y="2646366"/>
                </a:lnTo>
                <a:lnTo>
                  <a:pt x="3824971" y="2636496"/>
                </a:lnTo>
                <a:close/>
                <a:moveTo>
                  <a:pt x="3589676" y="2632457"/>
                </a:moveTo>
                <a:lnTo>
                  <a:pt x="3599585" y="2632457"/>
                </a:lnTo>
                <a:lnTo>
                  <a:pt x="3603604" y="2636496"/>
                </a:lnTo>
                <a:lnTo>
                  <a:pt x="3603604" y="2646366"/>
                </a:lnTo>
                <a:lnTo>
                  <a:pt x="3599585" y="2650405"/>
                </a:lnTo>
                <a:lnTo>
                  <a:pt x="3589676" y="2650405"/>
                </a:lnTo>
                <a:lnTo>
                  <a:pt x="3585657" y="2646366"/>
                </a:lnTo>
                <a:lnTo>
                  <a:pt x="3585657" y="2636496"/>
                </a:lnTo>
                <a:close/>
                <a:moveTo>
                  <a:pt x="3350359" y="2632457"/>
                </a:moveTo>
                <a:lnTo>
                  <a:pt x="3360268" y="2632457"/>
                </a:lnTo>
                <a:lnTo>
                  <a:pt x="3364287" y="2636496"/>
                </a:lnTo>
                <a:lnTo>
                  <a:pt x="3364287" y="2646366"/>
                </a:lnTo>
                <a:lnTo>
                  <a:pt x="3360268" y="2650405"/>
                </a:lnTo>
                <a:lnTo>
                  <a:pt x="3350359" y="2650405"/>
                </a:lnTo>
                <a:lnTo>
                  <a:pt x="3346340" y="2646366"/>
                </a:lnTo>
                <a:lnTo>
                  <a:pt x="3346340" y="2636496"/>
                </a:lnTo>
                <a:close/>
                <a:moveTo>
                  <a:pt x="3111048" y="2632457"/>
                </a:moveTo>
                <a:lnTo>
                  <a:pt x="3120959" y="2632457"/>
                </a:lnTo>
                <a:lnTo>
                  <a:pt x="3124977" y="2636496"/>
                </a:lnTo>
                <a:lnTo>
                  <a:pt x="3124977" y="2646366"/>
                </a:lnTo>
                <a:lnTo>
                  <a:pt x="3120959" y="2650405"/>
                </a:lnTo>
                <a:lnTo>
                  <a:pt x="3111048" y="2650405"/>
                </a:lnTo>
                <a:lnTo>
                  <a:pt x="3107029" y="2646366"/>
                </a:lnTo>
                <a:lnTo>
                  <a:pt x="3107029" y="2636496"/>
                </a:lnTo>
                <a:close/>
                <a:moveTo>
                  <a:pt x="2871737" y="2632457"/>
                </a:moveTo>
                <a:lnTo>
                  <a:pt x="2881646" y="2632457"/>
                </a:lnTo>
                <a:lnTo>
                  <a:pt x="2885666" y="2636496"/>
                </a:lnTo>
                <a:lnTo>
                  <a:pt x="2885666" y="2646366"/>
                </a:lnTo>
                <a:lnTo>
                  <a:pt x="2881646" y="2650405"/>
                </a:lnTo>
                <a:lnTo>
                  <a:pt x="2871737" y="2650405"/>
                </a:lnTo>
                <a:lnTo>
                  <a:pt x="2867717" y="2646366"/>
                </a:lnTo>
                <a:lnTo>
                  <a:pt x="2867717" y="2636496"/>
                </a:lnTo>
                <a:close/>
                <a:moveTo>
                  <a:pt x="2632423" y="2632457"/>
                </a:moveTo>
                <a:lnTo>
                  <a:pt x="2642334" y="2632457"/>
                </a:lnTo>
                <a:lnTo>
                  <a:pt x="2646352" y="2636496"/>
                </a:lnTo>
                <a:lnTo>
                  <a:pt x="2646352" y="2646366"/>
                </a:lnTo>
                <a:lnTo>
                  <a:pt x="2642334" y="2650405"/>
                </a:lnTo>
                <a:lnTo>
                  <a:pt x="2632423" y="2650405"/>
                </a:lnTo>
                <a:lnTo>
                  <a:pt x="2628404" y="2646366"/>
                </a:lnTo>
                <a:lnTo>
                  <a:pt x="2628404" y="2636496"/>
                </a:lnTo>
                <a:close/>
                <a:moveTo>
                  <a:pt x="2393104" y="2632457"/>
                </a:moveTo>
                <a:lnTo>
                  <a:pt x="2403015" y="2632457"/>
                </a:lnTo>
                <a:lnTo>
                  <a:pt x="2407034" y="2636496"/>
                </a:lnTo>
                <a:lnTo>
                  <a:pt x="2407034" y="2646366"/>
                </a:lnTo>
                <a:lnTo>
                  <a:pt x="2403015" y="2650405"/>
                </a:lnTo>
                <a:lnTo>
                  <a:pt x="2393104" y="2650405"/>
                </a:lnTo>
                <a:lnTo>
                  <a:pt x="2389087" y="2646366"/>
                </a:lnTo>
                <a:lnTo>
                  <a:pt x="2389087" y="2636496"/>
                </a:lnTo>
                <a:close/>
                <a:moveTo>
                  <a:pt x="2157821" y="2632457"/>
                </a:moveTo>
                <a:lnTo>
                  <a:pt x="2167732" y="2632457"/>
                </a:lnTo>
                <a:lnTo>
                  <a:pt x="2171750" y="2636496"/>
                </a:lnTo>
                <a:lnTo>
                  <a:pt x="2171750" y="2646366"/>
                </a:lnTo>
                <a:lnTo>
                  <a:pt x="2167732" y="2650405"/>
                </a:lnTo>
                <a:lnTo>
                  <a:pt x="2157821" y="2650405"/>
                </a:lnTo>
                <a:lnTo>
                  <a:pt x="2153802" y="2646366"/>
                </a:lnTo>
                <a:lnTo>
                  <a:pt x="2153802" y="2636496"/>
                </a:lnTo>
                <a:close/>
                <a:moveTo>
                  <a:pt x="1918513" y="2632457"/>
                </a:moveTo>
                <a:lnTo>
                  <a:pt x="1928422" y="2632457"/>
                </a:lnTo>
                <a:lnTo>
                  <a:pt x="1932441" y="2636496"/>
                </a:lnTo>
                <a:lnTo>
                  <a:pt x="1932441" y="2646366"/>
                </a:lnTo>
                <a:lnTo>
                  <a:pt x="1928422" y="2650405"/>
                </a:lnTo>
                <a:lnTo>
                  <a:pt x="1918513" y="2650405"/>
                </a:lnTo>
                <a:lnTo>
                  <a:pt x="1914494" y="2646366"/>
                </a:lnTo>
                <a:lnTo>
                  <a:pt x="1914494" y="2636496"/>
                </a:lnTo>
                <a:close/>
                <a:moveTo>
                  <a:pt x="1679212" y="2632457"/>
                </a:moveTo>
                <a:lnTo>
                  <a:pt x="1689122" y="2632457"/>
                </a:lnTo>
                <a:lnTo>
                  <a:pt x="1693141" y="2636496"/>
                </a:lnTo>
                <a:lnTo>
                  <a:pt x="1693141" y="2646366"/>
                </a:lnTo>
                <a:lnTo>
                  <a:pt x="1689122" y="2650405"/>
                </a:lnTo>
                <a:lnTo>
                  <a:pt x="1679212" y="2650405"/>
                </a:lnTo>
                <a:lnTo>
                  <a:pt x="1675193" y="2646366"/>
                </a:lnTo>
                <a:lnTo>
                  <a:pt x="1675193" y="2636496"/>
                </a:lnTo>
                <a:close/>
                <a:moveTo>
                  <a:pt x="1439896" y="2632457"/>
                </a:moveTo>
                <a:lnTo>
                  <a:pt x="1449806" y="2632457"/>
                </a:lnTo>
                <a:lnTo>
                  <a:pt x="1453824" y="2636496"/>
                </a:lnTo>
                <a:lnTo>
                  <a:pt x="1453824" y="2646366"/>
                </a:lnTo>
                <a:lnTo>
                  <a:pt x="1449806" y="2650405"/>
                </a:lnTo>
                <a:lnTo>
                  <a:pt x="1439896" y="2650405"/>
                </a:lnTo>
                <a:lnTo>
                  <a:pt x="1435876" y="2646366"/>
                </a:lnTo>
                <a:lnTo>
                  <a:pt x="1435876" y="2636496"/>
                </a:lnTo>
                <a:close/>
                <a:moveTo>
                  <a:pt x="1200580" y="2632457"/>
                </a:moveTo>
                <a:lnTo>
                  <a:pt x="1210490" y="2632457"/>
                </a:lnTo>
                <a:lnTo>
                  <a:pt x="1214509" y="2636496"/>
                </a:lnTo>
                <a:lnTo>
                  <a:pt x="1214509" y="2646366"/>
                </a:lnTo>
                <a:lnTo>
                  <a:pt x="1210490" y="2650405"/>
                </a:lnTo>
                <a:lnTo>
                  <a:pt x="1200580" y="2650405"/>
                </a:lnTo>
                <a:lnTo>
                  <a:pt x="1196561" y="2646366"/>
                </a:lnTo>
                <a:lnTo>
                  <a:pt x="1196561" y="2636496"/>
                </a:lnTo>
                <a:close/>
                <a:moveTo>
                  <a:pt x="961267" y="2632457"/>
                </a:moveTo>
                <a:lnTo>
                  <a:pt x="971178" y="2632457"/>
                </a:lnTo>
                <a:lnTo>
                  <a:pt x="975196" y="2636496"/>
                </a:lnTo>
                <a:lnTo>
                  <a:pt x="975196" y="2646366"/>
                </a:lnTo>
                <a:lnTo>
                  <a:pt x="971178" y="2650405"/>
                </a:lnTo>
                <a:lnTo>
                  <a:pt x="961267" y="2650405"/>
                </a:lnTo>
                <a:lnTo>
                  <a:pt x="957249" y="2646366"/>
                </a:lnTo>
                <a:lnTo>
                  <a:pt x="957249" y="2636496"/>
                </a:lnTo>
                <a:close/>
                <a:moveTo>
                  <a:pt x="721970" y="2632457"/>
                </a:moveTo>
                <a:lnTo>
                  <a:pt x="731879" y="2632457"/>
                </a:lnTo>
                <a:lnTo>
                  <a:pt x="735898" y="2636496"/>
                </a:lnTo>
                <a:lnTo>
                  <a:pt x="735898" y="2646366"/>
                </a:lnTo>
                <a:lnTo>
                  <a:pt x="731879" y="2650405"/>
                </a:lnTo>
                <a:lnTo>
                  <a:pt x="721970" y="2650405"/>
                </a:lnTo>
                <a:lnTo>
                  <a:pt x="717951" y="2646366"/>
                </a:lnTo>
                <a:lnTo>
                  <a:pt x="717951" y="2636496"/>
                </a:lnTo>
                <a:close/>
                <a:moveTo>
                  <a:pt x="482657" y="2632457"/>
                </a:moveTo>
                <a:lnTo>
                  <a:pt x="492567" y="2632457"/>
                </a:lnTo>
                <a:lnTo>
                  <a:pt x="496586" y="2636496"/>
                </a:lnTo>
                <a:lnTo>
                  <a:pt x="496586" y="2646366"/>
                </a:lnTo>
                <a:lnTo>
                  <a:pt x="492567" y="2650405"/>
                </a:lnTo>
                <a:lnTo>
                  <a:pt x="482657" y="2650405"/>
                </a:lnTo>
                <a:lnTo>
                  <a:pt x="478638" y="2646366"/>
                </a:lnTo>
                <a:lnTo>
                  <a:pt x="478638" y="2636496"/>
                </a:lnTo>
                <a:close/>
                <a:moveTo>
                  <a:pt x="243344" y="2632457"/>
                </a:moveTo>
                <a:lnTo>
                  <a:pt x="253254" y="2632457"/>
                </a:lnTo>
                <a:lnTo>
                  <a:pt x="257273" y="2636496"/>
                </a:lnTo>
                <a:lnTo>
                  <a:pt x="257273" y="2646366"/>
                </a:lnTo>
                <a:lnTo>
                  <a:pt x="253254" y="2650405"/>
                </a:lnTo>
                <a:lnTo>
                  <a:pt x="243344" y="2650405"/>
                </a:lnTo>
                <a:lnTo>
                  <a:pt x="239325" y="2646366"/>
                </a:lnTo>
                <a:lnTo>
                  <a:pt x="239325" y="2636496"/>
                </a:lnTo>
                <a:close/>
                <a:moveTo>
                  <a:pt x="4030" y="2632457"/>
                </a:moveTo>
                <a:lnTo>
                  <a:pt x="13941" y="2632457"/>
                </a:lnTo>
                <a:lnTo>
                  <a:pt x="17960" y="2636496"/>
                </a:lnTo>
                <a:lnTo>
                  <a:pt x="17960" y="2646366"/>
                </a:lnTo>
                <a:lnTo>
                  <a:pt x="13941" y="2650405"/>
                </a:lnTo>
                <a:lnTo>
                  <a:pt x="4030" y="2650405"/>
                </a:lnTo>
                <a:lnTo>
                  <a:pt x="11" y="2646366"/>
                </a:lnTo>
                <a:lnTo>
                  <a:pt x="11" y="2636496"/>
                </a:lnTo>
                <a:close/>
                <a:moveTo>
                  <a:pt x="2157821" y="2393178"/>
                </a:moveTo>
                <a:lnTo>
                  <a:pt x="2167732" y="2393178"/>
                </a:lnTo>
                <a:lnTo>
                  <a:pt x="2171750" y="2397216"/>
                </a:lnTo>
                <a:lnTo>
                  <a:pt x="2171750" y="2407087"/>
                </a:lnTo>
                <a:lnTo>
                  <a:pt x="2167732" y="2411126"/>
                </a:lnTo>
                <a:lnTo>
                  <a:pt x="2157821" y="2411126"/>
                </a:lnTo>
                <a:lnTo>
                  <a:pt x="2153802" y="2407087"/>
                </a:lnTo>
                <a:lnTo>
                  <a:pt x="2153802" y="2397216"/>
                </a:lnTo>
                <a:close/>
                <a:moveTo>
                  <a:pt x="1918513" y="2393178"/>
                </a:moveTo>
                <a:lnTo>
                  <a:pt x="1928422" y="2393178"/>
                </a:lnTo>
                <a:lnTo>
                  <a:pt x="1932443" y="2397216"/>
                </a:lnTo>
                <a:lnTo>
                  <a:pt x="1932443" y="2407087"/>
                </a:lnTo>
                <a:lnTo>
                  <a:pt x="1928422" y="2411126"/>
                </a:lnTo>
                <a:lnTo>
                  <a:pt x="1918513" y="2411126"/>
                </a:lnTo>
                <a:lnTo>
                  <a:pt x="1914494" y="2407087"/>
                </a:lnTo>
                <a:lnTo>
                  <a:pt x="1914494" y="2397216"/>
                </a:lnTo>
                <a:close/>
                <a:moveTo>
                  <a:pt x="1679212" y="2393178"/>
                </a:moveTo>
                <a:lnTo>
                  <a:pt x="1689123" y="2393178"/>
                </a:lnTo>
                <a:lnTo>
                  <a:pt x="1693142" y="2397216"/>
                </a:lnTo>
                <a:lnTo>
                  <a:pt x="1693142" y="2407087"/>
                </a:lnTo>
                <a:lnTo>
                  <a:pt x="1689123" y="2411126"/>
                </a:lnTo>
                <a:lnTo>
                  <a:pt x="1679212" y="2411126"/>
                </a:lnTo>
                <a:lnTo>
                  <a:pt x="1675194" y="2407087"/>
                </a:lnTo>
                <a:lnTo>
                  <a:pt x="1675194" y="2397216"/>
                </a:lnTo>
                <a:close/>
                <a:moveTo>
                  <a:pt x="1439896" y="2393178"/>
                </a:moveTo>
                <a:lnTo>
                  <a:pt x="1449806" y="2393178"/>
                </a:lnTo>
                <a:lnTo>
                  <a:pt x="1453826" y="2397216"/>
                </a:lnTo>
                <a:lnTo>
                  <a:pt x="1453826" y="2407087"/>
                </a:lnTo>
                <a:lnTo>
                  <a:pt x="1449806" y="2411126"/>
                </a:lnTo>
                <a:lnTo>
                  <a:pt x="1439896" y="2411126"/>
                </a:lnTo>
                <a:lnTo>
                  <a:pt x="1435878" y="2407087"/>
                </a:lnTo>
                <a:lnTo>
                  <a:pt x="1435878" y="2397216"/>
                </a:lnTo>
                <a:close/>
                <a:moveTo>
                  <a:pt x="1200580" y="2393178"/>
                </a:moveTo>
                <a:lnTo>
                  <a:pt x="1210491" y="2393178"/>
                </a:lnTo>
                <a:lnTo>
                  <a:pt x="1214510" y="2397216"/>
                </a:lnTo>
                <a:lnTo>
                  <a:pt x="1214510" y="2407087"/>
                </a:lnTo>
                <a:lnTo>
                  <a:pt x="1210491" y="2411126"/>
                </a:lnTo>
                <a:lnTo>
                  <a:pt x="1200580" y="2411126"/>
                </a:lnTo>
                <a:lnTo>
                  <a:pt x="1196562" y="2407087"/>
                </a:lnTo>
                <a:lnTo>
                  <a:pt x="1196562" y="2397216"/>
                </a:lnTo>
                <a:close/>
                <a:moveTo>
                  <a:pt x="961268" y="2393178"/>
                </a:moveTo>
                <a:lnTo>
                  <a:pt x="971178" y="2393178"/>
                </a:lnTo>
                <a:lnTo>
                  <a:pt x="975196" y="2397216"/>
                </a:lnTo>
                <a:lnTo>
                  <a:pt x="975196" y="2407087"/>
                </a:lnTo>
                <a:lnTo>
                  <a:pt x="971178" y="2411126"/>
                </a:lnTo>
                <a:lnTo>
                  <a:pt x="961268" y="2411126"/>
                </a:lnTo>
                <a:lnTo>
                  <a:pt x="957249" y="2407087"/>
                </a:lnTo>
                <a:lnTo>
                  <a:pt x="957249" y="2397216"/>
                </a:lnTo>
                <a:close/>
                <a:moveTo>
                  <a:pt x="9572438" y="2393127"/>
                </a:moveTo>
                <a:lnTo>
                  <a:pt x="9582349" y="2393127"/>
                </a:lnTo>
                <a:lnTo>
                  <a:pt x="9586368" y="2397165"/>
                </a:lnTo>
                <a:lnTo>
                  <a:pt x="9586368" y="2407036"/>
                </a:lnTo>
                <a:lnTo>
                  <a:pt x="9582349" y="2411074"/>
                </a:lnTo>
                <a:lnTo>
                  <a:pt x="9572438" y="2411074"/>
                </a:lnTo>
                <a:lnTo>
                  <a:pt x="9568419" y="2407036"/>
                </a:lnTo>
                <a:lnTo>
                  <a:pt x="9568419" y="2397165"/>
                </a:lnTo>
                <a:close/>
                <a:moveTo>
                  <a:pt x="9333125" y="2393127"/>
                </a:moveTo>
                <a:lnTo>
                  <a:pt x="9343036" y="2393127"/>
                </a:lnTo>
                <a:lnTo>
                  <a:pt x="9347055" y="2397165"/>
                </a:lnTo>
                <a:lnTo>
                  <a:pt x="9347055" y="2407036"/>
                </a:lnTo>
                <a:lnTo>
                  <a:pt x="9343036" y="2411074"/>
                </a:lnTo>
                <a:lnTo>
                  <a:pt x="9333125" y="2411074"/>
                </a:lnTo>
                <a:lnTo>
                  <a:pt x="9329106" y="2407036"/>
                </a:lnTo>
                <a:lnTo>
                  <a:pt x="9329106" y="2397165"/>
                </a:lnTo>
                <a:close/>
                <a:moveTo>
                  <a:pt x="9093811" y="2393127"/>
                </a:moveTo>
                <a:lnTo>
                  <a:pt x="9103722" y="2393127"/>
                </a:lnTo>
                <a:lnTo>
                  <a:pt x="9107741" y="2397165"/>
                </a:lnTo>
                <a:lnTo>
                  <a:pt x="9107741" y="2407036"/>
                </a:lnTo>
                <a:lnTo>
                  <a:pt x="9103722" y="2411074"/>
                </a:lnTo>
                <a:lnTo>
                  <a:pt x="9093811" y="2411074"/>
                </a:lnTo>
                <a:lnTo>
                  <a:pt x="9089792" y="2407036"/>
                </a:lnTo>
                <a:lnTo>
                  <a:pt x="9089792" y="2397165"/>
                </a:lnTo>
                <a:close/>
                <a:moveTo>
                  <a:pt x="8854496" y="2393127"/>
                </a:moveTo>
                <a:lnTo>
                  <a:pt x="8864407" y="2393127"/>
                </a:lnTo>
                <a:lnTo>
                  <a:pt x="8868426" y="2397165"/>
                </a:lnTo>
                <a:lnTo>
                  <a:pt x="8868426" y="2407036"/>
                </a:lnTo>
                <a:lnTo>
                  <a:pt x="8864407" y="2411074"/>
                </a:lnTo>
                <a:lnTo>
                  <a:pt x="8854496" y="2411074"/>
                </a:lnTo>
                <a:lnTo>
                  <a:pt x="8850477" y="2407036"/>
                </a:lnTo>
                <a:lnTo>
                  <a:pt x="8850477" y="2397165"/>
                </a:lnTo>
                <a:close/>
                <a:moveTo>
                  <a:pt x="8615184" y="2393127"/>
                </a:moveTo>
                <a:lnTo>
                  <a:pt x="8625095" y="2393127"/>
                </a:lnTo>
                <a:lnTo>
                  <a:pt x="8629114" y="2397165"/>
                </a:lnTo>
                <a:lnTo>
                  <a:pt x="8629114" y="2407036"/>
                </a:lnTo>
                <a:lnTo>
                  <a:pt x="8625095" y="2411074"/>
                </a:lnTo>
                <a:lnTo>
                  <a:pt x="8615184" y="2411074"/>
                </a:lnTo>
                <a:lnTo>
                  <a:pt x="8611165" y="2407036"/>
                </a:lnTo>
                <a:lnTo>
                  <a:pt x="8611165" y="2397165"/>
                </a:lnTo>
                <a:close/>
                <a:moveTo>
                  <a:pt x="8375869" y="2393127"/>
                </a:moveTo>
                <a:lnTo>
                  <a:pt x="8385779" y="2393127"/>
                </a:lnTo>
                <a:lnTo>
                  <a:pt x="8389799" y="2397165"/>
                </a:lnTo>
                <a:lnTo>
                  <a:pt x="8389799" y="2407036"/>
                </a:lnTo>
                <a:lnTo>
                  <a:pt x="8385779" y="2411074"/>
                </a:lnTo>
                <a:lnTo>
                  <a:pt x="8375869" y="2411074"/>
                </a:lnTo>
                <a:lnTo>
                  <a:pt x="8371850" y="2407036"/>
                </a:lnTo>
                <a:lnTo>
                  <a:pt x="8371850" y="2397165"/>
                </a:lnTo>
                <a:close/>
                <a:moveTo>
                  <a:pt x="8136553" y="2393127"/>
                </a:moveTo>
                <a:lnTo>
                  <a:pt x="8146464" y="2393127"/>
                </a:lnTo>
                <a:lnTo>
                  <a:pt x="8150483" y="2397165"/>
                </a:lnTo>
                <a:lnTo>
                  <a:pt x="8150483" y="2407036"/>
                </a:lnTo>
                <a:lnTo>
                  <a:pt x="8146464" y="2411074"/>
                </a:lnTo>
                <a:lnTo>
                  <a:pt x="8136553" y="2411074"/>
                </a:lnTo>
                <a:lnTo>
                  <a:pt x="8132534" y="2407036"/>
                </a:lnTo>
                <a:lnTo>
                  <a:pt x="8132534" y="2397165"/>
                </a:lnTo>
                <a:close/>
                <a:moveTo>
                  <a:pt x="7897241" y="2393127"/>
                </a:moveTo>
                <a:lnTo>
                  <a:pt x="7907151" y="2393127"/>
                </a:lnTo>
                <a:lnTo>
                  <a:pt x="7911170" y="2397165"/>
                </a:lnTo>
                <a:lnTo>
                  <a:pt x="7911170" y="2407036"/>
                </a:lnTo>
                <a:lnTo>
                  <a:pt x="7907151" y="2411074"/>
                </a:lnTo>
                <a:lnTo>
                  <a:pt x="7897241" y="2411074"/>
                </a:lnTo>
                <a:lnTo>
                  <a:pt x="7893222" y="2407036"/>
                </a:lnTo>
                <a:lnTo>
                  <a:pt x="7893222" y="2397165"/>
                </a:lnTo>
                <a:close/>
                <a:moveTo>
                  <a:pt x="7657926" y="2393127"/>
                </a:moveTo>
                <a:lnTo>
                  <a:pt x="7667836" y="2393127"/>
                </a:lnTo>
                <a:lnTo>
                  <a:pt x="7671855" y="2397165"/>
                </a:lnTo>
                <a:lnTo>
                  <a:pt x="7671855" y="2407036"/>
                </a:lnTo>
                <a:lnTo>
                  <a:pt x="7667836" y="2411074"/>
                </a:lnTo>
                <a:lnTo>
                  <a:pt x="7657926" y="2411074"/>
                </a:lnTo>
                <a:lnTo>
                  <a:pt x="7653906" y="2407036"/>
                </a:lnTo>
                <a:lnTo>
                  <a:pt x="7653906" y="2397165"/>
                </a:lnTo>
                <a:close/>
                <a:moveTo>
                  <a:pt x="7418611" y="2393127"/>
                </a:moveTo>
                <a:lnTo>
                  <a:pt x="7428521" y="2393127"/>
                </a:lnTo>
                <a:lnTo>
                  <a:pt x="7432540" y="2397165"/>
                </a:lnTo>
                <a:lnTo>
                  <a:pt x="7432540" y="2407036"/>
                </a:lnTo>
                <a:lnTo>
                  <a:pt x="7428521" y="2411074"/>
                </a:lnTo>
                <a:lnTo>
                  <a:pt x="7418611" y="2411074"/>
                </a:lnTo>
                <a:lnTo>
                  <a:pt x="7414592" y="2407036"/>
                </a:lnTo>
                <a:lnTo>
                  <a:pt x="7414592" y="2397165"/>
                </a:lnTo>
                <a:close/>
                <a:moveTo>
                  <a:pt x="7179298" y="2393127"/>
                </a:moveTo>
                <a:lnTo>
                  <a:pt x="7189209" y="2393127"/>
                </a:lnTo>
                <a:lnTo>
                  <a:pt x="7193228" y="2397165"/>
                </a:lnTo>
                <a:lnTo>
                  <a:pt x="7193228" y="2407036"/>
                </a:lnTo>
                <a:lnTo>
                  <a:pt x="7189209" y="2411074"/>
                </a:lnTo>
                <a:lnTo>
                  <a:pt x="7179298" y="2411074"/>
                </a:lnTo>
                <a:lnTo>
                  <a:pt x="7175279" y="2407036"/>
                </a:lnTo>
                <a:lnTo>
                  <a:pt x="7175279" y="2397165"/>
                </a:lnTo>
                <a:close/>
                <a:moveTo>
                  <a:pt x="6939983" y="2393127"/>
                </a:moveTo>
                <a:lnTo>
                  <a:pt x="6949894" y="2393127"/>
                </a:lnTo>
                <a:lnTo>
                  <a:pt x="6953913" y="2397165"/>
                </a:lnTo>
                <a:lnTo>
                  <a:pt x="6953913" y="2407036"/>
                </a:lnTo>
                <a:lnTo>
                  <a:pt x="6949894" y="2411074"/>
                </a:lnTo>
                <a:lnTo>
                  <a:pt x="6939983" y="2411074"/>
                </a:lnTo>
                <a:lnTo>
                  <a:pt x="6935964" y="2407036"/>
                </a:lnTo>
                <a:lnTo>
                  <a:pt x="6935964" y="2397165"/>
                </a:lnTo>
                <a:close/>
                <a:moveTo>
                  <a:pt x="6700670" y="2393127"/>
                </a:moveTo>
                <a:lnTo>
                  <a:pt x="6710581" y="2393127"/>
                </a:lnTo>
                <a:lnTo>
                  <a:pt x="6714600" y="2397165"/>
                </a:lnTo>
                <a:lnTo>
                  <a:pt x="6714600" y="2407036"/>
                </a:lnTo>
                <a:lnTo>
                  <a:pt x="6710581" y="2411074"/>
                </a:lnTo>
                <a:lnTo>
                  <a:pt x="6700670" y="2411074"/>
                </a:lnTo>
                <a:lnTo>
                  <a:pt x="6696651" y="2407036"/>
                </a:lnTo>
                <a:lnTo>
                  <a:pt x="6696651" y="2397165"/>
                </a:lnTo>
                <a:close/>
                <a:moveTo>
                  <a:pt x="6461356" y="2393127"/>
                </a:moveTo>
                <a:lnTo>
                  <a:pt x="6471266" y="2393127"/>
                </a:lnTo>
                <a:lnTo>
                  <a:pt x="6475285" y="2397165"/>
                </a:lnTo>
                <a:lnTo>
                  <a:pt x="6475285" y="2407036"/>
                </a:lnTo>
                <a:lnTo>
                  <a:pt x="6471266" y="2411074"/>
                </a:lnTo>
                <a:lnTo>
                  <a:pt x="6461356" y="2411074"/>
                </a:lnTo>
                <a:lnTo>
                  <a:pt x="6457337" y="2407036"/>
                </a:lnTo>
                <a:lnTo>
                  <a:pt x="6457337" y="2397165"/>
                </a:lnTo>
                <a:close/>
                <a:moveTo>
                  <a:pt x="6222042" y="2393127"/>
                </a:moveTo>
                <a:lnTo>
                  <a:pt x="6231952" y="2393127"/>
                </a:lnTo>
                <a:lnTo>
                  <a:pt x="6235971" y="2397165"/>
                </a:lnTo>
                <a:lnTo>
                  <a:pt x="6235971" y="2407036"/>
                </a:lnTo>
                <a:lnTo>
                  <a:pt x="6231952" y="2411074"/>
                </a:lnTo>
                <a:lnTo>
                  <a:pt x="6222042" y="2411074"/>
                </a:lnTo>
                <a:lnTo>
                  <a:pt x="6218023" y="2407036"/>
                </a:lnTo>
                <a:lnTo>
                  <a:pt x="6218023" y="2397165"/>
                </a:lnTo>
                <a:close/>
                <a:moveTo>
                  <a:pt x="5982729" y="2393127"/>
                </a:moveTo>
                <a:lnTo>
                  <a:pt x="5992639" y="2393127"/>
                </a:lnTo>
                <a:lnTo>
                  <a:pt x="5996658" y="2397165"/>
                </a:lnTo>
                <a:lnTo>
                  <a:pt x="5996658" y="2407036"/>
                </a:lnTo>
                <a:lnTo>
                  <a:pt x="5992639" y="2411074"/>
                </a:lnTo>
                <a:lnTo>
                  <a:pt x="5982729" y="2411074"/>
                </a:lnTo>
                <a:lnTo>
                  <a:pt x="5978710" y="2407036"/>
                </a:lnTo>
                <a:lnTo>
                  <a:pt x="5978710" y="2397165"/>
                </a:lnTo>
                <a:close/>
                <a:moveTo>
                  <a:pt x="5743412" y="2393127"/>
                </a:moveTo>
                <a:lnTo>
                  <a:pt x="5753323" y="2393127"/>
                </a:lnTo>
                <a:lnTo>
                  <a:pt x="5757342" y="2397165"/>
                </a:lnTo>
                <a:lnTo>
                  <a:pt x="5757342" y="2407036"/>
                </a:lnTo>
                <a:lnTo>
                  <a:pt x="5753323" y="2411074"/>
                </a:lnTo>
                <a:lnTo>
                  <a:pt x="5743412" y="2411074"/>
                </a:lnTo>
                <a:lnTo>
                  <a:pt x="5739393" y="2407036"/>
                </a:lnTo>
                <a:lnTo>
                  <a:pt x="5739393" y="2397165"/>
                </a:lnTo>
                <a:close/>
                <a:moveTo>
                  <a:pt x="5504099" y="2393127"/>
                </a:moveTo>
                <a:lnTo>
                  <a:pt x="5514010" y="2393127"/>
                </a:lnTo>
                <a:lnTo>
                  <a:pt x="5518029" y="2397165"/>
                </a:lnTo>
                <a:lnTo>
                  <a:pt x="5518029" y="2407036"/>
                </a:lnTo>
                <a:lnTo>
                  <a:pt x="5514010" y="2411074"/>
                </a:lnTo>
                <a:lnTo>
                  <a:pt x="5504099" y="2411074"/>
                </a:lnTo>
                <a:lnTo>
                  <a:pt x="5500080" y="2407036"/>
                </a:lnTo>
                <a:lnTo>
                  <a:pt x="5500080" y="2397165"/>
                </a:lnTo>
                <a:close/>
                <a:moveTo>
                  <a:pt x="5264784" y="2393127"/>
                </a:moveTo>
                <a:lnTo>
                  <a:pt x="5274694" y="2393127"/>
                </a:lnTo>
                <a:lnTo>
                  <a:pt x="5278713" y="2397165"/>
                </a:lnTo>
                <a:lnTo>
                  <a:pt x="5278713" y="2407036"/>
                </a:lnTo>
                <a:lnTo>
                  <a:pt x="5274694" y="2411074"/>
                </a:lnTo>
                <a:lnTo>
                  <a:pt x="5264784" y="2411074"/>
                </a:lnTo>
                <a:lnTo>
                  <a:pt x="5260765" y="2407036"/>
                </a:lnTo>
                <a:lnTo>
                  <a:pt x="5260765" y="2397165"/>
                </a:lnTo>
                <a:close/>
                <a:moveTo>
                  <a:pt x="5025470" y="2393127"/>
                </a:moveTo>
                <a:lnTo>
                  <a:pt x="5035381" y="2393127"/>
                </a:lnTo>
                <a:lnTo>
                  <a:pt x="5039400" y="2397165"/>
                </a:lnTo>
                <a:lnTo>
                  <a:pt x="5039400" y="2407036"/>
                </a:lnTo>
                <a:lnTo>
                  <a:pt x="5035381" y="2411074"/>
                </a:lnTo>
                <a:lnTo>
                  <a:pt x="5025470" y="2411074"/>
                </a:lnTo>
                <a:lnTo>
                  <a:pt x="5021451" y="2407036"/>
                </a:lnTo>
                <a:lnTo>
                  <a:pt x="5021451" y="2397165"/>
                </a:lnTo>
                <a:close/>
                <a:moveTo>
                  <a:pt x="4786241" y="2393127"/>
                </a:moveTo>
                <a:lnTo>
                  <a:pt x="4796152" y="2393127"/>
                </a:lnTo>
                <a:lnTo>
                  <a:pt x="4800171" y="2397165"/>
                </a:lnTo>
                <a:lnTo>
                  <a:pt x="4800171" y="2407036"/>
                </a:lnTo>
                <a:lnTo>
                  <a:pt x="4796152" y="2411074"/>
                </a:lnTo>
                <a:lnTo>
                  <a:pt x="4786241" y="2411074"/>
                </a:lnTo>
                <a:lnTo>
                  <a:pt x="4782224" y="2407036"/>
                </a:lnTo>
                <a:lnTo>
                  <a:pt x="4782224" y="2397165"/>
                </a:lnTo>
                <a:close/>
                <a:moveTo>
                  <a:pt x="4546929" y="2393127"/>
                </a:moveTo>
                <a:lnTo>
                  <a:pt x="4556840" y="2393127"/>
                </a:lnTo>
                <a:lnTo>
                  <a:pt x="4560859" y="2397165"/>
                </a:lnTo>
                <a:lnTo>
                  <a:pt x="4560859" y="2407036"/>
                </a:lnTo>
                <a:lnTo>
                  <a:pt x="4556840" y="2411074"/>
                </a:lnTo>
                <a:lnTo>
                  <a:pt x="4546929" y="2411074"/>
                </a:lnTo>
                <a:lnTo>
                  <a:pt x="4542910" y="2407036"/>
                </a:lnTo>
                <a:lnTo>
                  <a:pt x="4542910" y="2397165"/>
                </a:lnTo>
                <a:close/>
                <a:moveTo>
                  <a:pt x="4307612" y="2393127"/>
                </a:moveTo>
                <a:lnTo>
                  <a:pt x="4317523" y="2393127"/>
                </a:lnTo>
                <a:lnTo>
                  <a:pt x="4321543" y="2397165"/>
                </a:lnTo>
                <a:lnTo>
                  <a:pt x="4321543" y="2407036"/>
                </a:lnTo>
                <a:lnTo>
                  <a:pt x="4317523" y="2411074"/>
                </a:lnTo>
                <a:lnTo>
                  <a:pt x="4307612" y="2411074"/>
                </a:lnTo>
                <a:lnTo>
                  <a:pt x="4303595" y="2407036"/>
                </a:lnTo>
                <a:lnTo>
                  <a:pt x="4303595" y="2397165"/>
                </a:lnTo>
                <a:close/>
                <a:moveTo>
                  <a:pt x="4068297" y="2393127"/>
                </a:moveTo>
                <a:lnTo>
                  <a:pt x="4078210" y="2393127"/>
                </a:lnTo>
                <a:lnTo>
                  <a:pt x="4082229" y="2397165"/>
                </a:lnTo>
                <a:lnTo>
                  <a:pt x="4082229" y="2407036"/>
                </a:lnTo>
                <a:lnTo>
                  <a:pt x="4078210" y="2411074"/>
                </a:lnTo>
                <a:lnTo>
                  <a:pt x="4068297" y="2411074"/>
                </a:lnTo>
                <a:lnTo>
                  <a:pt x="4064278" y="2407036"/>
                </a:lnTo>
                <a:lnTo>
                  <a:pt x="4064278" y="2397165"/>
                </a:lnTo>
                <a:close/>
                <a:moveTo>
                  <a:pt x="3828990" y="2393127"/>
                </a:moveTo>
                <a:lnTo>
                  <a:pt x="3838899" y="2393127"/>
                </a:lnTo>
                <a:lnTo>
                  <a:pt x="3842917" y="2397165"/>
                </a:lnTo>
                <a:lnTo>
                  <a:pt x="3842917" y="2407036"/>
                </a:lnTo>
                <a:lnTo>
                  <a:pt x="3838899" y="2411074"/>
                </a:lnTo>
                <a:lnTo>
                  <a:pt x="3828990" y="2411074"/>
                </a:lnTo>
                <a:lnTo>
                  <a:pt x="3824971" y="2407036"/>
                </a:lnTo>
                <a:lnTo>
                  <a:pt x="3824971" y="2397165"/>
                </a:lnTo>
                <a:close/>
                <a:moveTo>
                  <a:pt x="3589676" y="2393127"/>
                </a:moveTo>
                <a:lnTo>
                  <a:pt x="3599585" y="2393127"/>
                </a:lnTo>
                <a:lnTo>
                  <a:pt x="3603604" y="2397165"/>
                </a:lnTo>
                <a:lnTo>
                  <a:pt x="3603604" y="2407036"/>
                </a:lnTo>
                <a:lnTo>
                  <a:pt x="3599585" y="2411074"/>
                </a:lnTo>
                <a:lnTo>
                  <a:pt x="3589676" y="2411074"/>
                </a:lnTo>
                <a:lnTo>
                  <a:pt x="3585657" y="2407036"/>
                </a:lnTo>
                <a:lnTo>
                  <a:pt x="3585657" y="2397165"/>
                </a:lnTo>
                <a:close/>
                <a:moveTo>
                  <a:pt x="3350359" y="2393127"/>
                </a:moveTo>
                <a:lnTo>
                  <a:pt x="3360268" y="2393127"/>
                </a:lnTo>
                <a:lnTo>
                  <a:pt x="3364287" y="2397165"/>
                </a:lnTo>
                <a:lnTo>
                  <a:pt x="3364287" y="2407036"/>
                </a:lnTo>
                <a:lnTo>
                  <a:pt x="3360268" y="2411074"/>
                </a:lnTo>
                <a:lnTo>
                  <a:pt x="3350359" y="2411074"/>
                </a:lnTo>
                <a:lnTo>
                  <a:pt x="3346340" y="2407036"/>
                </a:lnTo>
                <a:lnTo>
                  <a:pt x="3346340" y="2397165"/>
                </a:lnTo>
                <a:close/>
                <a:moveTo>
                  <a:pt x="3111048" y="2393127"/>
                </a:moveTo>
                <a:lnTo>
                  <a:pt x="3120959" y="2393127"/>
                </a:lnTo>
                <a:lnTo>
                  <a:pt x="3124977" y="2397165"/>
                </a:lnTo>
                <a:lnTo>
                  <a:pt x="3124977" y="2407036"/>
                </a:lnTo>
                <a:lnTo>
                  <a:pt x="3120959" y="2411074"/>
                </a:lnTo>
                <a:lnTo>
                  <a:pt x="3111048" y="2411074"/>
                </a:lnTo>
                <a:lnTo>
                  <a:pt x="3107029" y="2407036"/>
                </a:lnTo>
                <a:lnTo>
                  <a:pt x="3107029" y="2397165"/>
                </a:lnTo>
                <a:close/>
                <a:moveTo>
                  <a:pt x="2871737" y="2393127"/>
                </a:moveTo>
                <a:lnTo>
                  <a:pt x="2881646" y="2393127"/>
                </a:lnTo>
                <a:lnTo>
                  <a:pt x="2885666" y="2397165"/>
                </a:lnTo>
                <a:lnTo>
                  <a:pt x="2885666" y="2407036"/>
                </a:lnTo>
                <a:lnTo>
                  <a:pt x="2881646" y="2411074"/>
                </a:lnTo>
                <a:lnTo>
                  <a:pt x="2871737" y="2411074"/>
                </a:lnTo>
                <a:lnTo>
                  <a:pt x="2867717" y="2407036"/>
                </a:lnTo>
                <a:lnTo>
                  <a:pt x="2867717" y="2397165"/>
                </a:lnTo>
                <a:close/>
                <a:moveTo>
                  <a:pt x="2632423" y="2393127"/>
                </a:moveTo>
                <a:lnTo>
                  <a:pt x="2642334" y="2393127"/>
                </a:lnTo>
                <a:lnTo>
                  <a:pt x="2646352" y="2397165"/>
                </a:lnTo>
                <a:lnTo>
                  <a:pt x="2646352" y="2407036"/>
                </a:lnTo>
                <a:lnTo>
                  <a:pt x="2642334" y="2411074"/>
                </a:lnTo>
                <a:lnTo>
                  <a:pt x="2632423" y="2411074"/>
                </a:lnTo>
                <a:lnTo>
                  <a:pt x="2628404" y="2407036"/>
                </a:lnTo>
                <a:lnTo>
                  <a:pt x="2628404" y="2397165"/>
                </a:lnTo>
                <a:close/>
                <a:moveTo>
                  <a:pt x="2393104" y="2393127"/>
                </a:moveTo>
                <a:lnTo>
                  <a:pt x="2403015" y="2393127"/>
                </a:lnTo>
                <a:lnTo>
                  <a:pt x="2407034" y="2397165"/>
                </a:lnTo>
                <a:lnTo>
                  <a:pt x="2407034" y="2407036"/>
                </a:lnTo>
                <a:lnTo>
                  <a:pt x="2403015" y="2411074"/>
                </a:lnTo>
                <a:lnTo>
                  <a:pt x="2393104" y="2411074"/>
                </a:lnTo>
                <a:lnTo>
                  <a:pt x="2389087" y="2407036"/>
                </a:lnTo>
                <a:lnTo>
                  <a:pt x="2389087" y="2397165"/>
                </a:lnTo>
                <a:close/>
                <a:moveTo>
                  <a:pt x="721970" y="2393127"/>
                </a:moveTo>
                <a:lnTo>
                  <a:pt x="731881" y="2393127"/>
                </a:lnTo>
                <a:lnTo>
                  <a:pt x="735899" y="2397165"/>
                </a:lnTo>
                <a:lnTo>
                  <a:pt x="735899" y="2407036"/>
                </a:lnTo>
                <a:lnTo>
                  <a:pt x="731881" y="2411074"/>
                </a:lnTo>
                <a:lnTo>
                  <a:pt x="721970" y="2411074"/>
                </a:lnTo>
                <a:lnTo>
                  <a:pt x="717951" y="2407036"/>
                </a:lnTo>
                <a:lnTo>
                  <a:pt x="717951" y="2397165"/>
                </a:lnTo>
                <a:close/>
                <a:moveTo>
                  <a:pt x="482658" y="2393127"/>
                </a:moveTo>
                <a:lnTo>
                  <a:pt x="492568" y="2393127"/>
                </a:lnTo>
                <a:lnTo>
                  <a:pt x="496588" y="2397165"/>
                </a:lnTo>
                <a:lnTo>
                  <a:pt x="496588" y="2407036"/>
                </a:lnTo>
                <a:lnTo>
                  <a:pt x="492568" y="2411074"/>
                </a:lnTo>
                <a:lnTo>
                  <a:pt x="482658" y="2411074"/>
                </a:lnTo>
                <a:lnTo>
                  <a:pt x="478639" y="2407036"/>
                </a:lnTo>
                <a:lnTo>
                  <a:pt x="478639" y="2397165"/>
                </a:lnTo>
                <a:close/>
                <a:moveTo>
                  <a:pt x="243344" y="2393127"/>
                </a:moveTo>
                <a:lnTo>
                  <a:pt x="253255" y="2393127"/>
                </a:lnTo>
                <a:lnTo>
                  <a:pt x="257274" y="2397165"/>
                </a:lnTo>
                <a:lnTo>
                  <a:pt x="257274" y="2407036"/>
                </a:lnTo>
                <a:lnTo>
                  <a:pt x="253255" y="2411074"/>
                </a:lnTo>
                <a:lnTo>
                  <a:pt x="243344" y="2411074"/>
                </a:lnTo>
                <a:lnTo>
                  <a:pt x="239325" y="2407036"/>
                </a:lnTo>
                <a:lnTo>
                  <a:pt x="239325" y="2397165"/>
                </a:lnTo>
                <a:close/>
                <a:moveTo>
                  <a:pt x="4031" y="2393127"/>
                </a:moveTo>
                <a:lnTo>
                  <a:pt x="13941" y="2393127"/>
                </a:lnTo>
                <a:lnTo>
                  <a:pt x="17961" y="2397165"/>
                </a:lnTo>
                <a:lnTo>
                  <a:pt x="17961" y="2407036"/>
                </a:lnTo>
                <a:lnTo>
                  <a:pt x="13941" y="2411074"/>
                </a:lnTo>
                <a:lnTo>
                  <a:pt x="4031" y="2411074"/>
                </a:lnTo>
                <a:lnTo>
                  <a:pt x="12" y="2407036"/>
                </a:lnTo>
                <a:lnTo>
                  <a:pt x="12" y="2397165"/>
                </a:lnTo>
                <a:close/>
                <a:moveTo>
                  <a:pt x="3111048" y="2153996"/>
                </a:moveTo>
                <a:lnTo>
                  <a:pt x="3120959" y="2153996"/>
                </a:lnTo>
                <a:lnTo>
                  <a:pt x="3124977" y="2158034"/>
                </a:lnTo>
                <a:lnTo>
                  <a:pt x="3124977" y="2167907"/>
                </a:lnTo>
                <a:lnTo>
                  <a:pt x="3120959" y="2171946"/>
                </a:lnTo>
                <a:lnTo>
                  <a:pt x="3111048" y="2171946"/>
                </a:lnTo>
                <a:lnTo>
                  <a:pt x="3107029" y="2167907"/>
                </a:lnTo>
                <a:lnTo>
                  <a:pt x="3107029" y="2158034"/>
                </a:lnTo>
                <a:close/>
                <a:moveTo>
                  <a:pt x="2871737" y="2153996"/>
                </a:moveTo>
                <a:lnTo>
                  <a:pt x="2881646" y="2153996"/>
                </a:lnTo>
                <a:lnTo>
                  <a:pt x="2885666" y="2158034"/>
                </a:lnTo>
                <a:lnTo>
                  <a:pt x="2885666" y="2167907"/>
                </a:lnTo>
                <a:lnTo>
                  <a:pt x="2881646" y="2171946"/>
                </a:lnTo>
                <a:lnTo>
                  <a:pt x="2871737" y="2171946"/>
                </a:lnTo>
                <a:lnTo>
                  <a:pt x="2867717" y="2167907"/>
                </a:lnTo>
                <a:lnTo>
                  <a:pt x="2867717" y="2158034"/>
                </a:lnTo>
                <a:close/>
                <a:moveTo>
                  <a:pt x="2632423" y="2153996"/>
                </a:moveTo>
                <a:lnTo>
                  <a:pt x="2642334" y="2153996"/>
                </a:lnTo>
                <a:lnTo>
                  <a:pt x="2646352" y="2158034"/>
                </a:lnTo>
                <a:lnTo>
                  <a:pt x="2646352" y="2167907"/>
                </a:lnTo>
                <a:lnTo>
                  <a:pt x="2642334" y="2171947"/>
                </a:lnTo>
                <a:lnTo>
                  <a:pt x="2632423" y="2171947"/>
                </a:lnTo>
                <a:lnTo>
                  <a:pt x="2628404" y="2167907"/>
                </a:lnTo>
                <a:lnTo>
                  <a:pt x="2628404" y="2158034"/>
                </a:lnTo>
                <a:close/>
                <a:moveTo>
                  <a:pt x="2393104" y="2153996"/>
                </a:moveTo>
                <a:lnTo>
                  <a:pt x="2403015" y="2153996"/>
                </a:lnTo>
                <a:lnTo>
                  <a:pt x="2407034" y="2158034"/>
                </a:lnTo>
                <a:lnTo>
                  <a:pt x="2407034" y="2167907"/>
                </a:lnTo>
                <a:lnTo>
                  <a:pt x="2403015" y="2171947"/>
                </a:lnTo>
                <a:lnTo>
                  <a:pt x="2393104" y="2171947"/>
                </a:lnTo>
                <a:lnTo>
                  <a:pt x="2389087" y="2167907"/>
                </a:lnTo>
                <a:lnTo>
                  <a:pt x="2389087" y="2158034"/>
                </a:lnTo>
                <a:close/>
                <a:moveTo>
                  <a:pt x="3350359" y="2153995"/>
                </a:moveTo>
                <a:lnTo>
                  <a:pt x="3360268" y="2153995"/>
                </a:lnTo>
                <a:lnTo>
                  <a:pt x="3364287" y="2158034"/>
                </a:lnTo>
                <a:lnTo>
                  <a:pt x="3364287" y="2167907"/>
                </a:lnTo>
                <a:lnTo>
                  <a:pt x="3360268" y="2171946"/>
                </a:lnTo>
                <a:lnTo>
                  <a:pt x="3350359" y="2171946"/>
                </a:lnTo>
                <a:lnTo>
                  <a:pt x="3346340" y="2167907"/>
                </a:lnTo>
                <a:lnTo>
                  <a:pt x="3346340" y="2158034"/>
                </a:lnTo>
                <a:close/>
                <a:moveTo>
                  <a:pt x="4546929" y="2153976"/>
                </a:moveTo>
                <a:lnTo>
                  <a:pt x="4556840" y="2153976"/>
                </a:lnTo>
                <a:lnTo>
                  <a:pt x="4560859" y="2158014"/>
                </a:lnTo>
                <a:lnTo>
                  <a:pt x="4560859" y="2167886"/>
                </a:lnTo>
                <a:lnTo>
                  <a:pt x="4556840" y="2171926"/>
                </a:lnTo>
                <a:lnTo>
                  <a:pt x="4546929" y="2171926"/>
                </a:lnTo>
                <a:lnTo>
                  <a:pt x="4542910" y="2167886"/>
                </a:lnTo>
                <a:lnTo>
                  <a:pt x="4542910" y="2158014"/>
                </a:lnTo>
                <a:close/>
                <a:moveTo>
                  <a:pt x="4307612" y="2153976"/>
                </a:moveTo>
                <a:lnTo>
                  <a:pt x="4317523" y="2153976"/>
                </a:lnTo>
                <a:lnTo>
                  <a:pt x="4321543" y="2158014"/>
                </a:lnTo>
                <a:lnTo>
                  <a:pt x="4321543" y="2167887"/>
                </a:lnTo>
                <a:lnTo>
                  <a:pt x="4317523" y="2171926"/>
                </a:lnTo>
                <a:lnTo>
                  <a:pt x="4307612" y="2171926"/>
                </a:lnTo>
                <a:lnTo>
                  <a:pt x="4303595" y="2167887"/>
                </a:lnTo>
                <a:lnTo>
                  <a:pt x="4303595" y="2158014"/>
                </a:lnTo>
                <a:close/>
                <a:moveTo>
                  <a:pt x="4068297" y="2153976"/>
                </a:moveTo>
                <a:lnTo>
                  <a:pt x="4078210" y="2153976"/>
                </a:lnTo>
                <a:lnTo>
                  <a:pt x="4082229" y="2158014"/>
                </a:lnTo>
                <a:lnTo>
                  <a:pt x="4082229" y="2167887"/>
                </a:lnTo>
                <a:lnTo>
                  <a:pt x="4078210" y="2171926"/>
                </a:lnTo>
                <a:lnTo>
                  <a:pt x="4068297" y="2171926"/>
                </a:lnTo>
                <a:lnTo>
                  <a:pt x="4064278" y="2167887"/>
                </a:lnTo>
                <a:lnTo>
                  <a:pt x="4064278" y="2158014"/>
                </a:lnTo>
                <a:close/>
                <a:moveTo>
                  <a:pt x="3828990" y="2153976"/>
                </a:moveTo>
                <a:lnTo>
                  <a:pt x="3838899" y="2153976"/>
                </a:lnTo>
                <a:lnTo>
                  <a:pt x="3842917" y="2158014"/>
                </a:lnTo>
                <a:lnTo>
                  <a:pt x="3842917" y="2167887"/>
                </a:lnTo>
                <a:lnTo>
                  <a:pt x="3838899" y="2171926"/>
                </a:lnTo>
                <a:lnTo>
                  <a:pt x="3828990" y="2171926"/>
                </a:lnTo>
                <a:lnTo>
                  <a:pt x="3824971" y="2167887"/>
                </a:lnTo>
                <a:lnTo>
                  <a:pt x="3824971" y="2158014"/>
                </a:lnTo>
                <a:close/>
                <a:moveTo>
                  <a:pt x="3589676" y="2153976"/>
                </a:moveTo>
                <a:lnTo>
                  <a:pt x="3599585" y="2153976"/>
                </a:lnTo>
                <a:lnTo>
                  <a:pt x="3603604" y="2158014"/>
                </a:lnTo>
                <a:lnTo>
                  <a:pt x="3603604" y="2167887"/>
                </a:lnTo>
                <a:lnTo>
                  <a:pt x="3599585" y="2171926"/>
                </a:lnTo>
                <a:lnTo>
                  <a:pt x="3589676" y="2171926"/>
                </a:lnTo>
                <a:lnTo>
                  <a:pt x="3585657" y="2167887"/>
                </a:lnTo>
                <a:lnTo>
                  <a:pt x="3585657" y="2158014"/>
                </a:lnTo>
                <a:close/>
                <a:moveTo>
                  <a:pt x="5504099" y="2153956"/>
                </a:moveTo>
                <a:lnTo>
                  <a:pt x="5514010" y="2153956"/>
                </a:lnTo>
                <a:lnTo>
                  <a:pt x="5518029" y="2157994"/>
                </a:lnTo>
                <a:lnTo>
                  <a:pt x="5518029" y="2167867"/>
                </a:lnTo>
                <a:lnTo>
                  <a:pt x="5514010" y="2171905"/>
                </a:lnTo>
                <a:lnTo>
                  <a:pt x="5504099" y="2171905"/>
                </a:lnTo>
                <a:lnTo>
                  <a:pt x="5500080" y="2167867"/>
                </a:lnTo>
                <a:lnTo>
                  <a:pt x="5500080" y="2157994"/>
                </a:lnTo>
                <a:close/>
                <a:moveTo>
                  <a:pt x="5264784" y="2153956"/>
                </a:moveTo>
                <a:lnTo>
                  <a:pt x="5274694" y="2153956"/>
                </a:lnTo>
                <a:lnTo>
                  <a:pt x="5278713" y="2157994"/>
                </a:lnTo>
                <a:lnTo>
                  <a:pt x="5278713" y="2167867"/>
                </a:lnTo>
                <a:lnTo>
                  <a:pt x="5274694" y="2171905"/>
                </a:lnTo>
                <a:lnTo>
                  <a:pt x="5264784" y="2171905"/>
                </a:lnTo>
                <a:lnTo>
                  <a:pt x="5260765" y="2167867"/>
                </a:lnTo>
                <a:lnTo>
                  <a:pt x="5260765" y="2157994"/>
                </a:lnTo>
                <a:close/>
                <a:moveTo>
                  <a:pt x="5025470" y="2153956"/>
                </a:moveTo>
                <a:lnTo>
                  <a:pt x="5035381" y="2153956"/>
                </a:lnTo>
                <a:lnTo>
                  <a:pt x="5039400" y="2157994"/>
                </a:lnTo>
                <a:lnTo>
                  <a:pt x="5039400" y="2167867"/>
                </a:lnTo>
                <a:lnTo>
                  <a:pt x="5035381" y="2171906"/>
                </a:lnTo>
                <a:lnTo>
                  <a:pt x="5025470" y="2171906"/>
                </a:lnTo>
                <a:lnTo>
                  <a:pt x="5021451" y="2167867"/>
                </a:lnTo>
                <a:lnTo>
                  <a:pt x="5021451" y="2157994"/>
                </a:lnTo>
                <a:close/>
                <a:moveTo>
                  <a:pt x="4786241" y="2153956"/>
                </a:moveTo>
                <a:lnTo>
                  <a:pt x="4796152" y="2153956"/>
                </a:lnTo>
                <a:lnTo>
                  <a:pt x="4800171" y="2157994"/>
                </a:lnTo>
                <a:lnTo>
                  <a:pt x="4800171" y="2167867"/>
                </a:lnTo>
                <a:lnTo>
                  <a:pt x="4796152" y="2171906"/>
                </a:lnTo>
                <a:lnTo>
                  <a:pt x="4786241" y="2171906"/>
                </a:lnTo>
                <a:lnTo>
                  <a:pt x="4782224" y="2167867"/>
                </a:lnTo>
                <a:lnTo>
                  <a:pt x="4782224" y="2157994"/>
                </a:lnTo>
                <a:close/>
                <a:moveTo>
                  <a:pt x="5743412" y="2153955"/>
                </a:moveTo>
                <a:lnTo>
                  <a:pt x="5753323" y="2153955"/>
                </a:lnTo>
                <a:lnTo>
                  <a:pt x="5757342" y="2157994"/>
                </a:lnTo>
                <a:lnTo>
                  <a:pt x="5757342" y="2167866"/>
                </a:lnTo>
                <a:lnTo>
                  <a:pt x="5753323" y="2171905"/>
                </a:lnTo>
                <a:lnTo>
                  <a:pt x="5743412" y="2171905"/>
                </a:lnTo>
                <a:lnTo>
                  <a:pt x="5739393" y="2167866"/>
                </a:lnTo>
                <a:lnTo>
                  <a:pt x="5739393" y="2157994"/>
                </a:lnTo>
                <a:close/>
                <a:moveTo>
                  <a:pt x="6222042" y="2153936"/>
                </a:moveTo>
                <a:lnTo>
                  <a:pt x="6231952" y="2153936"/>
                </a:lnTo>
                <a:lnTo>
                  <a:pt x="6235971" y="2157974"/>
                </a:lnTo>
                <a:lnTo>
                  <a:pt x="6235971" y="2167846"/>
                </a:lnTo>
                <a:lnTo>
                  <a:pt x="6231952" y="2171885"/>
                </a:lnTo>
                <a:lnTo>
                  <a:pt x="6222042" y="2171885"/>
                </a:lnTo>
                <a:lnTo>
                  <a:pt x="6218023" y="2167846"/>
                </a:lnTo>
                <a:lnTo>
                  <a:pt x="6218023" y="2157974"/>
                </a:lnTo>
                <a:close/>
                <a:moveTo>
                  <a:pt x="5982729" y="2153936"/>
                </a:moveTo>
                <a:lnTo>
                  <a:pt x="5992639" y="2153936"/>
                </a:lnTo>
                <a:lnTo>
                  <a:pt x="5996658" y="2157974"/>
                </a:lnTo>
                <a:lnTo>
                  <a:pt x="5996658" y="2167846"/>
                </a:lnTo>
                <a:lnTo>
                  <a:pt x="5992639" y="2171885"/>
                </a:lnTo>
                <a:lnTo>
                  <a:pt x="5982729" y="2171885"/>
                </a:lnTo>
                <a:lnTo>
                  <a:pt x="5978710" y="2167846"/>
                </a:lnTo>
                <a:lnTo>
                  <a:pt x="5978710" y="2157974"/>
                </a:lnTo>
                <a:close/>
                <a:moveTo>
                  <a:pt x="6939983" y="2153935"/>
                </a:moveTo>
                <a:lnTo>
                  <a:pt x="6949894" y="2153935"/>
                </a:lnTo>
                <a:lnTo>
                  <a:pt x="6953913" y="2157974"/>
                </a:lnTo>
                <a:lnTo>
                  <a:pt x="6953913" y="2167845"/>
                </a:lnTo>
                <a:lnTo>
                  <a:pt x="6949894" y="2171885"/>
                </a:lnTo>
                <a:lnTo>
                  <a:pt x="6939983" y="2171885"/>
                </a:lnTo>
                <a:lnTo>
                  <a:pt x="6935964" y="2167845"/>
                </a:lnTo>
                <a:lnTo>
                  <a:pt x="6935964" y="2157974"/>
                </a:lnTo>
                <a:close/>
                <a:moveTo>
                  <a:pt x="6700670" y="2153935"/>
                </a:moveTo>
                <a:lnTo>
                  <a:pt x="6710581" y="2153935"/>
                </a:lnTo>
                <a:lnTo>
                  <a:pt x="6714600" y="2157974"/>
                </a:lnTo>
                <a:lnTo>
                  <a:pt x="6714600" y="2167846"/>
                </a:lnTo>
                <a:lnTo>
                  <a:pt x="6710581" y="2171885"/>
                </a:lnTo>
                <a:lnTo>
                  <a:pt x="6700670" y="2171885"/>
                </a:lnTo>
                <a:lnTo>
                  <a:pt x="6696651" y="2167846"/>
                </a:lnTo>
                <a:lnTo>
                  <a:pt x="6696651" y="2157974"/>
                </a:lnTo>
                <a:close/>
                <a:moveTo>
                  <a:pt x="6461356" y="2153935"/>
                </a:moveTo>
                <a:lnTo>
                  <a:pt x="6471266" y="2153935"/>
                </a:lnTo>
                <a:lnTo>
                  <a:pt x="6475285" y="2157974"/>
                </a:lnTo>
                <a:lnTo>
                  <a:pt x="6475285" y="2167846"/>
                </a:lnTo>
                <a:lnTo>
                  <a:pt x="6471266" y="2171885"/>
                </a:lnTo>
                <a:lnTo>
                  <a:pt x="6461356" y="2171885"/>
                </a:lnTo>
                <a:lnTo>
                  <a:pt x="6457337" y="2167846"/>
                </a:lnTo>
                <a:lnTo>
                  <a:pt x="6457337" y="2157974"/>
                </a:lnTo>
                <a:close/>
                <a:moveTo>
                  <a:pt x="7418611" y="2153916"/>
                </a:moveTo>
                <a:lnTo>
                  <a:pt x="7428521" y="2153916"/>
                </a:lnTo>
                <a:lnTo>
                  <a:pt x="7432540" y="2157955"/>
                </a:lnTo>
                <a:lnTo>
                  <a:pt x="7432540" y="2167826"/>
                </a:lnTo>
                <a:lnTo>
                  <a:pt x="7428521" y="2171865"/>
                </a:lnTo>
                <a:lnTo>
                  <a:pt x="7418611" y="2171865"/>
                </a:lnTo>
                <a:lnTo>
                  <a:pt x="7414592" y="2167826"/>
                </a:lnTo>
                <a:lnTo>
                  <a:pt x="7414592" y="2157955"/>
                </a:lnTo>
                <a:close/>
                <a:moveTo>
                  <a:pt x="7179298" y="2153916"/>
                </a:moveTo>
                <a:lnTo>
                  <a:pt x="7189209" y="2153916"/>
                </a:lnTo>
                <a:lnTo>
                  <a:pt x="7193228" y="2157955"/>
                </a:lnTo>
                <a:lnTo>
                  <a:pt x="7193228" y="2167826"/>
                </a:lnTo>
                <a:lnTo>
                  <a:pt x="7189209" y="2171865"/>
                </a:lnTo>
                <a:lnTo>
                  <a:pt x="7179298" y="2171865"/>
                </a:lnTo>
                <a:lnTo>
                  <a:pt x="7175279" y="2167826"/>
                </a:lnTo>
                <a:lnTo>
                  <a:pt x="7175279" y="2157955"/>
                </a:lnTo>
                <a:close/>
                <a:moveTo>
                  <a:pt x="8136553" y="2153915"/>
                </a:moveTo>
                <a:lnTo>
                  <a:pt x="8146464" y="2153915"/>
                </a:lnTo>
                <a:lnTo>
                  <a:pt x="8150483" y="2157955"/>
                </a:lnTo>
                <a:lnTo>
                  <a:pt x="8150483" y="2167825"/>
                </a:lnTo>
                <a:lnTo>
                  <a:pt x="8146464" y="2171864"/>
                </a:lnTo>
                <a:lnTo>
                  <a:pt x="8136553" y="2171864"/>
                </a:lnTo>
                <a:lnTo>
                  <a:pt x="8132534" y="2167825"/>
                </a:lnTo>
                <a:lnTo>
                  <a:pt x="8132534" y="2157955"/>
                </a:lnTo>
                <a:close/>
                <a:moveTo>
                  <a:pt x="7897241" y="2153915"/>
                </a:moveTo>
                <a:lnTo>
                  <a:pt x="7907151" y="2153915"/>
                </a:lnTo>
                <a:lnTo>
                  <a:pt x="7911170" y="2157955"/>
                </a:lnTo>
                <a:lnTo>
                  <a:pt x="7911170" y="2167826"/>
                </a:lnTo>
                <a:lnTo>
                  <a:pt x="7907151" y="2171864"/>
                </a:lnTo>
                <a:lnTo>
                  <a:pt x="7897241" y="2171864"/>
                </a:lnTo>
                <a:lnTo>
                  <a:pt x="7893222" y="2167826"/>
                </a:lnTo>
                <a:lnTo>
                  <a:pt x="7893222" y="2157955"/>
                </a:lnTo>
                <a:close/>
                <a:moveTo>
                  <a:pt x="7657926" y="2153915"/>
                </a:moveTo>
                <a:lnTo>
                  <a:pt x="7667836" y="2153915"/>
                </a:lnTo>
                <a:lnTo>
                  <a:pt x="7671855" y="2157955"/>
                </a:lnTo>
                <a:lnTo>
                  <a:pt x="7671855" y="2167826"/>
                </a:lnTo>
                <a:lnTo>
                  <a:pt x="7667836" y="2171864"/>
                </a:lnTo>
                <a:lnTo>
                  <a:pt x="7657926" y="2171864"/>
                </a:lnTo>
                <a:lnTo>
                  <a:pt x="7653906" y="2167826"/>
                </a:lnTo>
                <a:lnTo>
                  <a:pt x="7653906" y="2157955"/>
                </a:lnTo>
                <a:close/>
                <a:moveTo>
                  <a:pt x="8615184" y="2153896"/>
                </a:moveTo>
                <a:lnTo>
                  <a:pt x="8625095" y="2153896"/>
                </a:lnTo>
                <a:lnTo>
                  <a:pt x="8629114" y="2157935"/>
                </a:lnTo>
                <a:lnTo>
                  <a:pt x="8629114" y="2167805"/>
                </a:lnTo>
                <a:lnTo>
                  <a:pt x="8625095" y="2171844"/>
                </a:lnTo>
                <a:lnTo>
                  <a:pt x="8615184" y="2171844"/>
                </a:lnTo>
                <a:lnTo>
                  <a:pt x="8611165" y="2167805"/>
                </a:lnTo>
                <a:lnTo>
                  <a:pt x="8611165" y="2157935"/>
                </a:lnTo>
                <a:close/>
                <a:moveTo>
                  <a:pt x="8375869" y="2153896"/>
                </a:moveTo>
                <a:lnTo>
                  <a:pt x="8385779" y="2153896"/>
                </a:lnTo>
                <a:lnTo>
                  <a:pt x="8389799" y="2157935"/>
                </a:lnTo>
                <a:lnTo>
                  <a:pt x="8389799" y="2167805"/>
                </a:lnTo>
                <a:lnTo>
                  <a:pt x="8385779" y="2171844"/>
                </a:lnTo>
                <a:lnTo>
                  <a:pt x="8375869" y="2171844"/>
                </a:lnTo>
                <a:lnTo>
                  <a:pt x="8371850" y="2167805"/>
                </a:lnTo>
                <a:lnTo>
                  <a:pt x="8371850" y="2157935"/>
                </a:lnTo>
                <a:close/>
                <a:moveTo>
                  <a:pt x="9333125" y="2153895"/>
                </a:moveTo>
                <a:lnTo>
                  <a:pt x="9343036" y="2153895"/>
                </a:lnTo>
                <a:lnTo>
                  <a:pt x="9347055" y="2157934"/>
                </a:lnTo>
                <a:lnTo>
                  <a:pt x="9347055" y="2167805"/>
                </a:lnTo>
                <a:lnTo>
                  <a:pt x="9343036" y="2171844"/>
                </a:lnTo>
                <a:lnTo>
                  <a:pt x="9333125" y="2171844"/>
                </a:lnTo>
                <a:lnTo>
                  <a:pt x="9329106" y="2167805"/>
                </a:lnTo>
                <a:lnTo>
                  <a:pt x="9329106" y="2157934"/>
                </a:lnTo>
                <a:close/>
                <a:moveTo>
                  <a:pt x="9093811" y="2153895"/>
                </a:moveTo>
                <a:lnTo>
                  <a:pt x="9103722" y="2153895"/>
                </a:lnTo>
                <a:lnTo>
                  <a:pt x="9107741" y="2157935"/>
                </a:lnTo>
                <a:lnTo>
                  <a:pt x="9107741" y="2167805"/>
                </a:lnTo>
                <a:lnTo>
                  <a:pt x="9103722" y="2171844"/>
                </a:lnTo>
                <a:lnTo>
                  <a:pt x="9093811" y="2171844"/>
                </a:lnTo>
                <a:lnTo>
                  <a:pt x="9089792" y="2167805"/>
                </a:lnTo>
                <a:lnTo>
                  <a:pt x="9089792" y="2157935"/>
                </a:lnTo>
                <a:close/>
                <a:moveTo>
                  <a:pt x="8854496" y="2153895"/>
                </a:moveTo>
                <a:lnTo>
                  <a:pt x="8864407" y="2153895"/>
                </a:lnTo>
                <a:lnTo>
                  <a:pt x="8868426" y="2157935"/>
                </a:lnTo>
                <a:lnTo>
                  <a:pt x="8868426" y="2167805"/>
                </a:lnTo>
                <a:lnTo>
                  <a:pt x="8864407" y="2171844"/>
                </a:lnTo>
                <a:lnTo>
                  <a:pt x="8854496" y="2171844"/>
                </a:lnTo>
                <a:lnTo>
                  <a:pt x="8850477" y="2167805"/>
                </a:lnTo>
                <a:lnTo>
                  <a:pt x="8850477" y="2157935"/>
                </a:lnTo>
                <a:close/>
                <a:moveTo>
                  <a:pt x="9572438" y="2153876"/>
                </a:moveTo>
                <a:lnTo>
                  <a:pt x="9582349" y="2153876"/>
                </a:lnTo>
                <a:lnTo>
                  <a:pt x="9586368" y="2157914"/>
                </a:lnTo>
                <a:lnTo>
                  <a:pt x="9586368" y="2167786"/>
                </a:lnTo>
                <a:lnTo>
                  <a:pt x="9582349" y="2171824"/>
                </a:lnTo>
                <a:lnTo>
                  <a:pt x="9572438" y="2171824"/>
                </a:lnTo>
                <a:lnTo>
                  <a:pt x="9568419" y="2167786"/>
                </a:lnTo>
                <a:lnTo>
                  <a:pt x="9568419" y="2157914"/>
                </a:lnTo>
                <a:close/>
                <a:moveTo>
                  <a:pt x="1200582" y="2153867"/>
                </a:moveTo>
                <a:lnTo>
                  <a:pt x="1210491" y="2153867"/>
                </a:lnTo>
                <a:lnTo>
                  <a:pt x="1214510" y="2157906"/>
                </a:lnTo>
                <a:lnTo>
                  <a:pt x="1214510" y="2167776"/>
                </a:lnTo>
                <a:lnTo>
                  <a:pt x="1210491" y="2171815"/>
                </a:lnTo>
                <a:lnTo>
                  <a:pt x="1200582" y="2171815"/>
                </a:lnTo>
                <a:lnTo>
                  <a:pt x="1196562" y="2167776"/>
                </a:lnTo>
                <a:lnTo>
                  <a:pt x="1196562" y="2157906"/>
                </a:lnTo>
                <a:close/>
                <a:moveTo>
                  <a:pt x="961268" y="2153867"/>
                </a:moveTo>
                <a:lnTo>
                  <a:pt x="971179" y="2153867"/>
                </a:lnTo>
                <a:lnTo>
                  <a:pt x="975198" y="2157906"/>
                </a:lnTo>
                <a:lnTo>
                  <a:pt x="975198" y="2167776"/>
                </a:lnTo>
                <a:lnTo>
                  <a:pt x="971179" y="2171815"/>
                </a:lnTo>
                <a:lnTo>
                  <a:pt x="961268" y="2171815"/>
                </a:lnTo>
                <a:lnTo>
                  <a:pt x="957250" y="2167776"/>
                </a:lnTo>
                <a:lnTo>
                  <a:pt x="957250" y="2157906"/>
                </a:lnTo>
                <a:close/>
                <a:moveTo>
                  <a:pt x="1679214" y="2153867"/>
                </a:moveTo>
                <a:lnTo>
                  <a:pt x="1689123" y="2153867"/>
                </a:lnTo>
                <a:lnTo>
                  <a:pt x="1693144" y="2157905"/>
                </a:lnTo>
                <a:lnTo>
                  <a:pt x="1693144" y="2167775"/>
                </a:lnTo>
                <a:lnTo>
                  <a:pt x="1689123" y="2171814"/>
                </a:lnTo>
                <a:lnTo>
                  <a:pt x="1679214" y="2171814"/>
                </a:lnTo>
                <a:lnTo>
                  <a:pt x="1675195" y="2167775"/>
                </a:lnTo>
                <a:lnTo>
                  <a:pt x="1675195" y="2157905"/>
                </a:lnTo>
                <a:close/>
                <a:moveTo>
                  <a:pt x="1439897" y="2153867"/>
                </a:moveTo>
                <a:lnTo>
                  <a:pt x="1449807" y="2153867"/>
                </a:lnTo>
                <a:lnTo>
                  <a:pt x="1453826" y="2157905"/>
                </a:lnTo>
                <a:lnTo>
                  <a:pt x="1453826" y="2167776"/>
                </a:lnTo>
                <a:lnTo>
                  <a:pt x="1449807" y="2171814"/>
                </a:lnTo>
                <a:lnTo>
                  <a:pt x="1439897" y="2171814"/>
                </a:lnTo>
                <a:lnTo>
                  <a:pt x="1435878" y="2167776"/>
                </a:lnTo>
                <a:lnTo>
                  <a:pt x="1435878" y="2157905"/>
                </a:lnTo>
                <a:close/>
                <a:moveTo>
                  <a:pt x="1918513" y="2153855"/>
                </a:moveTo>
                <a:lnTo>
                  <a:pt x="1928422" y="2153855"/>
                </a:lnTo>
                <a:lnTo>
                  <a:pt x="1932443" y="2157892"/>
                </a:lnTo>
                <a:lnTo>
                  <a:pt x="1932443" y="2167763"/>
                </a:lnTo>
                <a:lnTo>
                  <a:pt x="1928422" y="2171803"/>
                </a:lnTo>
                <a:lnTo>
                  <a:pt x="1918513" y="2171803"/>
                </a:lnTo>
                <a:lnTo>
                  <a:pt x="1914494" y="2167763"/>
                </a:lnTo>
                <a:lnTo>
                  <a:pt x="1914494" y="2157892"/>
                </a:lnTo>
                <a:close/>
                <a:moveTo>
                  <a:pt x="2157821" y="2153850"/>
                </a:moveTo>
                <a:lnTo>
                  <a:pt x="2167732" y="2153850"/>
                </a:lnTo>
                <a:lnTo>
                  <a:pt x="2171750" y="2157889"/>
                </a:lnTo>
                <a:lnTo>
                  <a:pt x="2171750" y="2167759"/>
                </a:lnTo>
                <a:lnTo>
                  <a:pt x="2167732" y="2171798"/>
                </a:lnTo>
                <a:lnTo>
                  <a:pt x="2157821" y="2171798"/>
                </a:lnTo>
                <a:lnTo>
                  <a:pt x="2153803" y="2167759"/>
                </a:lnTo>
                <a:lnTo>
                  <a:pt x="2153803" y="2157889"/>
                </a:lnTo>
                <a:close/>
                <a:moveTo>
                  <a:pt x="4032" y="2153832"/>
                </a:moveTo>
                <a:lnTo>
                  <a:pt x="13942" y="2153832"/>
                </a:lnTo>
                <a:lnTo>
                  <a:pt x="17961" y="2157870"/>
                </a:lnTo>
                <a:lnTo>
                  <a:pt x="17961" y="2167741"/>
                </a:lnTo>
                <a:lnTo>
                  <a:pt x="13942" y="2171780"/>
                </a:lnTo>
                <a:lnTo>
                  <a:pt x="4032" y="2171780"/>
                </a:lnTo>
                <a:lnTo>
                  <a:pt x="13" y="2167741"/>
                </a:lnTo>
                <a:lnTo>
                  <a:pt x="13" y="2157870"/>
                </a:lnTo>
                <a:close/>
                <a:moveTo>
                  <a:pt x="721971" y="2153832"/>
                </a:moveTo>
                <a:lnTo>
                  <a:pt x="731881" y="2153832"/>
                </a:lnTo>
                <a:lnTo>
                  <a:pt x="735900" y="2157870"/>
                </a:lnTo>
                <a:lnTo>
                  <a:pt x="735900" y="2167740"/>
                </a:lnTo>
                <a:lnTo>
                  <a:pt x="731881" y="2171780"/>
                </a:lnTo>
                <a:lnTo>
                  <a:pt x="721971" y="2171780"/>
                </a:lnTo>
                <a:lnTo>
                  <a:pt x="717952" y="2167740"/>
                </a:lnTo>
                <a:lnTo>
                  <a:pt x="717952" y="2157870"/>
                </a:lnTo>
                <a:close/>
                <a:moveTo>
                  <a:pt x="482659" y="2153832"/>
                </a:moveTo>
                <a:lnTo>
                  <a:pt x="492569" y="2153832"/>
                </a:lnTo>
                <a:lnTo>
                  <a:pt x="496588" y="2157870"/>
                </a:lnTo>
                <a:lnTo>
                  <a:pt x="496588" y="2167741"/>
                </a:lnTo>
                <a:lnTo>
                  <a:pt x="492569" y="2171780"/>
                </a:lnTo>
                <a:lnTo>
                  <a:pt x="482659" y="2171780"/>
                </a:lnTo>
                <a:lnTo>
                  <a:pt x="478640" y="2167741"/>
                </a:lnTo>
                <a:lnTo>
                  <a:pt x="478640" y="2157870"/>
                </a:lnTo>
                <a:close/>
                <a:moveTo>
                  <a:pt x="243345" y="2153832"/>
                </a:moveTo>
                <a:lnTo>
                  <a:pt x="253255" y="2153832"/>
                </a:lnTo>
                <a:lnTo>
                  <a:pt x="257274" y="2157870"/>
                </a:lnTo>
                <a:lnTo>
                  <a:pt x="257274" y="2167741"/>
                </a:lnTo>
                <a:lnTo>
                  <a:pt x="253255" y="2171780"/>
                </a:lnTo>
                <a:lnTo>
                  <a:pt x="243345" y="2171780"/>
                </a:lnTo>
                <a:lnTo>
                  <a:pt x="239326" y="2167741"/>
                </a:lnTo>
                <a:lnTo>
                  <a:pt x="239326" y="2157870"/>
                </a:lnTo>
                <a:close/>
                <a:moveTo>
                  <a:pt x="2393104" y="1914701"/>
                </a:moveTo>
                <a:lnTo>
                  <a:pt x="2403015" y="1914701"/>
                </a:lnTo>
                <a:lnTo>
                  <a:pt x="2407034" y="1918739"/>
                </a:lnTo>
                <a:lnTo>
                  <a:pt x="2407034" y="1928610"/>
                </a:lnTo>
                <a:lnTo>
                  <a:pt x="2403015" y="1932649"/>
                </a:lnTo>
                <a:lnTo>
                  <a:pt x="2393104" y="1932649"/>
                </a:lnTo>
                <a:lnTo>
                  <a:pt x="2389087" y="1928610"/>
                </a:lnTo>
                <a:lnTo>
                  <a:pt x="2389087" y="1918739"/>
                </a:lnTo>
                <a:close/>
                <a:moveTo>
                  <a:pt x="3350359" y="1914699"/>
                </a:moveTo>
                <a:lnTo>
                  <a:pt x="3360268" y="1914699"/>
                </a:lnTo>
                <a:lnTo>
                  <a:pt x="3364287" y="1918738"/>
                </a:lnTo>
                <a:lnTo>
                  <a:pt x="3364287" y="1928610"/>
                </a:lnTo>
                <a:lnTo>
                  <a:pt x="3360268" y="1932649"/>
                </a:lnTo>
                <a:lnTo>
                  <a:pt x="3350359" y="1932649"/>
                </a:lnTo>
                <a:lnTo>
                  <a:pt x="3346340" y="1928610"/>
                </a:lnTo>
                <a:lnTo>
                  <a:pt x="3346340" y="1918738"/>
                </a:lnTo>
                <a:close/>
                <a:moveTo>
                  <a:pt x="3111048" y="1914699"/>
                </a:moveTo>
                <a:lnTo>
                  <a:pt x="3120959" y="1914699"/>
                </a:lnTo>
                <a:lnTo>
                  <a:pt x="3124977" y="1918739"/>
                </a:lnTo>
                <a:lnTo>
                  <a:pt x="3124977" y="1928610"/>
                </a:lnTo>
                <a:lnTo>
                  <a:pt x="3120959" y="1932649"/>
                </a:lnTo>
                <a:lnTo>
                  <a:pt x="3111048" y="1932649"/>
                </a:lnTo>
                <a:lnTo>
                  <a:pt x="3107029" y="1928610"/>
                </a:lnTo>
                <a:lnTo>
                  <a:pt x="3107029" y="1918739"/>
                </a:lnTo>
                <a:close/>
                <a:moveTo>
                  <a:pt x="2871737" y="1914699"/>
                </a:moveTo>
                <a:lnTo>
                  <a:pt x="2881646" y="1914699"/>
                </a:lnTo>
                <a:lnTo>
                  <a:pt x="2885666" y="1918739"/>
                </a:lnTo>
                <a:lnTo>
                  <a:pt x="2885666" y="1928610"/>
                </a:lnTo>
                <a:lnTo>
                  <a:pt x="2881646" y="1932649"/>
                </a:lnTo>
                <a:lnTo>
                  <a:pt x="2871737" y="1932649"/>
                </a:lnTo>
                <a:lnTo>
                  <a:pt x="2867717" y="1928610"/>
                </a:lnTo>
                <a:lnTo>
                  <a:pt x="2867717" y="1918739"/>
                </a:lnTo>
                <a:close/>
                <a:moveTo>
                  <a:pt x="2632423" y="1914699"/>
                </a:moveTo>
                <a:lnTo>
                  <a:pt x="2642334" y="1914699"/>
                </a:lnTo>
                <a:lnTo>
                  <a:pt x="2646352" y="1918739"/>
                </a:lnTo>
                <a:lnTo>
                  <a:pt x="2646352" y="1928610"/>
                </a:lnTo>
                <a:lnTo>
                  <a:pt x="2642334" y="1932649"/>
                </a:lnTo>
                <a:lnTo>
                  <a:pt x="2632423" y="1932649"/>
                </a:lnTo>
                <a:lnTo>
                  <a:pt x="2628404" y="1928610"/>
                </a:lnTo>
                <a:lnTo>
                  <a:pt x="2628404" y="1918739"/>
                </a:lnTo>
                <a:close/>
                <a:moveTo>
                  <a:pt x="3589676" y="1914682"/>
                </a:moveTo>
                <a:lnTo>
                  <a:pt x="3599585" y="1914682"/>
                </a:lnTo>
                <a:lnTo>
                  <a:pt x="3603604" y="1918721"/>
                </a:lnTo>
                <a:lnTo>
                  <a:pt x="3603604" y="1928592"/>
                </a:lnTo>
                <a:lnTo>
                  <a:pt x="3599585" y="1932631"/>
                </a:lnTo>
                <a:lnTo>
                  <a:pt x="3589676" y="1932631"/>
                </a:lnTo>
                <a:lnTo>
                  <a:pt x="3585657" y="1928592"/>
                </a:lnTo>
                <a:lnTo>
                  <a:pt x="3585657" y="1918721"/>
                </a:lnTo>
                <a:close/>
                <a:moveTo>
                  <a:pt x="4546929" y="1914681"/>
                </a:moveTo>
                <a:lnTo>
                  <a:pt x="4556840" y="1914681"/>
                </a:lnTo>
                <a:lnTo>
                  <a:pt x="4560859" y="1918719"/>
                </a:lnTo>
                <a:lnTo>
                  <a:pt x="4560859" y="1928592"/>
                </a:lnTo>
                <a:lnTo>
                  <a:pt x="4556840" y="1932631"/>
                </a:lnTo>
                <a:lnTo>
                  <a:pt x="4546929" y="1932631"/>
                </a:lnTo>
                <a:lnTo>
                  <a:pt x="4542910" y="1928592"/>
                </a:lnTo>
                <a:lnTo>
                  <a:pt x="4542910" y="1918719"/>
                </a:lnTo>
                <a:close/>
                <a:moveTo>
                  <a:pt x="4307612" y="1914681"/>
                </a:moveTo>
                <a:lnTo>
                  <a:pt x="4317523" y="1914681"/>
                </a:lnTo>
                <a:lnTo>
                  <a:pt x="4321543" y="1918720"/>
                </a:lnTo>
                <a:lnTo>
                  <a:pt x="4321543" y="1928592"/>
                </a:lnTo>
                <a:lnTo>
                  <a:pt x="4317523" y="1932631"/>
                </a:lnTo>
                <a:lnTo>
                  <a:pt x="4307612" y="1932631"/>
                </a:lnTo>
                <a:lnTo>
                  <a:pt x="4303595" y="1928592"/>
                </a:lnTo>
                <a:lnTo>
                  <a:pt x="4303595" y="1918720"/>
                </a:lnTo>
                <a:close/>
                <a:moveTo>
                  <a:pt x="4068297" y="1914681"/>
                </a:moveTo>
                <a:lnTo>
                  <a:pt x="4078210" y="1914681"/>
                </a:lnTo>
                <a:lnTo>
                  <a:pt x="4082229" y="1918720"/>
                </a:lnTo>
                <a:lnTo>
                  <a:pt x="4082229" y="1928592"/>
                </a:lnTo>
                <a:lnTo>
                  <a:pt x="4078210" y="1932631"/>
                </a:lnTo>
                <a:lnTo>
                  <a:pt x="4068297" y="1932631"/>
                </a:lnTo>
                <a:lnTo>
                  <a:pt x="4064278" y="1928592"/>
                </a:lnTo>
                <a:lnTo>
                  <a:pt x="4064278" y="1918720"/>
                </a:lnTo>
                <a:close/>
                <a:moveTo>
                  <a:pt x="3828990" y="1914681"/>
                </a:moveTo>
                <a:lnTo>
                  <a:pt x="3838899" y="1914681"/>
                </a:lnTo>
                <a:lnTo>
                  <a:pt x="3842917" y="1918720"/>
                </a:lnTo>
                <a:lnTo>
                  <a:pt x="3842917" y="1928592"/>
                </a:lnTo>
                <a:lnTo>
                  <a:pt x="3838899" y="1932631"/>
                </a:lnTo>
                <a:lnTo>
                  <a:pt x="3828990" y="1932631"/>
                </a:lnTo>
                <a:lnTo>
                  <a:pt x="3824971" y="1928592"/>
                </a:lnTo>
                <a:lnTo>
                  <a:pt x="3824971" y="1918720"/>
                </a:lnTo>
                <a:close/>
                <a:moveTo>
                  <a:pt x="4786241" y="1914664"/>
                </a:moveTo>
                <a:lnTo>
                  <a:pt x="4796152" y="1914664"/>
                </a:lnTo>
                <a:lnTo>
                  <a:pt x="4800171" y="1918702"/>
                </a:lnTo>
                <a:lnTo>
                  <a:pt x="4800171" y="1928573"/>
                </a:lnTo>
                <a:lnTo>
                  <a:pt x="4796152" y="1932612"/>
                </a:lnTo>
                <a:lnTo>
                  <a:pt x="4786241" y="1932612"/>
                </a:lnTo>
                <a:lnTo>
                  <a:pt x="4782224" y="1928573"/>
                </a:lnTo>
                <a:lnTo>
                  <a:pt x="4782224" y="1918702"/>
                </a:lnTo>
                <a:close/>
                <a:moveTo>
                  <a:pt x="5504099" y="1914663"/>
                </a:moveTo>
                <a:lnTo>
                  <a:pt x="5514010" y="1914663"/>
                </a:lnTo>
                <a:lnTo>
                  <a:pt x="5518029" y="1918702"/>
                </a:lnTo>
                <a:lnTo>
                  <a:pt x="5518029" y="1928572"/>
                </a:lnTo>
                <a:lnTo>
                  <a:pt x="5514010" y="1932612"/>
                </a:lnTo>
                <a:lnTo>
                  <a:pt x="5504099" y="1932612"/>
                </a:lnTo>
                <a:lnTo>
                  <a:pt x="5500080" y="1928572"/>
                </a:lnTo>
                <a:lnTo>
                  <a:pt x="5500080" y="1918702"/>
                </a:lnTo>
                <a:close/>
                <a:moveTo>
                  <a:pt x="5264784" y="1914663"/>
                </a:moveTo>
                <a:lnTo>
                  <a:pt x="5274694" y="1914663"/>
                </a:lnTo>
                <a:lnTo>
                  <a:pt x="5278713" y="1918702"/>
                </a:lnTo>
                <a:lnTo>
                  <a:pt x="5278713" y="1928573"/>
                </a:lnTo>
                <a:lnTo>
                  <a:pt x="5274694" y="1932612"/>
                </a:lnTo>
                <a:lnTo>
                  <a:pt x="5264784" y="1932612"/>
                </a:lnTo>
                <a:lnTo>
                  <a:pt x="5260765" y="1928573"/>
                </a:lnTo>
                <a:lnTo>
                  <a:pt x="5260765" y="1918702"/>
                </a:lnTo>
                <a:close/>
                <a:moveTo>
                  <a:pt x="5025470" y="1914663"/>
                </a:moveTo>
                <a:lnTo>
                  <a:pt x="5035381" y="1914663"/>
                </a:lnTo>
                <a:lnTo>
                  <a:pt x="5039400" y="1918702"/>
                </a:lnTo>
                <a:lnTo>
                  <a:pt x="5039400" y="1928573"/>
                </a:lnTo>
                <a:lnTo>
                  <a:pt x="5035381" y="1932612"/>
                </a:lnTo>
                <a:lnTo>
                  <a:pt x="5025470" y="1932612"/>
                </a:lnTo>
                <a:lnTo>
                  <a:pt x="5021451" y="1928573"/>
                </a:lnTo>
                <a:lnTo>
                  <a:pt x="5021451" y="1918702"/>
                </a:lnTo>
                <a:close/>
                <a:moveTo>
                  <a:pt x="5743412" y="1914662"/>
                </a:moveTo>
                <a:lnTo>
                  <a:pt x="5753323" y="1914662"/>
                </a:lnTo>
                <a:lnTo>
                  <a:pt x="5757342" y="1918701"/>
                </a:lnTo>
                <a:lnTo>
                  <a:pt x="5757342" y="1928572"/>
                </a:lnTo>
                <a:lnTo>
                  <a:pt x="5753323" y="1932612"/>
                </a:lnTo>
                <a:lnTo>
                  <a:pt x="5743412" y="1932612"/>
                </a:lnTo>
                <a:lnTo>
                  <a:pt x="5739393" y="1928572"/>
                </a:lnTo>
                <a:lnTo>
                  <a:pt x="5739393" y="1918701"/>
                </a:lnTo>
                <a:close/>
                <a:moveTo>
                  <a:pt x="5982729" y="1914645"/>
                </a:moveTo>
                <a:lnTo>
                  <a:pt x="5992639" y="1914645"/>
                </a:lnTo>
                <a:lnTo>
                  <a:pt x="5996658" y="1918684"/>
                </a:lnTo>
                <a:lnTo>
                  <a:pt x="5996658" y="1928555"/>
                </a:lnTo>
                <a:lnTo>
                  <a:pt x="5992639" y="1932594"/>
                </a:lnTo>
                <a:lnTo>
                  <a:pt x="5982729" y="1932594"/>
                </a:lnTo>
                <a:lnTo>
                  <a:pt x="5978710" y="1928555"/>
                </a:lnTo>
                <a:lnTo>
                  <a:pt x="5978710" y="1918684"/>
                </a:lnTo>
                <a:close/>
                <a:moveTo>
                  <a:pt x="6939983" y="1914645"/>
                </a:moveTo>
                <a:lnTo>
                  <a:pt x="6949894" y="1914645"/>
                </a:lnTo>
                <a:lnTo>
                  <a:pt x="6953913" y="1918682"/>
                </a:lnTo>
                <a:lnTo>
                  <a:pt x="6953913" y="1928554"/>
                </a:lnTo>
                <a:lnTo>
                  <a:pt x="6949894" y="1932594"/>
                </a:lnTo>
                <a:lnTo>
                  <a:pt x="6939983" y="1932594"/>
                </a:lnTo>
                <a:lnTo>
                  <a:pt x="6935964" y="1928554"/>
                </a:lnTo>
                <a:lnTo>
                  <a:pt x="6935964" y="1918682"/>
                </a:lnTo>
                <a:close/>
                <a:moveTo>
                  <a:pt x="6700670" y="1914645"/>
                </a:moveTo>
                <a:lnTo>
                  <a:pt x="6710581" y="1914645"/>
                </a:lnTo>
                <a:lnTo>
                  <a:pt x="6714600" y="1918683"/>
                </a:lnTo>
                <a:lnTo>
                  <a:pt x="6714600" y="1928554"/>
                </a:lnTo>
                <a:lnTo>
                  <a:pt x="6710581" y="1932594"/>
                </a:lnTo>
                <a:lnTo>
                  <a:pt x="6700670" y="1932594"/>
                </a:lnTo>
                <a:lnTo>
                  <a:pt x="6696651" y="1928554"/>
                </a:lnTo>
                <a:lnTo>
                  <a:pt x="6696651" y="1918683"/>
                </a:lnTo>
                <a:close/>
                <a:moveTo>
                  <a:pt x="6461356" y="1914645"/>
                </a:moveTo>
                <a:lnTo>
                  <a:pt x="6471266" y="1914645"/>
                </a:lnTo>
                <a:lnTo>
                  <a:pt x="6475285" y="1918683"/>
                </a:lnTo>
                <a:lnTo>
                  <a:pt x="6475285" y="1928555"/>
                </a:lnTo>
                <a:lnTo>
                  <a:pt x="6471266" y="1932594"/>
                </a:lnTo>
                <a:lnTo>
                  <a:pt x="6461356" y="1932594"/>
                </a:lnTo>
                <a:lnTo>
                  <a:pt x="6457337" y="1928555"/>
                </a:lnTo>
                <a:lnTo>
                  <a:pt x="6457337" y="1918683"/>
                </a:lnTo>
                <a:close/>
                <a:moveTo>
                  <a:pt x="6222042" y="1914645"/>
                </a:moveTo>
                <a:lnTo>
                  <a:pt x="6231952" y="1914645"/>
                </a:lnTo>
                <a:lnTo>
                  <a:pt x="6235971" y="1918683"/>
                </a:lnTo>
                <a:lnTo>
                  <a:pt x="6235971" y="1928555"/>
                </a:lnTo>
                <a:lnTo>
                  <a:pt x="6231952" y="1932594"/>
                </a:lnTo>
                <a:lnTo>
                  <a:pt x="6222042" y="1932594"/>
                </a:lnTo>
                <a:lnTo>
                  <a:pt x="6218023" y="1928555"/>
                </a:lnTo>
                <a:lnTo>
                  <a:pt x="6218023" y="1918683"/>
                </a:lnTo>
                <a:close/>
                <a:moveTo>
                  <a:pt x="7179298" y="1914627"/>
                </a:moveTo>
                <a:lnTo>
                  <a:pt x="7189209" y="1914627"/>
                </a:lnTo>
                <a:lnTo>
                  <a:pt x="7193228" y="1918666"/>
                </a:lnTo>
                <a:lnTo>
                  <a:pt x="7193228" y="1928536"/>
                </a:lnTo>
                <a:lnTo>
                  <a:pt x="7189209" y="1932575"/>
                </a:lnTo>
                <a:lnTo>
                  <a:pt x="7179298" y="1932575"/>
                </a:lnTo>
                <a:lnTo>
                  <a:pt x="7175279" y="1928536"/>
                </a:lnTo>
                <a:lnTo>
                  <a:pt x="7175279" y="1918666"/>
                </a:lnTo>
                <a:close/>
                <a:moveTo>
                  <a:pt x="7897241" y="1914627"/>
                </a:moveTo>
                <a:lnTo>
                  <a:pt x="7907151" y="1914627"/>
                </a:lnTo>
                <a:lnTo>
                  <a:pt x="7911170" y="1918664"/>
                </a:lnTo>
                <a:lnTo>
                  <a:pt x="7911170" y="1928535"/>
                </a:lnTo>
                <a:lnTo>
                  <a:pt x="7907151" y="1932575"/>
                </a:lnTo>
                <a:lnTo>
                  <a:pt x="7897241" y="1932575"/>
                </a:lnTo>
                <a:lnTo>
                  <a:pt x="7893222" y="1928535"/>
                </a:lnTo>
                <a:lnTo>
                  <a:pt x="7893222" y="1918664"/>
                </a:lnTo>
                <a:close/>
                <a:moveTo>
                  <a:pt x="7657926" y="1914627"/>
                </a:moveTo>
                <a:lnTo>
                  <a:pt x="7667836" y="1914627"/>
                </a:lnTo>
                <a:lnTo>
                  <a:pt x="7671855" y="1918664"/>
                </a:lnTo>
                <a:lnTo>
                  <a:pt x="7671855" y="1928536"/>
                </a:lnTo>
                <a:lnTo>
                  <a:pt x="7667836" y="1932575"/>
                </a:lnTo>
                <a:lnTo>
                  <a:pt x="7657926" y="1932575"/>
                </a:lnTo>
                <a:lnTo>
                  <a:pt x="7653906" y="1928536"/>
                </a:lnTo>
                <a:lnTo>
                  <a:pt x="7653906" y="1918664"/>
                </a:lnTo>
                <a:close/>
                <a:moveTo>
                  <a:pt x="7418611" y="1914627"/>
                </a:moveTo>
                <a:lnTo>
                  <a:pt x="7428521" y="1914627"/>
                </a:lnTo>
                <a:lnTo>
                  <a:pt x="7432540" y="1918664"/>
                </a:lnTo>
                <a:lnTo>
                  <a:pt x="7432540" y="1928536"/>
                </a:lnTo>
                <a:lnTo>
                  <a:pt x="7428521" y="1932575"/>
                </a:lnTo>
                <a:lnTo>
                  <a:pt x="7418611" y="1932575"/>
                </a:lnTo>
                <a:lnTo>
                  <a:pt x="7414592" y="1928536"/>
                </a:lnTo>
                <a:lnTo>
                  <a:pt x="7414592" y="1918664"/>
                </a:lnTo>
                <a:close/>
                <a:moveTo>
                  <a:pt x="8136553" y="1914626"/>
                </a:moveTo>
                <a:lnTo>
                  <a:pt x="8146464" y="1914626"/>
                </a:lnTo>
                <a:lnTo>
                  <a:pt x="8150483" y="1918664"/>
                </a:lnTo>
                <a:lnTo>
                  <a:pt x="8150483" y="1928535"/>
                </a:lnTo>
                <a:lnTo>
                  <a:pt x="8146464" y="1932575"/>
                </a:lnTo>
                <a:lnTo>
                  <a:pt x="8136553" y="1932575"/>
                </a:lnTo>
                <a:lnTo>
                  <a:pt x="8132534" y="1928535"/>
                </a:lnTo>
                <a:lnTo>
                  <a:pt x="8132534" y="1918664"/>
                </a:lnTo>
                <a:close/>
                <a:moveTo>
                  <a:pt x="8375869" y="1914608"/>
                </a:moveTo>
                <a:lnTo>
                  <a:pt x="8385779" y="1914608"/>
                </a:lnTo>
                <a:lnTo>
                  <a:pt x="8389799" y="1918647"/>
                </a:lnTo>
                <a:lnTo>
                  <a:pt x="8389799" y="1928518"/>
                </a:lnTo>
                <a:lnTo>
                  <a:pt x="8385779" y="1932557"/>
                </a:lnTo>
                <a:lnTo>
                  <a:pt x="8375869" y="1932557"/>
                </a:lnTo>
                <a:lnTo>
                  <a:pt x="8371850" y="1928518"/>
                </a:lnTo>
                <a:lnTo>
                  <a:pt x="8371850" y="1918647"/>
                </a:lnTo>
                <a:close/>
                <a:moveTo>
                  <a:pt x="9333125" y="1914608"/>
                </a:moveTo>
                <a:lnTo>
                  <a:pt x="9343036" y="1914608"/>
                </a:lnTo>
                <a:lnTo>
                  <a:pt x="9347055" y="1918646"/>
                </a:lnTo>
                <a:lnTo>
                  <a:pt x="9347055" y="1928517"/>
                </a:lnTo>
                <a:lnTo>
                  <a:pt x="9343036" y="1932557"/>
                </a:lnTo>
                <a:lnTo>
                  <a:pt x="9333125" y="1932557"/>
                </a:lnTo>
                <a:lnTo>
                  <a:pt x="9329106" y="1928517"/>
                </a:lnTo>
                <a:lnTo>
                  <a:pt x="9329106" y="1918646"/>
                </a:lnTo>
                <a:close/>
                <a:moveTo>
                  <a:pt x="9093811" y="1914608"/>
                </a:moveTo>
                <a:lnTo>
                  <a:pt x="9103722" y="1914608"/>
                </a:lnTo>
                <a:lnTo>
                  <a:pt x="9107741" y="1918646"/>
                </a:lnTo>
                <a:lnTo>
                  <a:pt x="9107741" y="1928517"/>
                </a:lnTo>
                <a:lnTo>
                  <a:pt x="9103722" y="1932557"/>
                </a:lnTo>
                <a:lnTo>
                  <a:pt x="9093811" y="1932557"/>
                </a:lnTo>
                <a:lnTo>
                  <a:pt x="9089792" y="1928517"/>
                </a:lnTo>
                <a:lnTo>
                  <a:pt x="9089792" y="1918646"/>
                </a:lnTo>
                <a:close/>
                <a:moveTo>
                  <a:pt x="8854496" y="1914608"/>
                </a:moveTo>
                <a:lnTo>
                  <a:pt x="8864407" y="1914608"/>
                </a:lnTo>
                <a:lnTo>
                  <a:pt x="8868426" y="1918646"/>
                </a:lnTo>
                <a:lnTo>
                  <a:pt x="8868426" y="1928518"/>
                </a:lnTo>
                <a:lnTo>
                  <a:pt x="8864407" y="1932557"/>
                </a:lnTo>
                <a:lnTo>
                  <a:pt x="8854496" y="1932557"/>
                </a:lnTo>
                <a:lnTo>
                  <a:pt x="8850477" y="1928518"/>
                </a:lnTo>
                <a:lnTo>
                  <a:pt x="8850477" y="1918646"/>
                </a:lnTo>
                <a:close/>
                <a:moveTo>
                  <a:pt x="8615184" y="1914608"/>
                </a:moveTo>
                <a:lnTo>
                  <a:pt x="8625095" y="1914608"/>
                </a:lnTo>
                <a:lnTo>
                  <a:pt x="8629114" y="1918646"/>
                </a:lnTo>
                <a:lnTo>
                  <a:pt x="8629114" y="1928518"/>
                </a:lnTo>
                <a:lnTo>
                  <a:pt x="8625095" y="1932557"/>
                </a:lnTo>
                <a:lnTo>
                  <a:pt x="8615184" y="1932557"/>
                </a:lnTo>
                <a:lnTo>
                  <a:pt x="8611165" y="1928518"/>
                </a:lnTo>
                <a:lnTo>
                  <a:pt x="8611165" y="1918646"/>
                </a:lnTo>
                <a:close/>
                <a:moveTo>
                  <a:pt x="9572438" y="1914590"/>
                </a:moveTo>
                <a:lnTo>
                  <a:pt x="9582349" y="1914590"/>
                </a:lnTo>
                <a:lnTo>
                  <a:pt x="9586368" y="1918629"/>
                </a:lnTo>
                <a:lnTo>
                  <a:pt x="9586368" y="1928499"/>
                </a:lnTo>
                <a:lnTo>
                  <a:pt x="9582349" y="1932538"/>
                </a:lnTo>
                <a:lnTo>
                  <a:pt x="9572438" y="1932538"/>
                </a:lnTo>
                <a:lnTo>
                  <a:pt x="9568419" y="1928499"/>
                </a:lnTo>
                <a:lnTo>
                  <a:pt x="9568419" y="1918629"/>
                </a:lnTo>
                <a:close/>
                <a:moveTo>
                  <a:pt x="243346" y="1914550"/>
                </a:moveTo>
                <a:lnTo>
                  <a:pt x="253256" y="1914550"/>
                </a:lnTo>
                <a:lnTo>
                  <a:pt x="257275" y="1918589"/>
                </a:lnTo>
                <a:lnTo>
                  <a:pt x="257275" y="1928459"/>
                </a:lnTo>
                <a:lnTo>
                  <a:pt x="253256" y="1932498"/>
                </a:lnTo>
                <a:lnTo>
                  <a:pt x="243346" y="1932498"/>
                </a:lnTo>
                <a:lnTo>
                  <a:pt x="239327" y="1928459"/>
                </a:lnTo>
                <a:lnTo>
                  <a:pt x="239327" y="1918589"/>
                </a:lnTo>
                <a:close/>
                <a:moveTo>
                  <a:pt x="4032" y="1914550"/>
                </a:moveTo>
                <a:lnTo>
                  <a:pt x="13943" y="1914550"/>
                </a:lnTo>
                <a:lnTo>
                  <a:pt x="17962" y="1918589"/>
                </a:lnTo>
                <a:lnTo>
                  <a:pt x="17962" y="1928459"/>
                </a:lnTo>
                <a:lnTo>
                  <a:pt x="13943" y="1932498"/>
                </a:lnTo>
                <a:lnTo>
                  <a:pt x="4032" y="1932498"/>
                </a:lnTo>
                <a:lnTo>
                  <a:pt x="13" y="1928459"/>
                </a:lnTo>
                <a:lnTo>
                  <a:pt x="13" y="1918589"/>
                </a:lnTo>
                <a:close/>
                <a:moveTo>
                  <a:pt x="721971" y="1914550"/>
                </a:moveTo>
                <a:lnTo>
                  <a:pt x="731882" y="1914550"/>
                </a:lnTo>
                <a:lnTo>
                  <a:pt x="735901" y="1918588"/>
                </a:lnTo>
                <a:lnTo>
                  <a:pt x="735901" y="1928459"/>
                </a:lnTo>
                <a:lnTo>
                  <a:pt x="731882" y="1932497"/>
                </a:lnTo>
                <a:lnTo>
                  <a:pt x="721971" y="1932497"/>
                </a:lnTo>
                <a:lnTo>
                  <a:pt x="717953" y="1928459"/>
                </a:lnTo>
                <a:lnTo>
                  <a:pt x="717953" y="1918588"/>
                </a:lnTo>
                <a:close/>
                <a:moveTo>
                  <a:pt x="482660" y="1914550"/>
                </a:moveTo>
                <a:lnTo>
                  <a:pt x="492570" y="1914550"/>
                </a:lnTo>
                <a:lnTo>
                  <a:pt x="496589" y="1918588"/>
                </a:lnTo>
                <a:lnTo>
                  <a:pt x="496589" y="1928459"/>
                </a:lnTo>
                <a:lnTo>
                  <a:pt x="492570" y="1932497"/>
                </a:lnTo>
                <a:lnTo>
                  <a:pt x="482660" y="1932497"/>
                </a:lnTo>
                <a:lnTo>
                  <a:pt x="478640" y="1928459"/>
                </a:lnTo>
                <a:lnTo>
                  <a:pt x="478640" y="1918588"/>
                </a:lnTo>
                <a:close/>
                <a:moveTo>
                  <a:pt x="1679215" y="1914535"/>
                </a:moveTo>
                <a:lnTo>
                  <a:pt x="1689125" y="1914535"/>
                </a:lnTo>
                <a:lnTo>
                  <a:pt x="1693144" y="1918573"/>
                </a:lnTo>
                <a:lnTo>
                  <a:pt x="1693144" y="1928444"/>
                </a:lnTo>
                <a:lnTo>
                  <a:pt x="1689125" y="1932482"/>
                </a:lnTo>
                <a:lnTo>
                  <a:pt x="1679215" y="1932482"/>
                </a:lnTo>
                <a:lnTo>
                  <a:pt x="1675195" y="1928444"/>
                </a:lnTo>
                <a:lnTo>
                  <a:pt x="1675195" y="1918573"/>
                </a:lnTo>
                <a:close/>
                <a:moveTo>
                  <a:pt x="1439897" y="1914535"/>
                </a:moveTo>
                <a:lnTo>
                  <a:pt x="1449808" y="1914535"/>
                </a:lnTo>
                <a:lnTo>
                  <a:pt x="1453827" y="1918573"/>
                </a:lnTo>
                <a:lnTo>
                  <a:pt x="1453827" y="1928444"/>
                </a:lnTo>
                <a:lnTo>
                  <a:pt x="1449808" y="1932483"/>
                </a:lnTo>
                <a:lnTo>
                  <a:pt x="1439897" y="1932483"/>
                </a:lnTo>
                <a:lnTo>
                  <a:pt x="1435879" y="1928444"/>
                </a:lnTo>
                <a:lnTo>
                  <a:pt x="1435879" y="1918573"/>
                </a:lnTo>
                <a:close/>
                <a:moveTo>
                  <a:pt x="1200582" y="1914535"/>
                </a:moveTo>
                <a:lnTo>
                  <a:pt x="1210492" y="1914535"/>
                </a:lnTo>
                <a:lnTo>
                  <a:pt x="1214511" y="1918573"/>
                </a:lnTo>
                <a:lnTo>
                  <a:pt x="1214511" y="1928444"/>
                </a:lnTo>
                <a:lnTo>
                  <a:pt x="1210492" y="1932483"/>
                </a:lnTo>
                <a:lnTo>
                  <a:pt x="1200582" y="1932483"/>
                </a:lnTo>
                <a:lnTo>
                  <a:pt x="1196563" y="1928444"/>
                </a:lnTo>
                <a:lnTo>
                  <a:pt x="1196563" y="1918573"/>
                </a:lnTo>
                <a:close/>
                <a:moveTo>
                  <a:pt x="961269" y="1914535"/>
                </a:moveTo>
                <a:lnTo>
                  <a:pt x="971179" y="1914535"/>
                </a:lnTo>
                <a:lnTo>
                  <a:pt x="975198" y="1918573"/>
                </a:lnTo>
                <a:lnTo>
                  <a:pt x="975198" y="1928444"/>
                </a:lnTo>
                <a:lnTo>
                  <a:pt x="971179" y="1932483"/>
                </a:lnTo>
                <a:lnTo>
                  <a:pt x="961269" y="1932483"/>
                </a:lnTo>
                <a:lnTo>
                  <a:pt x="957250" y="1928444"/>
                </a:lnTo>
                <a:lnTo>
                  <a:pt x="957250" y="1918573"/>
                </a:lnTo>
                <a:close/>
                <a:moveTo>
                  <a:pt x="1918513" y="1914523"/>
                </a:moveTo>
                <a:lnTo>
                  <a:pt x="1928424" y="1914523"/>
                </a:lnTo>
                <a:lnTo>
                  <a:pt x="1932443" y="1918562"/>
                </a:lnTo>
                <a:lnTo>
                  <a:pt x="1932443" y="1928432"/>
                </a:lnTo>
                <a:lnTo>
                  <a:pt x="1928424" y="1932471"/>
                </a:lnTo>
                <a:lnTo>
                  <a:pt x="1918513" y="1932471"/>
                </a:lnTo>
                <a:lnTo>
                  <a:pt x="1914494" y="1928432"/>
                </a:lnTo>
                <a:lnTo>
                  <a:pt x="1914494" y="1918562"/>
                </a:lnTo>
                <a:close/>
                <a:moveTo>
                  <a:pt x="2157821" y="1914520"/>
                </a:moveTo>
                <a:lnTo>
                  <a:pt x="2167732" y="1914520"/>
                </a:lnTo>
                <a:lnTo>
                  <a:pt x="2171751" y="1918558"/>
                </a:lnTo>
                <a:lnTo>
                  <a:pt x="2171751" y="1928428"/>
                </a:lnTo>
                <a:lnTo>
                  <a:pt x="2167732" y="1932467"/>
                </a:lnTo>
                <a:lnTo>
                  <a:pt x="2157821" y="1932467"/>
                </a:lnTo>
                <a:lnTo>
                  <a:pt x="2153803" y="1928428"/>
                </a:lnTo>
                <a:lnTo>
                  <a:pt x="2153803" y="1918558"/>
                </a:lnTo>
                <a:close/>
                <a:moveTo>
                  <a:pt x="2871737" y="1675350"/>
                </a:moveTo>
                <a:lnTo>
                  <a:pt x="2881646" y="1675350"/>
                </a:lnTo>
                <a:lnTo>
                  <a:pt x="2885666" y="1679389"/>
                </a:lnTo>
                <a:lnTo>
                  <a:pt x="2885666" y="1689260"/>
                </a:lnTo>
                <a:lnTo>
                  <a:pt x="2881646" y="1693299"/>
                </a:lnTo>
                <a:lnTo>
                  <a:pt x="2871737" y="1693299"/>
                </a:lnTo>
                <a:lnTo>
                  <a:pt x="2867717" y="1689260"/>
                </a:lnTo>
                <a:lnTo>
                  <a:pt x="2867717" y="1679389"/>
                </a:lnTo>
                <a:close/>
                <a:moveTo>
                  <a:pt x="2632423" y="1675350"/>
                </a:moveTo>
                <a:lnTo>
                  <a:pt x="2642334" y="1675350"/>
                </a:lnTo>
                <a:lnTo>
                  <a:pt x="2646352" y="1679389"/>
                </a:lnTo>
                <a:lnTo>
                  <a:pt x="2646352" y="1689260"/>
                </a:lnTo>
                <a:lnTo>
                  <a:pt x="2642334" y="1693299"/>
                </a:lnTo>
                <a:lnTo>
                  <a:pt x="2632423" y="1693299"/>
                </a:lnTo>
                <a:lnTo>
                  <a:pt x="2628404" y="1689260"/>
                </a:lnTo>
                <a:lnTo>
                  <a:pt x="2628404" y="1679389"/>
                </a:lnTo>
                <a:close/>
                <a:moveTo>
                  <a:pt x="2393104" y="1675350"/>
                </a:moveTo>
                <a:lnTo>
                  <a:pt x="2403015" y="1675350"/>
                </a:lnTo>
                <a:lnTo>
                  <a:pt x="2407034" y="1679389"/>
                </a:lnTo>
                <a:lnTo>
                  <a:pt x="2407034" y="1689260"/>
                </a:lnTo>
                <a:lnTo>
                  <a:pt x="2403015" y="1693299"/>
                </a:lnTo>
                <a:lnTo>
                  <a:pt x="2393104" y="1693299"/>
                </a:lnTo>
                <a:lnTo>
                  <a:pt x="2389087" y="1689260"/>
                </a:lnTo>
                <a:lnTo>
                  <a:pt x="2389087" y="1679389"/>
                </a:lnTo>
                <a:close/>
                <a:moveTo>
                  <a:pt x="3350359" y="1675349"/>
                </a:moveTo>
                <a:lnTo>
                  <a:pt x="3360268" y="1675349"/>
                </a:lnTo>
                <a:lnTo>
                  <a:pt x="3364287" y="1679388"/>
                </a:lnTo>
                <a:lnTo>
                  <a:pt x="3364287" y="1689260"/>
                </a:lnTo>
                <a:lnTo>
                  <a:pt x="3360268" y="1693298"/>
                </a:lnTo>
                <a:lnTo>
                  <a:pt x="3350359" y="1693298"/>
                </a:lnTo>
                <a:lnTo>
                  <a:pt x="3346340" y="1689260"/>
                </a:lnTo>
                <a:lnTo>
                  <a:pt x="3346340" y="1679388"/>
                </a:lnTo>
                <a:close/>
                <a:moveTo>
                  <a:pt x="3111048" y="1675349"/>
                </a:moveTo>
                <a:lnTo>
                  <a:pt x="3120959" y="1675349"/>
                </a:lnTo>
                <a:lnTo>
                  <a:pt x="3124977" y="1679388"/>
                </a:lnTo>
                <a:lnTo>
                  <a:pt x="3124977" y="1689260"/>
                </a:lnTo>
                <a:lnTo>
                  <a:pt x="3120959" y="1693299"/>
                </a:lnTo>
                <a:lnTo>
                  <a:pt x="3111048" y="1693299"/>
                </a:lnTo>
                <a:lnTo>
                  <a:pt x="3107029" y="1689260"/>
                </a:lnTo>
                <a:lnTo>
                  <a:pt x="3107029" y="1679388"/>
                </a:lnTo>
                <a:close/>
                <a:moveTo>
                  <a:pt x="4068297" y="1675334"/>
                </a:moveTo>
                <a:lnTo>
                  <a:pt x="4078210" y="1675334"/>
                </a:lnTo>
                <a:lnTo>
                  <a:pt x="4082229" y="1679373"/>
                </a:lnTo>
                <a:lnTo>
                  <a:pt x="4082229" y="1689243"/>
                </a:lnTo>
                <a:lnTo>
                  <a:pt x="4078210" y="1693282"/>
                </a:lnTo>
                <a:lnTo>
                  <a:pt x="4068297" y="1693282"/>
                </a:lnTo>
                <a:lnTo>
                  <a:pt x="4064278" y="1689243"/>
                </a:lnTo>
                <a:lnTo>
                  <a:pt x="4064278" y="1679373"/>
                </a:lnTo>
                <a:close/>
                <a:moveTo>
                  <a:pt x="3828990" y="1675334"/>
                </a:moveTo>
                <a:lnTo>
                  <a:pt x="3838899" y="1675334"/>
                </a:lnTo>
                <a:lnTo>
                  <a:pt x="3842917" y="1679373"/>
                </a:lnTo>
                <a:lnTo>
                  <a:pt x="3842917" y="1689243"/>
                </a:lnTo>
                <a:lnTo>
                  <a:pt x="3838899" y="1693282"/>
                </a:lnTo>
                <a:lnTo>
                  <a:pt x="3828990" y="1693282"/>
                </a:lnTo>
                <a:lnTo>
                  <a:pt x="3824971" y="1689243"/>
                </a:lnTo>
                <a:lnTo>
                  <a:pt x="3824971" y="1679373"/>
                </a:lnTo>
                <a:close/>
                <a:moveTo>
                  <a:pt x="3589676" y="1675334"/>
                </a:moveTo>
                <a:lnTo>
                  <a:pt x="3599585" y="1675334"/>
                </a:lnTo>
                <a:lnTo>
                  <a:pt x="3603604" y="1679373"/>
                </a:lnTo>
                <a:lnTo>
                  <a:pt x="3603604" y="1689243"/>
                </a:lnTo>
                <a:lnTo>
                  <a:pt x="3599585" y="1693282"/>
                </a:lnTo>
                <a:lnTo>
                  <a:pt x="3589676" y="1693282"/>
                </a:lnTo>
                <a:lnTo>
                  <a:pt x="3585657" y="1689243"/>
                </a:lnTo>
                <a:lnTo>
                  <a:pt x="3585657" y="1679373"/>
                </a:lnTo>
                <a:close/>
                <a:moveTo>
                  <a:pt x="4546929" y="1675333"/>
                </a:moveTo>
                <a:lnTo>
                  <a:pt x="4556840" y="1675333"/>
                </a:lnTo>
                <a:lnTo>
                  <a:pt x="4560859" y="1679372"/>
                </a:lnTo>
                <a:lnTo>
                  <a:pt x="4560859" y="1689243"/>
                </a:lnTo>
                <a:lnTo>
                  <a:pt x="4556840" y="1693281"/>
                </a:lnTo>
                <a:lnTo>
                  <a:pt x="4546929" y="1693281"/>
                </a:lnTo>
                <a:lnTo>
                  <a:pt x="4542910" y="1689243"/>
                </a:lnTo>
                <a:lnTo>
                  <a:pt x="4542910" y="1679372"/>
                </a:lnTo>
                <a:close/>
                <a:moveTo>
                  <a:pt x="4307612" y="1675333"/>
                </a:moveTo>
                <a:lnTo>
                  <a:pt x="4317523" y="1675333"/>
                </a:lnTo>
                <a:lnTo>
                  <a:pt x="4321543" y="1679372"/>
                </a:lnTo>
                <a:lnTo>
                  <a:pt x="4321543" y="1689243"/>
                </a:lnTo>
                <a:lnTo>
                  <a:pt x="4317523" y="1693282"/>
                </a:lnTo>
                <a:lnTo>
                  <a:pt x="4307612" y="1693282"/>
                </a:lnTo>
                <a:lnTo>
                  <a:pt x="4303595" y="1689243"/>
                </a:lnTo>
                <a:lnTo>
                  <a:pt x="4303595" y="1679372"/>
                </a:lnTo>
                <a:close/>
                <a:moveTo>
                  <a:pt x="5264784" y="1675318"/>
                </a:moveTo>
                <a:lnTo>
                  <a:pt x="5274694" y="1675318"/>
                </a:lnTo>
                <a:lnTo>
                  <a:pt x="5278713" y="1679357"/>
                </a:lnTo>
                <a:lnTo>
                  <a:pt x="5278713" y="1689227"/>
                </a:lnTo>
                <a:lnTo>
                  <a:pt x="5274694" y="1693266"/>
                </a:lnTo>
                <a:lnTo>
                  <a:pt x="5264784" y="1693266"/>
                </a:lnTo>
                <a:lnTo>
                  <a:pt x="5260765" y="1689227"/>
                </a:lnTo>
                <a:lnTo>
                  <a:pt x="5260765" y="1679357"/>
                </a:lnTo>
                <a:close/>
                <a:moveTo>
                  <a:pt x="5025470" y="1675318"/>
                </a:moveTo>
                <a:lnTo>
                  <a:pt x="5035381" y="1675318"/>
                </a:lnTo>
                <a:lnTo>
                  <a:pt x="5039400" y="1679357"/>
                </a:lnTo>
                <a:lnTo>
                  <a:pt x="5039400" y="1689227"/>
                </a:lnTo>
                <a:lnTo>
                  <a:pt x="5035381" y="1693266"/>
                </a:lnTo>
                <a:lnTo>
                  <a:pt x="5025470" y="1693266"/>
                </a:lnTo>
                <a:lnTo>
                  <a:pt x="5021451" y="1689227"/>
                </a:lnTo>
                <a:lnTo>
                  <a:pt x="5021451" y="1679357"/>
                </a:lnTo>
                <a:close/>
                <a:moveTo>
                  <a:pt x="4786241" y="1675318"/>
                </a:moveTo>
                <a:lnTo>
                  <a:pt x="4796152" y="1675318"/>
                </a:lnTo>
                <a:lnTo>
                  <a:pt x="4800171" y="1679357"/>
                </a:lnTo>
                <a:lnTo>
                  <a:pt x="4800171" y="1689227"/>
                </a:lnTo>
                <a:lnTo>
                  <a:pt x="4796152" y="1693266"/>
                </a:lnTo>
                <a:lnTo>
                  <a:pt x="4786241" y="1693266"/>
                </a:lnTo>
                <a:lnTo>
                  <a:pt x="4782224" y="1689227"/>
                </a:lnTo>
                <a:lnTo>
                  <a:pt x="4782224" y="1679357"/>
                </a:lnTo>
                <a:close/>
                <a:moveTo>
                  <a:pt x="5743412" y="1675316"/>
                </a:moveTo>
                <a:lnTo>
                  <a:pt x="5753323" y="1675316"/>
                </a:lnTo>
                <a:lnTo>
                  <a:pt x="5757342" y="1679356"/>
                </a:lnTo>
                <a:lnTo>
                  <a:pt x="5757342" y="1689227"/>
                </a:lnTo>
                <a:lnTo>
                  <a:pt x="5753323" y="1693266"/>
                </a:lnTo>
                <a:lnTo>
                  <a:pt x="5743412" y="1693266"/>
                </a:lnTo>
                <a:lnTo>
                  <a:pt x="5739393" y="1689227"/>
                </a:lnTo>
                <a:lnTo>
                  <a:pt x="5739393" y="1679356"/>
                </a:lnTo>
                <a:close/>
                <a:moveTo>
                  <a:pt x="5504099" y="1675316"/>
                </a:moveTo>
                <a:lnTo>
                  <a:pt x="5514010" y="1675316"/>
                </a:lnTo>
                <a:lnTo>
                  <a:pt x="5518029" y="1679356"/>
                </a:lnTo>
                <a:lnTo>
                  <a:pt x="5518029" y="1689227"/>
                </a:lnTo>
                <a:lnTo>
                  <a:pt x="5514010" y="1693266"/>
                </a:lnTo>
                <a:lnTo>
                  <a:pt x="5504099" y="1693266"/>
                </a:lnTo>
                <a:lnTo>
                  <a:pt x="5500080" y="1689227"/>
                </a:lnTo>
                <a:lnTo>
                  <a:pt x="5500080" y="1679356"/>
                </a:lnTo>
                <a:close/>
                <a:moveTo>
                  <a:pt x="6461356" y="1675301"/>
                </a:moveTo>
                <a:lnTo>
                  <a:pt x="6471266" y="1675301"/>
                </a:lnTo>
                <a:lnTo>
                  <a:pt x="6475285" y="1679339"/>
                </a:lnTo>
                <a:lnTo>
                  <a:pt x="6475285" y="1689210"/>
                </a:lnTo>
                <a:lnTo>
                  <a:pt x="6471266" y="1693249"/>
                </a:lnTo>
                <a:lnTo>
                  <a:pt x="6461356" y="1693249"/>
                </a:lnTo>
                <a:lnTo>
                  <a:pt x="6457337" y="1689210"/>
                </a:lnTo>
                <a:lnTo>
                  <a:pt x="6457337" y="1679339"/>
                </a:lnTo>
                <a:close/>
                <a:moveTo>
                  <a:pt x="6222042" y="1675301"/>
                </a:moveTo>
                <a:lnTo>
                  <a:pt x="6231952" y="1675301"/>
                </a:lnTo>
                <a:lnTo>
                  <a:pt x="6235971" y="1679339"/>
                </a:lnTo>
                <a:lnTo>
                  <a:pt x="6235971" y="1689211"/>
                </a:lnTo>
                <a:lnTo>
                  <a:pt x="6231952" y="1693249"/>
                </a:lnTo>
                <a:lnTo>
                  <a:pt x="6222042" y="1693249"/>
                </a:lnTo>
                <a:lnTo>
                  <a:pt x="6218023" y="1689211"/>
                </a:lnTo>
                <a:lnTo>
                  <a:pt x="6218023" y="1679339"/>
                </a:lnTo>
                <a:close/>
                <a:moveTo>
                  <a:pt x="5982729" y="1675301"/>
                </a:moveTo>
                <a:lnTo>
                  <a:pt x="5992639" y="1675301"/>
                </a:lnTo>
                <a:lnTo>
                  <a:pt x="5996658" y="1679339"/>
                </a:lnTo>
                <a:lnTo>
                  <a:pt x="5996658" y="1689211"/>
                </a:lnTo>
                <a:lnTo>
                  <a:pt x="5992639" y="1693251"/>
                </a:lnTo>
                <a:lnTo>
                  <a:pt x="5982729" y="1693251"/>
                </a:lnTo>
                <a:lnTo>
                  <a:pt x="5978710" y="1689211"/>
                </a:lnTo>
                <a:lnTo>
                  <a:pt x="5978710" y="1679339"/>
                </a:lnTo>
                <a:close/>
                <a:moveTo>
                  <a:pt x="6939983" y="1675300"/>
                </a:moveTo>
                <a:lnTo>
                  <a:pt x="6949894" y="1675300"/>
                </a:lnTo>
                <a:lnTo>
                  <a:pt x="6953913" y="1679339"/>
                </a:lnTo>
                <a:lnTo>
                  <a:pt x="6953913" y="1689210"/>
                </a:lnTo>
                <a:lnTo>
                  <a:pt x="6949894" y="1693249"/>
                </a:lnTo>
                <a:lnTo>
                  <a:pt x="6939983" y="1693249"/>
                </a:lnTo>
                <a:lnTo>
                  <a:pt x="6935964" y="1689210"/>
                </a:lnTo>
                <a:lnTo>
                  <a:pt x="6935964" y="1679339"/>
                </a:lnTo>
                <a:close/>
                <a:moveTo>
                  <a:pt x="6700670" y="1675300"/>
                </a:moveTo>
                <a:lnTo>
                  <a:pt x="6710581" y="1675300"/>
                </a:lnTo>
                <a:lnTo>
                  <a:pt x="6714600" y="1679339"/>
                </a:lnTo>
                <a:lnTo>
                  <a:pt x="6714600" y="1689210"/>
                </a:lnTo>
                <a:lnTo>
                  <a:pt x="6710581" y="1693249"/>
                </a:lnTo>
                <a:lnTo>
                  <a:pt x="6700670" y="1693249"/>
                </a:lnTo>
                <a:lnTo>
                  <a:pt x="6696651" y="1689210"/>
                </a:lnTo>
                <a:lnTo>
                  <a:pt x="6696651" y="1679339"/>
                </a:lnTo>
                <a:close/>
                <a:moveTo>
                  <a:pt x="8136553" y="1675285"/>
                </a:moveTo>
                <a:lnTo>
                  <a:pt x="8146464" y="1675285"/>
                </a:lnTo>
                <a:lnTo>
                  <a:pt x="8150483" y="1679323"/>
                </a:lnTo>
                <a:lnTo>
                  <a:pt x="8150483" y="1689193"/>
                </a:lnTo>
                <a:lnTo>
                  <a:pt x="8146464" y="1693232"/>
                </a:lnTo>
                <a:lnTo>
                  <a:pt x="8136553" y="1693232"/>
                </a:lnTo>
                <a:lnTo>
                  <a:pt x="8132534" y="1689193"/>
                </a:lnTo>
                <a:lnTo>
                  <a:pt x="8132534" y="1679323"/>
                </a:lnTo>
                <a:close/>
                <a:moveTo>
                  <a:pt x="7897241" y="1675285"/>
                </a:moveTo>
                <a:lnTo>
                  <a:pt x="7907151" y="1675285"/>
                </a:lnTo>
                <a:lnTo>
                  <a:pt x="7911170" y="1679323"/>
                </a:lnTo>
                <a:lnTo>
                  <a:pt x="7911170" y="1689193"/>
                </a:lnTo>
                <a:lnTo>
                  <a:pt x="7907151" y="1693232"/>
                </a:lnTo>
                <a:lnTo>
                  <a:pt x="7897241" y="1693232"/>
                </a:lnTo>
                <a:lnTo>
                  <a:pt x="7893222" y="1689193"/>
                </a:lnTo>
                <a:lnTo>
                  <a:pt x="7893222" y="1679323"/>
                </a:lnTo>
                <a:close/>
                <a:moveTo>
                  <a:pt x="7657926" y="1675285"/>
                </a:moveTo>
                <a:lnTo>
                  <a:pt x="7667836" y="1675285"/>
                </a:lnTo>
                <a:lnTo>
                  <a:pt x="7671855" y="1679323"/>
                </a:lnTo>
                <a:lnTo>
                  <a:pt x="7671855" y="1689193"/>
                </a:lnTo>
                <a:lnTo>
                  <a:pt x="7667836" y="1693232"/>
                </a:lnTo>
                <a:lnTo>
                  <a:pt x="7657926" y="1693232"/>
                </a:lnTo>
                <a:lnTo>
                  <a:pt x="7653906" y="1689193"/>
                </a:lnTo>
                <a:lnTo>
                  <a:pt x="7653906" y="1679323"/>
                </a:lnTo>
                <a:close/>
                <a:moveTo>
                  <a:pt x="7418611" y="1675285"/>
                </a:moveTo>
                <a:lnTo>
                  <a:pt x="7428521" y="1675285"/>
                </a:lnTo>
                <a:lnTo>
                  <a:pt x="7432540" y="1679323"/>
                </a:lnTo>
                <a:lnTo>
                  <a:pt x="7432540" y="1689195"/>
                </a:lnTo>
                <a:lnTo>
                  <a:pt x="7428521" y="1693232"/>
                </a:lnTo>
                <a:lnTo>
                  <a:pt x="7418611" y="1693232"/>
                </a:lnTo>
                <a:lnTo>
                  <a:pt x="7414592" y="1689195"/>
                </a:lnTo>
                <a:lnTo>
                  <a:pt x="7414592" y="1679323"/>
                </a:lnTo>
                <a:close/>
                <a:moveTo>
                  <a:pt x="7179298" y="1675285"/>
                </a:moveTo>
                <a:lnTo>
                  <a:pt x="7189209" y="1675285"/>
                </a:lnTo>
                <a:lnTo>
                  <a:pt x="7193228" y="1679323"/>
                </a:lnTo>
                <a:lnTo>
                  <a:pt x="7193228" y="1689195"/>
                </a:lnTo>
                <a:lnTo>
                  <a:pt x="7189209" y="1693234"/>
                </a:lnTo>
                <a:lnTo>
                  <a:pt x="7179298" y="1693234"/>
                </a:lnTo>
                <a:lnTo>
                  <a:pt x="7175279" y="1689195"/>
                </a:lnTo>
                <a:lnTo>
                  <a:pt x="7175279" y="1679323"/>
                </a:lnTo>
                <a:close/>
                <a:moveTo>
                  <a:pt x="9333125" y="1675268"/>
                </a:moveTo>
                <a:lnTo>
                  <a:pt x="9343036" y="1675268"/>
                </a:lnTo>
                <a:lnTo>
                  <a:pt x="9347055" y="1679306"/>
                </a:lnTo>
                <a:lnTo>
                  <a:pt x="9347055" y="1689177"/>
                </a:lnTo>
                <a:lnTo>
                  <a:pt x="9343036" y="1693216"/>
                </a:lnTo>
                <a:lnTo>
                  <a:pt x="9333125" y="1693216"/>
                </a:lnTo>
                <a:lnTo>
                  <a:pt x="9329106" y="1689177"/>
                </a:lnTo>
                <a:lnTo>
                  <a:pt x="9329106" y="1679306"/>
                </a:lnTo>
                <a:close/>
                <a:moveTo>
                  <a:pt x="9093811" y="1675268"/>
                </a:moveTo>
                <a:lnTo>
                  <a:pt x="9103722" y="1675268"/>
                </a:lnTo>
                <a:lnTo>
                  <a:pt x="9107741" y="1679306"/>
                </a:lnTo>
                <a:lnTo>
                  <a:pt x="9107741" y="1689177"/>
                </a:lnTo>
                <a:lnTo>
                  <a:pt x="9103722" y="1693217"/>
                </a:lnTo>
                <a:lnTo>
                  <a:pt x="9093811" y="1693217"/>
                </a:lnTo>
                <a:lnTo>
                  <a:pt x="9089792" y="1689177"/>
                </a:lnTo>
                <a:lnTo>
                  <a:pt x="9089792" y="1679306"/>
                </a:lnTo>
                <a:close/>
                <a:moveTo>
                  <a:pt x="8854496" y="1675268"/>
                </a:moveTo>
                <a:lnTo>
                  <a:pt x="8864407" y="1675268"/>
                </a:lnTo>
                <a:lnTo>
                  <a:pt x="8868426" y="1679307"/>
                </a:lnTo>
                <a:lnTo>
                  <a:pt x="8868426" y="1689177"/>
                </a:lnTo>
                <a:lnTo>
                  <a:pt x="8864407" y="1693217"/>
                </a:lnTo>
                <a:lnTo>
                  <a:pt x="8854496" y="1693217"/>
                </a:lnTo>
                <a:lnTo>
                  <a:pt x="8850477" y="1689177"/>
                </a:lnTo>
                <a:lnTo>
                  <a:pt x="8850477" y="1679307"/>
                </a:lnTo>
                <a:close/>
                <a:moveTo>
                  <a:pt x="8615184" y="1675268"/>
                </a:moveTo>
                <a:lnTo>
                  <a:pt x="8625095" y="1675268"/>
                </a:lnTo>
                <a:lnTo>
                  <a:pt x="8629114" y="1679307"/>
                </a:lnTo>
                <a:lnTo>
                  <a:pt x="8629114" y="1689178"/>
                </a:lnTo>
                <a:lnTo>
                  <a:pt x="8625095" y="1693217"/>
                </a:lnTo>
                <a:lnTo>
                  <a:pt x="8615184" y="1693217"/>
                </a:lnTo>
                <a:lnTo>
                  <a:pt x="8611165" y="1689178"/>
                </a:lnTo>
                <a:lnTo>
                  <a:pt x="8611165" y="1679307"/>
                </a:lnTo>
                <a:close/>
                <a:moveTo>
                  <a:pt x="8375869" y="1675268"/>
                </a:moveTo>
                <a:lnTo>
                  <a:pt x="8385779" y="1675268"/>
                </a:lnTo>
                <a:lnTo>
                  <a:pt x="8389799" y="1679307"/>
                </a:lnTo>
                <a:lnTo>
                  <a:pt x="8389799" y="1689178"/>
                </a:lnTo>
                <a:lnTo>
                  <a:pt x="8385779" y="1693217"/>
                </a:lnTo>
                <a:lnTo>
                  <a:pt x="8375869" y="1693217"/>
                </a:lnTo>
                <a:lnTo>
                  <a:pt x="8371850" y="1689178"/>
                </a:lnTo>
                <a:lnTo>
                  <a:pt x="8371850" y="1679307"/>
                </a:lnTo>
                <a:close/>
                <a:moveTo>
                  <a:pt x="961270" y="1675255"/>
                </a:moveTo>
                <a:lnTo>
                  <a:pt x="971180" y="1675255"/>
                </a:lnTo>
                <a:lnTo>
                  <a:pt x="975199" y="1679292"/>
                </a:lnTo>
                <a:lnTo>
                  <a:pt x="975199" y="1689163"/>
                </a:lnTo>
                <a:lnTo>
                  <a:pt x="971180" y="1693202"/>
                </a:lnTo>
                <a:lnTo>
                  <a:pt x="961270" y="1693202"/>
                </a:lnTo>
                <a:lnTo>
                  <a:pt x="957251" y="1689163"/>
                </a:lnTo>
                <a:lnTo>
                  <a:pt x="957251" y="1679292"/>
                </a:lnTo>
                <a:close/>
                <a:moveTo>
                  <a:pt x="1679215" y="1675254"/>
                </a:moveTo>
                <a:lnTo>
                  <a:pt x="1689126" y="1675254"/>
                </a:lnTo>
                <a:lnTo>
                  <a:pt x="1693145" y="1679292"/>
                </a:lnTo>
                <a:lnTo>
                  <a:pt x="1693145" y="1689163"/>
                </a:lnTo>
                <a:lnTo>
                  <a:pt x="1689126" y="1693202"/>
                </a:lnTo>
                <a:lnTo>
                  <a:pt x="1679215" y="1693202"/>
                </a:lnTo>
                <a:lnTo>
                  <a:pt x="1675196" y="1689163"/>
                </a:lnTo>
                <a:lnTo>
                  <a:pt x="1675196" y="1679292"/>
                </a:lnTo>
                <a:close/>
                <a:moveTo>
                  <a:pt x="1439898" y="1675254"/>
                </a:moveTo>
                <a:lnTo>
                  <a:pt x="1449808" y="1675254"/>
                </a:lnTo>
                <a:lnTo>
                  <a:pt x="1453828" y="1679292"/>
                </a:lnTo>
                <a:lnTo>
                  <a:pt x="1453828" y="1689163"/>
                </a:lnTo>
                <a:lnTo>
                  <a:pt x="1449808" y="1693202"/>
                </a:lnTo>
                <a:lnTo>
                  <a:pt x="1439898" y="1693202"/>
                </a:lnTo>
                <a:lnTo>
                  <a:pt x="1435880" y="1689163"/>
                </a:lnTo>
                <a:lnTo>
                  <a:pt x="1435880" y="1679292"/>
                </a:lnTo>
                <a:close/>
                <a:moveTo>
                  <a:pt x="1200583" y="1675254"/>
                </a:moveTo>
                <a:lnTo>
                  <a:pt x="1210493" y="1675254"/>
                </a:lnTo>
                <a:lnTo>
                  <a:pt x="1214511" y="1679292"/>
                </a:lnTo>
                <a:lnTo>
                  <a:pt x="1214511" y="1689163"/>
                </a:lnTo>
                <a:lnTo>
                  <a:pt x="1210493" y="1693202"/>
                </a:lnTo>
                <a:lnTo>
                  <a:pt x="1200583" y="1693202"/>
                </a:lnTo>
                <a:lnTo>
                  <a:pt x="1196564" y="1689163"/>
                </a:lnTo>
                <a:lnTo>
                  <a:pt x="1196564" y="1679292"/>
                </a:lnTo>
                <a:close/>
                <a:moveTo>
                  <a:pt x="9572438" y="1675251"/>
                </a:moveTo>
                <a:lnTo>
                  <a:pt x="9582349" y="1675251"/>
                </a:lnTo>
                <a:lnTo>
                  <a:pt x="9586368" y="1679290"/>
                </a:lnTo>
                <a:lnTo>
                  <a:pt x="9586368" y="1689161"/>
                </a:lnTo>
                <a:lnTo>
                  <a:pt x="9582349" y="1693201"/>
                </a:lnTo>
                <a:lnTo>
                  <a:pt x="9572438" y="1693201"/>
                </a:lnTo>
                <a:lnTo>
                  <a:pt x="9568419" y="1689161"/>
                </a:lnTo>
                <a:lnTo>
                  <a:pt x="9568419" y="1679290"/>
                </a:lnTo>
                <a:close/>
                <a:moveTo>
                  <a:pt x="1918514" y="1675243"/>
                </a:moveTo>
                <a:lnTo>
                  <a:pt x="1928424" y="1675243"/>
                </a:lnTo>
                <a:lnTo>
                  <a:pt x="1932443" y="1679282"/>
                </a:lnTo>
                <a:lnTo>
                  <a:pt x="1932443" y="1689153"/>
                </a:lnTo>
                <a:lnTo>
                  <a:pt x="1928424" y="1693191"/>
                </a:lnTo>
                <a:lnTo>
                  <a:pt x="1918514" y="1693191"/>
                </a:lnTo>
                <a:lnTo>
                  <a:pt x="1914494" y="1689153"/>
                </a:lnTo>
                <a:lnTo>
                  <a:pt x="1914494" y="1679282"/>
                </a:lnTo>
                <a:close/>
                <a:moveTo>
                  <a:pt x="2157821" y="1675240"/>
                </a:moveTo>
                <a:lnTo>
                  <a:pt x="2167732" y="1675240"/>
                </a:lnTo>
                <a:lnTo>
                  <a:pt x="2171751" y="1679279"/>
                </a:lnTo>
                <a:lnTo>
                  <a:pt x="2171751" y="1689149"/>
                </a:lnTo>
                <a:lnTo>
                  <a:pt x="2167732" y="1693188"/>
                </a:lnTo>
                <a:lnTo>
                  <a:pt x="2157821" y="1693188"/>
                </a:lnTo>
                <a:lnTo>
                  <a:pt x="2153803" y="1689149"/>
                </a:lnTo>
                <a:lnTo>
                  <a:pt x="2153803" y="1679279"/>
                </a:lnTo>
                <a:close/>
                <a:moveTo>
                  <a:pt x="243346" y="1675216"/>
                </a:moveTo>
                <a:lnTo>
                  <a:pt x="253257" y="1675216"/>
                </a:lnTo>
                <a:lnTo>
                  <a:pt x="257276" y="1679254"/>
                </a:lnTo>
                <a:lnTo>
                  <a:pt x="257276" y="1689125"/>
                </a:lnTo>
                <a:lnTo>
                  <a:pt x="253257" y="1693164"/>
                </a:lnTo>
                <a:lnTo>
                  <a:pt x="243346" y="1693164"/>
                </a:lnTo>
                <a:lnTo>
                  <a:pt x="239327" y="1689125"/>
                </a:lnTo>
                <a:lnTo>
                  <a:pt x="239327" y="1679254"/>
                </a:lnTo>
                <a:close/>
                <a:moveTo>
                  <a:pt x="4034" y="1675216"/>
                </a:moveTo>
                <a:lnTo>
                  <a:pt x="13943" y="1675216"/>
                </a:lnTo>
                <a:lnTo>
                  <a:pt x="17962" y="1679254"/>
                </a:lnTo>
                <a:lnTo>
                  <a:pt x="17962" y="1689125"/>
                </a:lnTo>
                <a:lnTo>
                  <a:pt x="13943" y="1693164"/>
                </a:lnTo>
                <a:lnTo>
                  <a:pt x="4034" y="1693164"/>
                </a:lnTo>
                <a:lnTo>
                  <a:pt x="14" y="1689125"/>
                </a:lnTo>
                <a:lnTo>
                  <a:pt x="14" y="1679254"/>
                </a:lnTo>
                <a:close/>
                <a:moveTo>
                  <a:pt x="721972" y="1675216"/>
                </a:moveTo>
                <a:lnTo>
                  <a:pt x="731882" y="1675216"/>
                </a:lnTo>
                <a:lnTo>
                  <a:pt x="735902" y="1679254"/>
                </a:lnTo>
                <a:lnTo>
                  <a:pt x="735902" y="1689125"/>
                </a:lnTo>
                <a:lnTo>
                  <a:pt x="731882" y="1693164"/>
                </a:lnTo>
                <a:lnTo>
                  <a:pt x="721972" y="1693164"/>
                </a:lnTo>
                <a:lnTo>
                  <a:pt x="717954" y="1689125"/>
                </a:lnTo>
                <a:lnTo>
                  <a:pt x="717954" y="1679254"/>
                </a:lnTo>
                <a:close/>
                <a:moveTo>
                  <a:pt x="482660" y="1675216"/>
                </a:moveTo>
                <a:lnTo>
                  <a:pt x="492571" y="1675216"/>
                </a:lnTo>
                <a:lnTo>
                  <a:pt x="496589" y="1679254"/>
                </a:lnTo>
                <a:lnTo>
                  <a:pt x="496589" y="1689125"/>
                </a:lnTo>
                <a:lnTo>
                  <a:pt x="492571" y="1693164"/>
                </a:lnTo>
                <a:lnTo>
                  <a:pt x="482660" y="1693164"/>
                </a:lnTo>
                <a:lnTo>
                  <a:pt x="478641" y="1689125"/>
                </a:lnTo>
                <a:lnTo>
                  <a:pt x="478641" y="1679254"/>
                </a:lnTo>
                <a:close/>
                <a:moveTo>
                  <a:pt x="2393104" y="1436001"/>
                </a:moveTo>
                <a:lnTo>
                  <a:pt x="2403015" y="1436001"/>
                </a:lnTo>
                <a:lnTo>
                  <a:pt x="2407034" y="1440038"/>
                </a:lnTo>
                <a:lnTo>
                  <a:pt x="2407034" y="1449910"/>
                </a:lnTo>
                <a:lnTo>
                  <a:pt x="2403015" y="1453949"/>
                </a:lnTo>
                <a:lnTo>
                  <a:pt x="2393104" y="1453949"/>
                </a:lnTo>
                <a:lnTo>
                  <a:pt x="2389087" y="1449910"/>
                </a:lnTo>
                <a:lnTo>
                  <a:pt x="2389087" y="1440038"/>
                </a:lnTo>
                <a:close/>
                <a:moveTo>
                  <a:pt x="3350359" y="1436000"/>
                </a:moveTo>
                <a:lnTo>
                  <a:pt x="3360268" y="1436000"/>
                </a:lnTo>
                <a:lnTo>
                  <a:pt x="3364287" y="1440038"/>
                </a:lnTo>
                <a:lnTo>
                  <a:pt x="3364287" y="1449909"/>
                </a:lnTo>
                <a:lnTo>
                  <a:pt x="3360268" y="1453949"/>
                </a:lnTo>
                <a:lnTo>
                  <a:pt x="3350359" y="1453949"/>
                </a:lnTo>
                <a:lnTo>
                  <a:pt x="3346340" y="1449909"/>
                </a:lnTo>
                <a:lnTo>
                  <a:pt x="3346340" y="1440038"/>
                </a:lnTo>
                <a:close/>
                <a:moveTo>
                  <a:pt x="3111048" y="1436000"/>
                </a:moveTo>
                <a:lnTo>
                  <a:pt x="3120959" y="1436000"/>
                </a:lnTo>
                <a:lnTo>
                  <a:pt x="3124977" y="1440038"/>
                </a:lnTo>
                <a:lnTo>
                  <a:pt x="3124977" y="1449910"/>
                </a:lnTo>
                <a:lnTo>
                  <a:pt x="3120959" y="1453949"/>
                </a:lnTo>
                <a:lnTo>
                  <a:pt x="3111048" y="1453949"/>
                </a:lnTo>
                <a:lnTo>
                  <a:pt x="3107029" y="1449910"/>
                </a:lnTo>
                <a:lnTo>
                  <a:pt x="3107029" y="1440038"/>
                </a:lnTo>
                <a:close/>
                <a:moveTo>
                  <a:pt x="2871737" y="1436000"/>
                </a:moveTo>
                <a:lnTo>
                  <a:pt x="2881646" y="1436000"/>
                </a:lnTo>
                <a:lnTo>
                  <a:pt x="2885666" y="1440038"/>
                </a:lnTo>
                <a:lnTo>
                  <a:pt x="2885666" y="1449910"/>
                </a:lnTo>
                <a:lnTo>
                  <a:pt x="2881646" y="1453949"/>
                </a:lnTo>
                <a:lnTo>
                  <a:pt x="2871737" y="1453949"/>
                </a:lnTo>
                <a:lnTo>
                  <a:pt x="2867717" y="1449910"/>
                </a:lnTo>
                <a:lnTo>
                  <a:pt x="2867717" y="1440038"/>
                </a:lnTo>
                <a:close/>
                <a:moveTo>
                  <a:pt x="2632423" y="1436000"/>
                </a:moveTo>
                <a:lnTo>
                  <a:pt x="2642334" y="1436000"/>
                </a:lnTo>
                <a:lnTo>
                  <a:pt x="2646352" y="1440038"/>
                </a:lnTo>
                <a:lnTo>
                  <a:pt x="2646352" y="1449910"/>
                </a:lnTo>
                <a:lnTo>
                  <a:pt x="2642334" y="1453949"/>
                </a:lnTo>
                <a:lnTo>
                  <a:pt x="2632423" y="1453949"/>
                </a:lnTo>
                <a:lnTo>
                  <a:pt x="2628404" y="1449910"/>
                </a:lnTo>
                <a:lnTo>
                  <a:pt x="2628404" y="1440038"/>
                </a:lnTo>
                <a:close/>
                <a:moveTo>
                  <a:pt x="3589676" y="1435986"/>
                </a:moveTo>
                <a:lnTo>
                  <a:pt x="3599585" y="1435986"/>
                </a:lnTo>
                <a:lnTo>
                  <a:pt x="3603604" y="1440024"/>
                </a:lnTo>
                <a:lnTo>
                  <a:pt x="3603604" y="1449895"/>
                </a:lnTo>
                <a:lnTo>
                  <a:pt x="3599585" y="1453934"/>
                </a:lnTo>
                <a:lnTo>
                  <a:pt x="3589676" y="1453934"/>
                </a:lnTo>
                <a:lnTo>
                  <a:pt x="3585657" y="1449895"/>
                </a:lnTo>
                <a:lnTo>
                  <a:pt x="3585657" y="1440024"/>
                </a:lnTo>
                <a:close/>
                <a:moveTo>
                  <a:pt x="4546929" y="1435986"/>
                </a:moveTo>
                <a:lnTo>
                  <a:pt x="4556840" y="1435986"/>
                </a:lnTo>
                <a:lnTo>
                  <a:pt x="4560859" y="1440024"/>
                </a:lnTo>
                <a:lnTo>
                  <a:pt x="4560859" y="1449895"/>
                </a:lnTo>
                <a:lnTo>
                  <a:pt x="4556840" y="1453934"/>
                </a:lnTo>
                <a:lnTo>
                  <a:pt x="4546929" y="1453934"/>
                </a:lnTo>
                <a:lnTo>
                  <a:pt x="4542910" y="1449895"/>
                </a:lnTo>
                <a:lnTo>
                  <a:pt x="4542910" y="1440024"/>
                </a:lnTo>
                <a:close/>
                <a:moveTo>
                  <a:pt x="4307612" y="1435986"/>
                </a:moveTo>
                <a:lnTo>
                  <a:pt x="4317523" y="1435986"/>
                </a:lnTo>
                <a:lnTo>
                  <a:pt x="4321543" y="1440024"/>
                </a:lnTo>
                <a:lnTo>
                  <a:pt x="4321543" y="1449895"/>
                </a:lnTo>
                <a:lnTo>
                  <a:pt x="4317523" y="1453934"/>
                </a:lnTo>
                <a:lnTo>
                  <a:pt x="4307612" y="1453934"/>
                </a:lnTo>
                <a:lnTo>
                  <a:pt x="4303595" y="1449895"/>
                </a:lnTo>
                <a:lnTo>
                  <a:pt x="4303595" y="1440024"/>
                </a:lnTo>
                <a:close/>
                <a:moveTo>
                  <a:pt x="4068297" y="1435986"/>
                </a:moveTo>
                <a:lnTo>
                  <a:pt x="4078210" y="1435986"/>
                </a:lnTo>
                <a:lnTo>
                  <a:pt x="4082229" y="1440024"/>
                </a:lnTo>
                <a:lnTo>
                  <a:pt x="4082229" y="1449895"/>
                </a:lnTo>
                <a:lnTo>
                  <a:pt x="4078210" y="1453934"/>
                </a:lnTo>
                <a:lnTo>
                  <a:pt x="4068297" y="1453934"/>
                </a:lnTo>
                <a:lnTo>
                  <a:pt x="4064278" y="1449895"/>
                </a:lnTo>
                <a:lnTo>
                  <a:pt x="4064278" y="1440024"/>
                </a:lnTo>
                <a:close/>
                <a:moveTo>
                  <a:pt x="3828990" y="1435986"/>
                </a:moveTo>
                <a:lnTo>
                  <a:pt x="3838899" y="1435986"/>
                </a:lnTo>
                <a:lnTo>
                  <a:pt x="3842917" y="1440024"/>
                </a:lnTo>
                <a:lnTo>
                  <a:pt x="3842917" y="1449895"/>
                </a:lnTo>
                <a:lnTo>
                  <a:pt x="3838899" y="1453934"/>
                </a:lnTo>
                <a:lnTo>
                  <a:pt x="3828990" y="1453934"/>
                </a:lnTo>
                <a:lnTo>
                  <a:pt x="3824971" y="1449895"/>
                </a:lnTo>
                <a:lnTo>
                  <a:pt x="3824971" y="1440024"/>
                </a:lnTo>
                <a:close/>
                <a:moveTo>
                  <a:pt x="4786241" y="1435972"/>
                </a:moveTo>
                <a:lnTo>
                  <a:pt x="4796152" y="1435972"/>
                </a:lnTo>
                <a:lnTo>
                  <a:pt x="4800171" y="1440010"/>
                </a:lnTo>
                <a:lnTo>
                  <a:pt x="4800171" y="1449881"/>
                </a:lnTo>
                <a:lnTo>
                  <a:pt x="4796152" y="1453920"/>
                </a:lnTo>
                <a:lnTo>
                  <a:pt x="4786241" y="1453920"/>
                </a:lnTo>
                <a:lnTo>
                  <a:pt x="4782224" y="1449881"/>
                </a:lnTo>
                <a:lnTo>
                  <a:pt x="4782224" y="1440010"/>
                </a:lnTo>
                <a:close/>
                <a:moveTo>
                  <a:pt x="5743412" y="1435971"/>
                </a:moveTo>
                <a:lnTo>
                  <a:pt x="5753323" y="1435971"/>
                </a:lnTo>
                <a:lnTo>
                  <a:pt x="5757342" y="1440010"/>
                </a:lnTo>
                <a:lnTo>
                  <a:pt x="5757342" y="1449880"/>
                </a:lnTo>
                <a:lnTo>
                  <a:pt x="5753323" y="1453919"/>
                </a:lnTo>
                <a:lnTo>
                  <a:pt x="5743412" y="1453919"/>
                </a:lnTo>
                <a:lnTo>
                  <a:pt x="5739393" y="1449880"/>
                </a:lnTo>
                <a:lnTo>
                  <a:pt x="5739393" y="1440010"/>
                </a:lnTo>
                <a:close/>
                <a:moveTo>
                  <a:pt x="5504099" y="1435971"/>
                </a:moveTo>
                <a:lnTo>
                  <a:pt x="5514010" y="1435971"/>
                </a:lnTo>
                <a:lnTo>
                  <a:pt x="5518029" y="1440010"/>
                </a:lnTo>
                <a:lnTo>
                  <a:pt x="5518029" y="1449881"/>
                </a:lnTo>
                <a:lnTo>
                  <a:pt x="5514010" y="1453919"/>
                </a:lnTo>
                <a:lnTo>
                  <a:pt x="5504099" y="1453919"/>
                </a:lnTo>
                <a:lnTo>
                  <a:pt x="5500080" y="1449881"/>
                </a:lnTo>
                <a:lnTo>
                  <a:pt x="5500080" y="1440010"/>
                </a:lnTo>
                <a:close/>
                <a:moveTo>
                  <a:pt x="5264784" y="1435971"/>
                </a:moveTo>
                <a:lnTo>
                  <a:pt x="5274694" y="1435971"/>
                </a:lnTo>
                <a:lnTo>
                  <a:pt x="5278713" y="1440010"/>
                </a:lnTo>
                <a:lnTo>
                  <a:pt x="5278713" y="1449881"/>
                </a:lnTo>
                <a:lnTo>
                  <a:pt x="5274694" y="1453920"/>
                </a:lnTo>
                <a:lnTo>
                  <a:pt x="5264784" y="1453920"/>
                </a:lnTo>
                <a:lnTo>
                  <a:pt x="5260765" y="1449881"/>
                </a:lnTo>
                <a:lnTo>
                  <a:pt x="5260765" y="1440010"/>
                </a:lnTo>
                <a:close/>
                <a:moveTo>
                  <a:pt x="5025470" y="1435971"/>
                </a:moveTo>
                <a:lnTo>
                  <a:pt x="5035381" y="1435971"/>
                </a:lnTo>
                <a:lnTo>
                  <a:pt x="5039400" y="1440010"/>
                </a:lnTo>
                <a:lnTo>
                  <a:pt x="5039400" y="1449881"/>
                </a:lnTo>
                <a:lnTo>
                  <a:pt x="5035381" y="1453920"/>
                </a:lnTo>
                <a:lnTo>
                  <a:pt x="5025470" y="1453920"/>
                </a:lnTo>
                <a:lnTo>
                  <a:pt x="5021451" y="1449881"/>
                </a:lnTo>
                <a:lnTo>
                  <a:pt x="5021451" y="1440010"/>
                </a:lnTo>
                <a:close/>
                <a:moveTo>
                  <a:pt x="5982729" y="1435958"/>
                </a:moveTo>
                <a:lnTo>
                  <a:pt x="5992639" y="1435958"/>
                </a:lnTo>
                <a:lnTo>
                  <a:pt x="5996658" y="1439995"/>
                </a:lnTo>
                <a:lnTo>
                  <a:pt x="5996658" y="1449866"/>
                </a:lnTo>
                <a:lnTo>
                  <a:pt x="5992639" y="1453905"/>
                </a:lnTo>
                <a:lnTo>
                  <a:pt x="5982729" y="1453905"/>
                </a:lnTo>
                <a:lnTo>
                  <a:pt x="5978710" y="1449866"/>
                </a:lnTo>
                <a:lnTo>
                  <a:pt x="5978710" y="1439995"/>
                </a:lnTo>
                <a:close/>
                <a:moveTo>
                  <a:pt x="6939983" y="1435956"/>
                </a:moveTo>
                <a:lnTo>
                  <a:pt x="6949894" y="1435956"/>
                </a:lnTo>
                <a:lnTo>
                  <a:pt x="6953913" y="1439995"/>
                </a:lnTo>
                <a:lnTo>
                  <a:pt x="6953913" y="1449865"/>
                </a:lnTo>
                <a:lnTo>
                  <a:pt x="6949894" y="1453905"/>
                </a:lnTo>
                <a:lnTo>
                  <a:pt x="6939983" y="1453905"/>
                </a:lnTo>
                <a:lnTo>
                  <a:pt x="6935964" y="1449865"/>
                </a:lnTo>
                <a:lnTo>
                  <a:pt x="6935964" y="1439995"/>
                </a:lnTo>
                <a:close/>
                <a:moveTo>
                  <a:pt x="6700670" y="1435956"/>
                </a:moveTo>
                <a:lnTo>
                  <a:pt x="6710581" y="1435956"/>
                </a:lnTo>
                <a:lnTo>
                  <a:pt x="6714600" y="1439995"/>
                </a:lnTo>
                <a:lnTo>
                  <a:pt x="6714600" y="1449866"/>
                </a:lnTo>
                <a:lnTo>
                  <a:pt x="6710581" y="1453905"/>
                </a:lnTo>
                <a:lnTo>
                  <a:pt x="6700670" y="1453905"/>
                </a:lnTo>
                <a:lnTo>
                  <a:pt x="6696651" y="1449866"/>
                </a:lnTo>
                <a:lnTo>
                  <a:pt x="6696651" y="1439995"/>
                </a:lnTo>
                <a:close/>
                <a:moveTo>
                  <a:pt x="6461356" y="1435956"/>
                </a:moveTo>
                <a:lnTo>
                  <a:pt x="6471266" y="1435956"/>
                </a:lnTo>
                <a:lnTo>
                  <a:pt x="6475285" y="1439995"/>
                </a:lnTo>
                <a:lnTo>
                  <a:pt x="6475285" y="1449866"/>
                </a:lnTo>
                <a:lnTo>
                  <a:pt x="6471266" y="1453905"/>
                </a:lnTo>
                <a:lnTo>
                  <a:pt x="6461356" y="1453905"/>
                </a:lnTo>
                <a:lnTo>
                  <a:pt x="6457337" y="1449866"/>
                </a:lnTo>
                <a:lnTo>
                  <a:pt x="6457337" y="1439995"/>
                </a:lnTo>
                <a:close/>
                <a:moveTo>
                  <a:pt x="6222042" y="1435956"/>
                </a:moveTo>
                <a:lnTo>
                  <a:pt x="6231952" y="1435956"/>
                </a:lnTo>
                <a:lnTo>
                  <a:pt x="6235971" y="1439995"/>
                </a:lnTo>
                <a:lnTo>
                  <a:pt x="6235971" y="1449866"/>
                </a:lnTo>
                <a:lnTo>
                  <a:pt x="6231952" y="1453905"/>
                </a:lnTo>
                <a:lnTo>
                  <a:pt x="6222042" y="1453905"/>
                </a:lnTo>
                <a:lnTo>
                  <a:pt x="6218023" y="1449866"/>
                </a:lnTo>
                <a:lnTo>
                  <a:pt x="6218023" y="1439995"/>
                </a:lnTo>
                <a:close/>
                <a:moveTo>
                  <a:pt x="7179298" y="1435943"/>
                </a:moveTo>
                <a:lnTo>
                  <a:pt x="7189209" y="1435943"/>
                </a:lnTo>
                <a:lnTo>
                  <a:pt x="7193228" y="1439981"/>
                </a:lnTo>
                <a:lnTo>
                  <a:pt x="7193228" y="1449852"/>
                </a:lnTo>
                <a:lnTo>
                  <a:pt x="7189209" y="1453891"/>
                </a:lnTo>
                <a:lnTo>
                  <a:pt x="7179298" y="1453891"/>
                </a:lnTo>
                <a:lnTo>
                  <a:pt x="7175279" y="1449852"/>
                </a:lnTo>
                <a:lnTo>
                  <a:pt x="7175279" y="1439981"/>
                </a:lnTo>
                <a:close/>
                <a:moveTo>
                  <a:pt x="8136553" y="1435943"/>
                </a:moveTo>
                <a:lnTo>
                  <a:pt x="8146464" y="1435943"/>
                </a:lnTo>
                <a:lnTo>
                  <a:pt x="8150483" y="1439980"/>
                </a:lnTo>
                <a:lnTo>
                  <a:pt x="8150483" y="1449851"/>
                </a:lnTo>
                <a:lnTo>
                  <a:pt x="8146464" y="1453890"/>
                </a:lnTo>
                <a:lnTo>
                  <a:pt x="8136553" y="1453890"/>
                </a:lnTo>
                <a:lnTo>
                  <a:pt x="8132534" y="1449851"/>
                </a:lnTo>
                <a:lnTo>
                  <a:pt x="8132534" y="1439980"/>
                </a:lnTo>
                <a:close/>
                <a:moveTo>
                  <a:pt x="7897241" y="1435943"/>
                </a:moveTo>
                <a:lnTo>
                  <a:pt x="7907151" y="1435943"/>
                </a:lnTo>
                <a:lnTo>
                  <a:pt x="7911170" y="1439980"/>
                </a:lnTo>
                <a:lnTo>
                  <a:pt x="7911170" y="1449852"/>
                </a:lnTo>
                <a:lnTo>
                  <a:pt x="7907151" y="1453890"/>
                </a:lnTo>
                <a:lnTo>
                  <a:pt x="7897241" y="1453890"/>
                </a:lnTo>
                <a:lnTo>
                  <a:pt x="7893222" y="1449852"/>
                </a:lnTo>
                <a:lnTo>
                  <a:pt x="7893222" y="1439980"/>
                </a:lnTo>
                <a:close/>
                <a:moveTo>
                  <a:pt x="7657926" y="1435943"/>
                </a:moveTo>
                <a:lnTo>
                  <a:pt x="7667836" y="1435943"/>
                </a:lnTo>
                <a:lnTo>
                  <a:pt x="7671855" y="1439980"/>
                </a:lnTo>
                <a:lnTo>
                  <a:pt x="7671855" y="1449852"/>
                </a:lnTo>
                <a:lnTo>
                  <a:pt x="7667836" y="1453891"/>
                </a:lnTo>
                <a:lnTo>
                  <a:pt x="7657926" y="1453891"/>
                </a:lnTo>
                <a:lnTo>
                  <a:pt x="7653906" y="1449852"/>
                </a:lnTo>
                <a:lnTo>
                  <a:pt x="7653906" y="1439980"/>
                </a:lnTo>
                <a:close/>
                <a:moveTo>
                  <a:pt x="7418611" y="1435943"/>
                </a:moveTo>
                <a:lnTo>
                  <a:pt x="7428521" y="1435943"/>
                </a:lnTo>
                <a:lnTo>
                  <a:pt x="7432540" y="1439980"/>
                </a:lnTo>
                <a:lnTo>
                  <a:pt x="7432540" y="1449852"/>
                </a:lnTo>
                <a:lnTo>
                  <a:pt x="7428521" y="1453891"/>
                </a:lnTo>
                <a:lnTo>
                  <a:pt x="7418611" y="1453891"/>
                </a:lnTo>
                <a:lnTo>
                  <a:pt x="7414592" y="1449852"/>
                </a:lnTo>
                <a:lnTo>
                  <a:pt x="7414592" y="1439980"/>
                </a:lnTo>
                <a:close/>
                <a:moveTo>
                  <a:pt x="8375869" y="1435928"/>
                </a:moveTo>
                <a:lnTo>
                  <a:pt x="8385779" y="1435928"/>
                </a:lnTo>
                <a:lnTo>
                  <a:pt x="8389799" y="1439967"/>
                </a:lnTo>
                <a:lnTo>
                  <a:pt x="8389799" y="1449837"/>
                </a:lnTo>
                <a:lnTo>
                  <a:pt x="8385779" y="1453877"/>
                </a:lnTo>
                <a:lnTo>
                  <a:pt x="8375869" y="1453877"/>
                </a:lnTo>
                <a:lnTo>
                  <a:pt x="8371850" y="1449837"/>
                </a:lnTo>
                <a:lnTo>
                  <a:pt x="8371850" y="1439967"/>
                </a:lnTo>
                <a:close/>
                <a:moveTo>
                  <a:pt x="9333125" y="1435928"/>
                </a:moveTo>
                <a:lnTo>
                  <a:pt x="9343036" y="1435928"/>
                </a:lnTo>
                <a:lnTo>
                  <a:pt x="9347055" y="1439967"/>
                </a:lnTo>
                <a:lnTo>
                  <a:pt x="9347055" y="1449836"/>
                </a:lnTo>
                <a:lnTo>
                  <a:pt x="9343036" y="1453876"/>
                </a:lnTo>
                <a:lnTo>
                  <a:pt x="9333125" y="1453876"/>
                </a:lnTo>
                <a:lnTo>
                  <a:pt x="9329106" y="1449836"/>
                </a:lnTo>
                <a:lnTo>
                  <a:pt x="9329106" y="1439967"/>
                </a:lnTo>
                <a:close/>
                <a:moveTo>
                  <a:pt x="9093811" y="1435928"/>
                </a:moveTo>
                <a:lnTo>
                  <a:pt x="9103722" y="1435928"/>
                </a:lnTo>
                <a:lnTo>
                  <a:pt x="9107741" y="1439967"/>
                </a:lnTo>
                <a:lnTo>
                  <a:pt x="9107741" y="1449837"/>
                </a:lnTo>
                <a:lnTo>
                  <a:pt x="9103722" y="1453876"/>
                </a:lnTo>
                <a:lnTo>
                  <a:pt x="9093811" y="1453876"/>
                </a:lnTo>
                <a:lnTo>
                  <a:pt x="9089792" y="1449837"/>
                </a:lnTo>
                <a:lnTo>
                  <a:pt x="9089792" y="1439967"/>
                </a:lnTo>
                <a:close/>
                <a:moveTo>
                  <a:pt x="8854496" y="1435928"/>
                </a:moveTo>
                <a:lnTo>
                  <a:pt x="8864407" y="1435928"/>
                </a:lnTo>
                <a:lnTo>
                  <a:pt x="8868426" y="1439967"/>
                </a:lnTo>
                <a:lnTo>
                  <a:pt x="8868426" y="1449837"/>
                </a:lnTo>
                <a:lnTo>
                  <a:pt x="8864407" y="1453877"/>
                </a:lnTo>
                <a:lnTo>
                  <a:pt x="8854496" y="1453877"/>
                </a:lnTo>
                <a:lnTo>
                  <a:pt x="8850477" y="1449837"/>
                </a:lnTo>
                <a:lnTo>
                  <a:pt x="8850477" y="1439967"/>
                </a:lnTo>
                <a:close/>
                <a:moveTo>
                  <a:pt x="8615184" y="1435928"/>
                </a:moveTo>
                <a:lnTo>
                  <a:pt x="8625095" y="1435928"/>
                </a:lnTo>
                <a:lnTo>
                  <a:pt x="8629114" y="1439967"/>
                </a:lnTo>
                <a:lnTo>
                  <a:pt x="8629114" y="1449837"/>
                </a:lnTo>
                <a:lnTo>
                  <a:pt x="8625095" y="1453877"/>
                </a:lnTo>
                <a:lnTo>
                  <a:pt x="8615184" y="1453877"/>
                </a:lnTo>
                <a:lnTo>
                  <a:pt x="8611165" y="1449837"/>
                </a:lnTo>
                <a:lnTo>
                  <a:pt x="8611165" y="1439967"/>
                </a:lnTo>
                <a:close/>
                <a:moveTo>
                  <a:pt x="1679216" y="1435922"/>
                </a:moveTo>
                <a:lnTo>
                  <a:pt x="1689126" y="1435922"/>
                </a:lnTo>
                <a:lnTo>
                  <a:pt x="1693146" y="1439960"/>
                </a:lnTo>
                <a:lnTo>
                  <a:pt x="1693146" y="1449831"/>
                </a:lnTo>
                <a:lnTo>
                  <a:pt x="1689126" y="1453870"/>
                </a:lnTo>
                <a:lnTo>
                  <a:pt x="1679216" y="1453870"/>
                </a:lnTo>
                <a:lnTo>
                  <a:pt x="1675198" y="1449831"/>
                </a:lnTo>
                <a:lnTo>
                  <a:pt x="1675198" y="1439960"/>
                </a:lnTo>
                <a:close/>
                <a:moveTo>
                  <a:pt x="1439900" y="1435922"/>
                </a:moveTo>
                <a:lnTo>
                  <a:pt x="1449810" y="1435922"/>
                </a:lnTo>
                <a:lnTo>
                  <a:pt x="1453828" y="1439960"/>
                </a:lnTo>
                <a:lnTo>
                  <a:pt x="1453828" y="1449831"/>
                </a:lnTo>
                <a:lnTo>
                  <a:pt x="1449810" y="1453870"/>
                </a:lnTo>
                <a:lnTo>
                  <a:pt x="1439900" y="1453870"/>
                </a:lnTo>
                <a:lnTo>
                  <a:pt x="1435880" y="1449831"/>
                </a:lnTo>
                <a:lnTo>
                  <a:pt x="1435880" y="1439960"/>
                </a:lnTo>
                <a:close/>
                <a:moveTo>
                  <a:pt x="1200583" y="1435922"/>
                </a:moveTo>
                <a:lnTo>
                  <a:pt x="1210493" y="1435922"/>
                </a:lnTo>
                <a:lnTo>
                  <a:pt x="1214512" y="1439960"/>
                </a:lnTo>
                <a:lnTo>
                  <a:pt x="1214512" y="1449831"/>
                </a:lnTo>
                <a:lnTo>
                  <a:pt x="1210493" y="1453870"/>
                </a:lnTo>
                <a:lnTo>
                  <a:pt x="1200583" y="1453870"/>
                </a:lnTo>
                <a:lnTo>
                  <a:pt x="1196564" y="1449831"/>
                </a:lnTo>
                <a:lnTo>
                  <a:pt x="1196564" y="1439960"/>
                </a:lnTo>
                <a:close/>
                <a:moveTo>
                  <a:pt x="961270" y="1435922"/>
                </a:moveTo>
                <a:lnTo>
                  <a:pt x="971181" y="1435922"/>
                </a:lnTo>
                <a:lnTo>
                  <a:pt x="975200" y="1439960"/>
                </a:lnTo>
                <a:lnTo>
                  <a:pt x="975200" y="1449831"/>
                </a:lnTo>
                <a:lnTo>
                  <a:pt x="971181" y="1453870"/>
                </a:lnTo>
                <a:lnTo>
                  <a:pt x="961270" y="1453870"/>
                </a:lnTo>
                <a:lnTo>
                  <a:pt x="957252" y="1449831"/>
                </a:lnTo>
                <a:lnTo>
                  <a:pt x="957252" y="1439960"/>
                </a:lnTo>
                <a:close/>
                <a:moveTo>
                  <a:pt x="9572438" y="1435914"/>
                </a:moveTo>
                <a:lnTo>
                  <a:pt x="9582349" y="1435914"/>
                </a:lnTo>
                <a:lnTo>
                  <a:pt x="9586368" y="1439952"/>
                </a:lnTo>
                <a:lnTo>
                  <a:pt x="9586368" y="1449823"/>
                </a:lnTo>
                <a:lnTo>
                  <a:pt x="9582349" y="1453862"/>
                </a:lnTo>
                <a:lnTo>
                  <a:pt x="9572438" y="1453862"/>
                </a:lnTo>
                <a:lnTo>
                  <a:pt x="9568419" y="1449823"/>
                </a:lnTo>
                <a:lnTo>
                  <a:pt x="9568419" y="1439952"/>
                </a:lnTo>
                <a:close/>
                <a:moveTo>
                  <a:pt x="1918514" y="1435912"/>
                </a:moveTo>
                <a:lnTo>
                  <a:pt x="1928424" y="1435912"/>
                </a:lnTo>
                <a:lnTo>
                  <a:pt x="1932443" y="1439950"/>
                </a:lnTo>
                <a:lnTo>
                  <a:pt x="1932443" y="1449821"/>
                </a:lnTo>
                <a:lnTo>
                  <a:pt x="1928424" y="1453860"/>
                </a:lnTo>
                <a:lnTo>
                  <a:pt x="1918514" y="1453860"/>
                </a:lnTo>
                <a:lnTo>
                  <a:pt x="1914494" y="1449821"/>
                </a:lnTo>
                <a:lnTo>
                  <a:pt x="1914494" y="1439950"/>
                </a:lnTo>
                <a:close/>
                <a:moveTo>
                  <a:pt x="2157823" y="1435909"/>
                </a:moveTo>
                <a:lnTo>
                  <a:pt x="2167733" y="1435909"/>
                </a:lnTo>
                <a:lnTo>
                  <a:pt x="2171751" y="1439947"/>
                </a:lnTo>
                <a:lnTo>
                  <a:pt x="2171751" y="1449818"/>
                </a:lnTo>
                <a:lnTo>
                  <a:pt x="2167733" y="1453857"/>
                </a:lnTo>
                <a:lnTo>
                  <a:pt x="2157823" y="1453857"/>
                </a:lnTo>
                <a:lnTo>
                  <a:pt x="2153803" y="1449818"/>
                </a:lnTo>
                <a:lnTo>
                  <a:pt x="2153803" y="1439947"/>
                </a:lnTo>
                <a:close/>
                <a:moveTo>
                  <a:pt x="243347" y="1435883"/>
                </a:moveTo>
                <a:lnTo>
                  <a:pt x="253257" y="1435883"/>
                </a:lnTo>
                <a:lnTo>
                  <a:pt x="257276" y="1439920"/>
                </a:lnTo>
                <a:lnTo>
                  <a:pt x="257276" y="1449791"/>
                </a:lnTo>
                <a:lnTo>
                  <a:pt x="253257" y="1453830"/>
                </a:lnTo>
                <a:lnTo>
                  <a:pt x="243347" y="1453830"/>
                </a:lnTo>
                <a:lnTo>
                  <a:pt x="239328" y="1449791"/>
                </a:lnTo>
                <a:lnTo>
                  <a:pt x="239328" y="1439920"/>
                </a:lnTo>
                <a:close/>
                <a:moveTo>
                  <a:pt x="4034" y="1435883"/>
                </a:moveTo>
                <a:lnTo>
                  <a:pt x="13944" y="1435883"/>
                </a:lnTo>
                <a:lnTo>
                  <a:pt x="17964" y="1439920"/>
                </a:lnTo>
                <a:lnTo>
                  <a:pt x="17964" y="1449791"/>
                </a:lnTo>
                <a:lnTo>
                  <a:pt x="13944" y="1453830"/>
                </a:lnTo>
                <a:lnTo>
                  <a:pt x="4034" y="1453830"/>
                </a:lnTo>
                <a:lnTo>
                  <a:pt x="15" y="1449791"/>
                </a:lnTo>
                <a:lnTo>
                  <a:pt x="15" y="1439920"/>
                </a:lnTo>
                <a:close/>
                <a:moveTo>
                  <a:pt x="721973" y="1435882"/>
                </a:moveTo>
                <a:lnTo>
                  <a:pt x="731883" y="1435882"/>
                </a:lnTo>
                <a:lnTo>
                  <a:pt x="735902" y="1439920"/>
                </a:lnTo>
                <a:lnTo>
                  <a:pt x="735902" y="1449791"/>
                </a:lnTo>
                <a:lnTo>
                  <a:pt x="731883" y="1453830"/>
                </a:lnTo>
                <a:lnTo>
                  <a:pt x="721973" y="1453830"/>
                </a:lnTo>
                <a:lnTo>
                  <a:pt x="717954" y="1449791"/>
                </a:lnTo>
                <a:lnTo>
                  <a:pt x="717954" y="1439920"/>
                </a:lnTo>
                <a:close/>
                <a:moveTo>
                  <a:pt x="482661" y="1435882"/>
                </a:moveTo>
                <a:lnTo>
                  <a:pt x="492571" y="1435882"/>
                </a:lnTo>
                <a:lnTo>
                  <a:pt x="496590" y="1439920"/>
                </a:lnTo>
                <a:lnTo>
                  <a:pt x="496590" y="1449791"/>
                </a:lnTo>
                <a:lnTo>
                  <a:pt x="492571" y="1453830"/>
                </a:lnTo>
                <a:lnTo>
                  <a:pt x="482661" y="1453830"/>
                </a:lnTo>
                <a:lnTo>
                  <a:pt x="478642" y="1449791"/>
                </a:lnTo>
                <a:lnTo>
                  <a:pt x="478642" y="1439920"/>
                </a:lnTo>
                <a:close/>
                <a:moveTo>
                  <a:pt x="3350359" y="1196701"/>
                </a:moveTo>
                <a:lnTo>
                  <a:pt x="3360268" y="1196701"/>
                </a:lnTo>
                <a:lnTo>
                  <a:pt x="3364287" y="1200738"/>
                </a:lnTo>
                <a:lnTo>
                  <a:pt x="3364287" y="1210610"/>
                </a:lnTo>
                <a:lnTo>
                  <a:pt x="3360268" y="1214650"/>
                </a:lnTo>
                <a:lnTo>
                  <a:pt x="3350359" y="1214650"/>
                </a:lnTo>
                <a:lnTo>
                  <a:pt x="3346340" y="1210610"/>
                </a:lnTo>
                <a:lnTo>
                  <a:pt x="3346340" y="1200738"/>
                </a:lnTo>
                <a:close/>
                <a:moveTo>
                  <a:pt x="3111048" y="1196701"/>
                </a:moveTo>
                <a:lnTo>
                  <a:pt x="3120959" y="1196701"/>
                </a:lnTo>
                <a:lnTo>
                  <a:pt x="3124977" y="1200738"/>
                </a:lnTo>
                <a:lnTo>
                  <a:pt x="3124977" y="1210610"/>
                </a:lnTo>
                <a:lnTo>
                  <a:pt x="3120959" y="1214650"/>
                </a:lnTo>
                <a:lnTo>
                  <a:pt x="3111048" y="1214650"/>
                </a:lnTo>
                <a:lnTo>
                  <a:pt x="3107029" y="1210610"/>
                </a:lnTo>
                <a:lnTo>
                  <a:pt x="3107029" y="1200738"/>
                </a:lnTo>
                <a:close/>
                <a:moveTo>
                  <a:pt x="2871737" y="1196701"/>
                </a:moveTo>
                <a:lnTo>
                  <a:pt x="2881646" y="1196701"/>
                </a:lnTo>
                <a:lnTo>
                  <a:pt x="2885666" y="1200738"/>
                </a:lnTo>
                <a:lnTo>
                  <a:pt x="2885666" y="1210610"/>
                </a:lnTo>
                <a:lnTo>
                  <a:pt x="2881646" y="1214650"/>
                </a:lnTo>
                <a:lnTo>
                  <a:pt x="2871737" y="1214650"/>
                </a:lnTo>
                <a:lnTo>
                  <a:pt x="2867717" y="1210610"/>
                </a:lnTo>
                <a:lnTo>
                  <a:pt x="2867717" y="1200738"/>
                </a:lnTo>
                <a:close/>
                <a:moveTo>
                  <a:pt x="2632423" y="1196701"/>
                </a:moveTo>
                <a:lnTo>
                  <a:pt x="2642334" y="1196701"/>
                </a:lnTo>
                <a:lnTo>
                  <a:pt x="2646352" y="1200740"/>
                </a:lnTo>
                <a:lnTo>
                  <a:pt x="2646352" y="1210610"/>
                </a:lnTo>
                <a:lnTo>
                  <a:pt x="2642334" y="1214650"/>
                </a:lnTo>
                <a:lnTo>
                  <a:pt x="2632423" y="1214650"/>
                </a:lnTo>
                <a:lnTo>
                  <a:pt x="2628404" y="1210610"/>
                </a:lnTo>
                <a:lnTo>
                  <a:pt x="2628404" y="1200740"/>
                </a:lnTo>
                <a:close/>
                <a:moveTo>
                  <a:pt x="2393104" y="1196701"/>
                </a:moveTo>
                <a:lnTo>
                  <a:pt x="2403015" y="1196701"/>
                </a:lnTo>
                <a:lnTo>
                  <a:pt x="2407034" y="1200740"/>
                </a:lnTo>
                <a:lnTo>
                  <a:pt x="2407034" y="1210610"/>
                </a:lnTo>
                <a:lnTo>
                  <a:pt x="2403015" y="1214650"/>
                </a:lnTo>
                <a:lnTo>
                  <a:pt x="2393104" y="1214650"/>
                </a:lnTo>
                <a:lnTo>
                  <a:pt x="2389087" y="1210610"/>
                </a:lnTo>
                <a:lnTo>
                  <a:pt x="2389087" y="1200740"/>
                </a:lnTo>
                <a:close/>
                <a:moveTo>
                  <a:pt x="4546929" y="1196689"/>
                </a:moveTo>
                <a:lnTo>
                  <a:pt x="4556840" y="1196689"/>
                </a:lnTo>
                <a:lnTo>
                  <a:pt x="4560859" y="1200726"/>
                </a:lnTo>
                <a:lnTo>
                  <a:pt x="4560859" y="1210598"/>
                </a:lnTo>
                <a:lnTo>
                  <a:pt x="4556840" y="1214637"/>
                </a:lnTo>
                <a:lnTo>
                  <a:pt x="4546929" y="1214637"/>
                </a:lnTo>
                <a:lnTo>
                  <a:pt x="4542910" y="1210598"/>
                </a:lnTo>
                <a:lnTo>
                  <a:pt x="4542910" y="1200726"/>
                </a:lnTo>
                <a:close/>
                <a:moveTo>
                  <a:pt x="4307612" y="1196689"/>
                </a:moveTo>
                <a:lnTo>
                  <a:pt x="4317523" y="1196689"/>
                </a:lnTo>
                <a:lnTo>
                  <a:pt x="4321543" y="1200726"/>
                </a:lnTo>
                <a:lnTo>
                  <a:pt x="4321543" y="1210598"/>
                </a:lnTo>
                <a:lnTo>
                  <a:pt x="4317523" y="1214637"/>
                </a:lnTo>
                <a:lnTo>
                  <a:pt x="4307612" y="1214637"/>
                </a:lnTo>
                <a:lnTo>
                  <a:pt x="4303595" y="1210598"/>
                </a:lnTo>
                <a:lnTo>
                  <a:pt x="4303595" y="1200726"/>
                </a:lnTo>
                <a:close/>
                <a:moveTo>
                  <a:pt x="4068297" y="1196689"/>
                </a:moveTo>
                <a:lnTo>
                  <a:pt x="4078210" y="1196689"/>
                </a:lnTo>
                <a:lnTo>
                  <a:pt x="4082229" y="1200726"/>
                </a:lnTo>
                <a:lnTo>
                  <a:pt x="4082229" y="1210598"/>
                </a:lnTo>
                <a:lnTo>
                  <a:pt x="4078210" y="1214637"/>
                </a:lnTo>
                <a:lnTo>
                  <a:pt x="4068297" y="1214637"/>
                </a:lnTo>
                <a:lnTo>
                  <a:pt x="4064278" y="1210598"/>
                </a:lnTo>
                <a:lnTo>
                  <a:pt x="4064278" y="1200726"/>
                </a:lnTo>
                <a:close/>
                <a:moveTo>
                  <a:pt x="3828990" y="1196689"/>
                </a:moveTo>
                <a:lnTo>
                  <a:pt x="3838899" y="1196689"/>
                </a:lnTo>
                <a:lnTo>
                  <a:pt x="3842917" y="1200728"/>
                </a:lnTo>
                <a:lnTo>
                  <a:pt x="3842917" y="1210598"/>
                </a:lnTo>
                <a:lnTo>
                  <a:pt x="3838899" y="1214637"/>
                </a:lnTo>
                <a:lnTo>
                  <a:pt x="3828990" y="1214637"/>
                </a:lnTo>
                <a:lnTo>
                  <a:pt x="3824971" y="1210598"/>
                </a:lnTo>
                <a:lnTo>
                  <a:pt x="3824971" y="1200728"/>
                </a:lnTo>
                <a:close/>
                <a:moveTo>
                  <a:pt x="3589676" y="1196689"/>
                </a:moveTo>
                <a:lnTo>
                  <a:pt x="3599585" y="1196689"/>
                </a:lnTo>
                <a:lnTo>
                  <a:pt x="3603604" y="1200728"/>
                </a:lnTo>
                <a:lnTo>
                  <a:pt x="3603604" y="1210598"/>
                </a:lnTo>
                <a:lnTo>
                  <a:pt x="3599585" y="1214637"/>
                </a:lnTo>
                <a:lnTo>
                  <a:pt x="3589676" y="1214637"/>
                </a:lnTo>
                <a:lnTo>
                  <a:pt x="3585657" y="1210598"/>
                </a:lnTo>
                <a:lnTo>
                  <a:pt x="3585657" y="1200728"/>
                </a:lnTo>
                <a:close/>
                <a:moveTo>
                  <a:pt x="5743412" y="1196676"/>
                </a:moveTo>
                <a:lnTo>
                  <a:pt x="5753323" y="1196676"/>
                </a:lnTo>
                <a:lnTo>
                  <a:pt x="5757342" y="1200714"/>
                </a:lnTo>
                <a:lnTo>
                  <a:pt x="5757342" y="1210586"/>
                </a:lnTo>
                <a:lnTo>
                  <a:pt x="5753323" y="1214625"/>
                </a:lnTo>
                <a:lnTo>
                  <a:pt x="5743412" y="1214625"/>
                </a:lnTo>
                <a:lnTo>
                  <a:pt x="5739393" y="1210586"/>
                </a:lnTo>
                <a:lnTo>
                  <a:pt x="5739393" y="1200714"/>
                </a:lnTo>
                <a:close/>
                <a:moveTo>
                  <a:pt x="5504099" y="1196676"/>
                </a:moveTo>
                <a:lnTo>
                  <a:pt x="5514010" y="1196676"/>
                </a:lnTo>
                <a:lnTo>
                  <a:pt x="5518029" y="1200714"/>
                </a:lnTo>
                <a:lnTo>
                  <a:pt x="5518029" y="1210586"/>
                </a:lnTo>
                <a:lnTo>
                  <a:pt x="5514010" y="1214625"/>
                </a:lnTo>
                <a:lnTo>
                  <a:pt x="5504099" y="1214625"/>
                </a:lnTo>
                <a:lnTo>
                  <a:pt x="5500080" y="1210586"/>
                </a:lnTo>
                <a:lnTo>
                  <a:pt x="5500080" y="1200714"/>
                </a:lnTo>
                <a:close/>
                <a:moveTo>
                  <a:pt x="5264784" y="1196676"/>
                </a:moveTo>
                <a:lnTo>
                  <a:pt x="5274694" y="1196676"/>
                </a:lnTo>
                <a:lnTo>
                  <a:pt x="5278713" y="1200714"/>
                </a:lnTo>
                <a:lnTo>
                  <a:pt x="5278713" y="1210586"/>
                </a:lnTo>
                <a:lnTo>
                  <a:pt x="5274694" y="1214625"/>
                </a:lnTo>
                <a:lnTo>
                  <a:pt x="5264784" y="1214625"/>
                </a:lnTo>
                <a:lnTo>
                  <a:pt x="5260765" y="1210586"/>
                </a:lnTo>
                <a:lnTo>
                  <a:pt x="5260765" y="1200714"/>
                </a:lnTo>
                <a:close/>
                <a:moveTo>
                  <a:pt x="5025470" y="1196676"/>
                </a:moveTo>
                <a:lnTo>
                  <a:pt x="5035381" y="1196676"/>
                </a:lnTo>
                <a:lnTo>
                  <a:pt x="5039400" y="1200715"/>
                </a:lnTo>
                <a:lnTo>
                  <a:pt x="5039400" y="1210586"/>
                </a:lnTo>
                <a:lnTo>
                  <a:pt x="5035381" y="1214625"/>
                </a:lnTo>
                <a:lnTo>
                  <a:pt x="5025470" y="1214625"/>
                </a:lnTo>
                <a:lnTo>
                  <a:pt x="5021451" y="1210586"/>
                </a:lnTo>
                <a:lnTo>
                  <a:pt x="5021451" y="1200715"/>
                </a:lnTo>
                <a:close/>
                <a:moveTo>
                  <a:pt x="4786241" y="1196676"/>
                </a:moveTo>
                <a:lnTo>
                  <a:pt x="4796152" y="1196676"/>
                </a:lnTo>
                <a:lnTo>
                  <a:pt x="4800171" y="1200715"/>
                </a:lnTo>
                <a:lnTo>
                  <a:pt x="4800171" y="1210586"/>
                </a:lnTo>
                <a:lnTo>
                  <a:pt x="4796152" y="1214625"/>
                </a:lnTo>
                <a:lnTo>
                  <a:pt x="4786241" y="1214625"/>
                </a:lnTo>
                <a:lnTo>
                  <a:pt x="4782224" y="1210586"/>
                </a:lnTo>
                <a:lnTo>
                  <a:pt x="4782224" y="1200715"/>
                </a:lnTo>
                <a:close/>
                <a:moveTo>
                  <a:pt x="6222042" y="1196664"/>
                </a:moveTo>
                <a:lnTo>
                  <a:pt x="6231952" y="1196664"/>
                </a:lnTo>
                <a:lnTo>
                  <a:pt x="6235971" y="1200703"/>
                </a:lnTo>
                <a:lnTo>
                  <a:pt x="6235971" y="1210573"/>
                </a:lnTo>
                <a:lnTo>
                  <a:pt x="6231952" y="1214612"/>
                </a:lnTo>
                <a:lnTo>
                  <a:pt x="6222042" y="1214612"/>
                </a:lnTo>
                <a:lnTo>
                  <a:pt x="6218023" y="1210573"/>
                </a:lnTo>
                <a:lnTo>
                  <a:pt x="6218023" y="1200703"/>
                </a:lnTo>
                <a:close/>
                <a:moveTo>
                  <a:pt x="5982729" y="1196664"/>
                </a:moveTo>
                <a:lnTo>
                  <a:pt x="5992639" y="1196664"/>
                </a:lnTo>
                <a:lnTo>
                  <a:pt x="5996658" y="1200703"/>
                </a:lnTo>
                <a:lnTo>
                  <a:pt x="5996658" y="1210573"/>
                </a:lnTo>
                <a:lnTo>
                  <a:pt x="5992639" y="1214612"/>
                </a:lnTo>
                <a:lnTo>
                  <a:pt x="5982729" y="1214612"/>
                </a:lnTo>
                <a:lnTo>
                  <a:pt x="5978710" y="1210573"/>
                </a:lnTo>
                <a:lnTo>
                  <a:pt x="5978710" y="1200703"/>
                </a:lnTo>
                <a:close/>
                <a:moveTo>
                  <a:pt x="6939983" y="1196664"/>
                </a:moveTo>
                <a:lnTo>
                  <a:pt x="6949894" y="1196664"/>
                </a:lnTo>
                <a:lnTo>
                  <a:pt x="6953913" y="1200702"/>
                </a:lnTo>
                <a:lnTo>
                  <a:pt x="6953913" y="1210573"/>
                </a:lnTo>
                <a:lnTo>
                  <a:pt x="6949894" y="1214612"/>
                </a:lnTo>
                <a:lnTo>
                  <a:pt x="6939983" y="1214612"/>
                </a:lnTo>
                <a:lnTo>
                  <a:pt x="6935964" y="1210573"/>
                </a:lnTo>
                <a:lnTo>
                  <a:pt x="6935964" y="1200702"/>
                </a:lnTo>
                <a:close/>
                <a:moveTo>
                  <a:pt x="6700670" y="1196664"/>
                </a:moveTo>
                <a:lnTo>
                  <a:pt x="6710581" y="1196664"/>
                </a:lnTo>
                <a:lnTo>
                  <a:pt x="6714600" y="1200702"/>
                </a:lnTo>
                <a:lnTo>
                  <a:pt x="6714600" y="1210573"/>
                </a:lnTo>
                <a:lnTo>
                  <a:pt x="6710581" y="1214612"/>
                </a:lnTo>
                <a:lnTo>
                  <a:pt x="6700670" y="1214612"/>
                </a:lnTo>
                <a:lnTo>
                  <a:pt x="6696651" y="1210573"/>
                </a:lnTo>
                <a:lnTo>
                  <a:pt x="6696651" y="1200702"/>
                </a:lnTo>
                <a:close/>
                <a:moveTo>
                  <a:pt x="6461356" y="1196664"/>
                </a:moveTo>
                <a:lnTo>
                  <a:pt x="6471266" y="1196664"/>
                </a:lnTo>
                <a:lnTo>
                  <a:pt x="6475285" y="1200702"/>
                </a:lnTo>
                <a:lnTo>
                  <a:pt x="6475285" y="1210573"/>
                </a:lnTo>
                <a:lnTo>
                  <a:pt x="6471266" y="1214612"/>
                </a:lnTo>
                <a:lnTo>
                  <a:pt x="6461356" y="1214612"/>
                </a:lnTo>
                <a:lnTo>
                  <a:pt x="6457337" y="1210573"/>
                </a:lnTo>
                <a:lnTo>
                  <a:pt x="6457337" y="1200702"/>
                </a:lnTo>
                <a:close/>
                <a:moveTo>
                  <a:pt x="7418611" y="1196652"/>
                </a:moveTo>
                <a:lnTo>
                  <a:pt x="7428521" y="1196652"/>
                </a:lnTo>
                <a:lnTo>
                  <a:pt x="7432540" y="1200690"/>
                </a:lnTo>
                <a:lnTo>
                  <a:pt x="7432540" y="1210561"/>
                </a:lnTo>
                <a:lnTo>
                  <a:pt x="7428521" y="1214600"/>
                </a:lnTo>
                <a:lnTo>
                  <a:pt x="7418611" y="1214600"/>
                </a:lnTo>
                <a:lnTo>
                  <a:pt x="7414592" y="1210561"/>
                </a:lnTo>
                <a:lnTo>
                  <a:pt x="7414592" y="1200690"/>
                </a:lnTo>
                <a:close/>
                <a:moveTo>
                  <a:pt x="7179298" y="1196652"/>
                </a:moveTo>
                <a:lnTo>
                  <a:pt x="7189209" y="1196652"/>
                </a:lnTo>
                <a:lnTo>
                  <a:pt x="7193228" y="1200690"/>
                </a:lnTo>
                <a:lnTo>
                  <a:pt x="7193228" y="1210561"/>
                </a:lnTo>
                <a:lnTo>
                  <a:pt x="7189209" y="1214600"/>
                </a:lnTo>
                <a:lnTo>
                  <a:pt x="7179298" y="1214600"/>
                </a:lnTo>
                <a:lnTo>
                  <a:pt x="7175279" y="1210561"/>
                </a:lnTo>
                <a:lnTo>
                  <a:pt x="7175279" y="1200690"/>
                </a:lnTo>
                <a:close/>
                <a:moveTo>
                  <a:pt x="8136553" y="1196651"/>
                </a:moveTo>
                <a:lnTo>
                  <a:pt x="8146464" y="1196651"/>
                </a:lnTo>
                <a:lnTo>
                  <a:pt x="8150483" y="1200689"/>
                </a:lnTo>
                <a:lnTo>
                  <a:pt x="8150483" y="1210561"/>
                </a:lnTo>
                <a:lnTo>
                  <a:pt x="8146464" y="1214600"/>
                </a:lnTo>
                <a:lnTo>
                  <a:pt x="8136553" y="1214600"/>
                </a:lnTo>
                <a:lnTo>
                  <a:pt x="8132534" y="1210561"/>
                </a:lnTo>
                <a:lnTo>
                  <a:pt x="8132534" y="1200689"/>
                </a:lnTo>
                <a:close/>
                <a:moveTo>
                  <a:pt x="7897241" y="1196651"/>
                </a:moveTo>
                <a:lnTo>
                  <a:pt x="7907151" y="1196651"/>
                </a:lnTo>
                <a:lnTo>
                  <a:pt x="7911170" y="1200689"/>
                </a:lnTo>
                <a:lnTo>
                  <a:pt x="7911170" y="1210561"/>
                </a:lnTo>
                <a:lnTo>
                  <a:pt x="7907151" y="1214600"/>
                </a:lnTo>
                <a:lnTo>
                  <a:pt x="7897241" y="1214600"/>
                </a:lnTo>
                <a:lnTo>
                  <a:pt x="7893222" y="1210561"/>
                </a:lnTo>
                <a:lnTo>
                  <a:pt x="7893222" y="1200689"/>
                </a:lnTo>
                <a:close/>
                <a:moveTo>
                  <a:pt x="7657926" y="1196651"/>
                </a:moveTo>
                <a:lnTo>
                  <a:pt x="7667836" y="1196651"/>
                </a:lnTo>
                <a:lnTo>
                  <a:pt x="7671855" y="1200689"/>
                </a:lnTo>
                <a:lnTo>
                  <a:pt x="7671855" y="1210561"/>
                </a:lnTo>
                <a:lnTo>
                  <a:pt x="7667836" y="1214600"/>
                </a:lnTo>
                <a:lnTo>
                  <a:pt x="7657926" y="1214600"/>
                </a:lnTo>
                <a:lnTo>
                  <a:pt x="7653906" y="1210561"/>
                </a:lnTo>
                <a:lnTo>
                  <a:pt x="7653906" y="1200689"/>
                </a:lnTo>
                <a:close/>
                <a:moveTo>
                  <a:pt x="8615184" y="1196639"/>
                </a:moveTo>
                <a:lnTo>
                  <a:pt x="8625095" y="1196639"/>
                </a:lnTo>
                <a:lnTo>
                  <a:pt x="8629114" y="1200678"/>
                </a:lnTo>
                <a:lnTo>
                  <a:pt x="8629114" y="1210548"/>
                </a:lnTo>
                <a:lnTo>
                  <a:pt x="8625095" y="1214587"/>
                </a:lnTo>
                <a:lnTo>
                  <a:pt x="8615184" y="1214587"/>
                </a:lnTo>
                <a:lnTo>
                  <a:pt x="8611165" y="1210548"/>
                </a:lnTo>
                <a:lnTo>
                  <a:pt x="8611165" y="1200678"/>
                </a:lnTo>
                <a:close/>
                <a:moveTo>
                  <a:pt x="8375869" y="1196639"/>
                </a:moveTo>
                <a:lnTo>
                  <a:pt x="8385779" y="1196639"/>
                </a:lnTo>
                <a:lnTo>
                  <a:pt x="8389799" y="1200678"/>
                </a:lnTo>
                <a:lnTo>
                  <a:pt x="8389799" y="1210549"/>
                </a:lnTo>
                <a:lnTo>
                  <a:pt x="8385779" y="1214587"/>
                </a:lnTo>
                <a:lnTo>
                  <a:pt x="8375869" y="1214587"/>
                </a:lnTo>
                <a:lnTo>
                  <a:pt x="8371850" y="1210549"/>
                </a:lnTo>
                <a:lnTo>
                  <a:pt x="8371850" y="1200678"/>
                </a:lnTo>
                <a:close/>
                <a:moveTo>
                  <a:pt x="9333125" y="1196639"/>
                </a:moveTo>
                <a:lnTo>
                  <a:pt x="9343036" y="1196639"/>
                </a:lnTo>
                <a:lnTo>
                  <a:pt x="9347055" y="1200677"/>
                </a:lnTo>
                <a:lnTo>
                  <a:pt x="9347055" y="1210548"/>
                </a:lnTo>
                <a:lnTo>
                  <a:pt x="9343036" y="1214587"/>
                </a:lnTo>
                <a:lnTo>
                  <a:pt x="9333125" y="1214587"/>
                </a:lnTo>
                <a:lnTo>
                  <a:pt x="9329106" y="1210548"/>
                </a:lnTo>
                <a:lnTo>
                  <a:pt x="9329106" y="1200677"/>
                </a:lnTo>
                <a:close/>
                <a:moveTo>
                  <a:pt x="9093811" y="1196639"/>
                </a:moveTo>
                <a:lnTo>
                  <a:pt x="9103722" y="1196639"/>
                </a:lnTo>
                <a:lnTo>
                  <a:pt x="9107741" y="1200677"/>
                </a:lnTo>
                <a:lnTo>
                  <a:pt x="9107741" y="1210548"/>
                </a:lnTo>
                <a:lnTo>
                  <a:pt x="9103722" y="1214587"/>
                </a:lnTo>
                <a:lnTo>
                  <a:pt x="9093811" y="1214587"/>
                </a:lnTo>
                <a:lnTo>
                  <a:pt x="9089792" y="1210548"/>
                </a:lnTo>
                <a:lnTo>
                  <a:pt x="9089792" y="1200677"/>
                </a:lnTo>
                <a:close/>
                <a:moveTo>
                  <a:pt x="8854496" y="1196639"/>
                </a:moveTo>
                <a:lnTo>
                  <a:pt x="8864407" y="1196639"/>
                </a:lnTo>
                <a:lnTo>
                  <a:pt x="8868426" y="1200677"/>
                </a:lnTo>
                <a:lnTo>
                  <a:pt x="8868426" y="1210548"/>
                </a:lnTo>
                <a:lnTo>
                  <a:pt x="8864407" y="1214587"/>
                </a:lnTo>
                <a:lnTo>
                  <a:pt x="8854496" y="1214587"/>
                </a:lnTo>
                <a:lnTo>
                  <a:pt x="8850477" y="1210548"/>
                </a:lnTo>
                <a:lnTo>
                  <a:pt x="8850477" y="1200677"/>
                </a:lnTo>
                <a:close/>
                <a:moveTo>
                  <a:pt x="9572438" y="1196627"/>
                </a:moveTo>
                <a:lnTo>
                  <a:pt x="9582349" y="1196627"/>
                </a:lnTo>
                <a:lnTo>
                  <a:pt x="9586368" y="1200665"/>
                </a:lnTo>
                <a:lnTo>
                  <a:pt x="9586368" y="1210536"/>
                </a:lnTo>
                <a:lnTo>
                  <a:pt x="9582349" y="1214575"/>
                </a:lnTo>
                <a:lnTo>
                  <a:pt x="9572438" y="1214575"/>
                </a:lnTo>
                <a:lnTo>
                  <a:pt x="9568419" y="1210536"/>
                </a:lnTo>
                <a:lnTo>
                  <a:pt x="9568419" y="1200665"/>
                </a:lnTo>
                <a:close/>
                <a:moveTo>
                  <a:pt x="4035" y="1196600"/>
                </a:moveTo>
                <a:lnTo>
                  <a:pt x="13945" y="1196600"/>
                </a:lnTo>
                <a:lnTo>
                  <a:pt x="17964" y="1200638"/>
                </a:lnTo>
                <a:lnTo>
                  <a:pt x="17964" y="1210509"/>
                </a:lnTo>
                <a:lnTo>
                  <a:pt x="13945" y="1214548"/>
                </a:lnTo>
                <a:lnTo>
                  <a:pt x="4035" y="1214548"/>
                </a:lnTo>
                <a:lnTo>
                  <a:pt x="16" y="1210509"/>
                </a:lnTo>
                <a:lnTo>
                  <a:pt x="16" y="1200638"/>
                </a:lnTo>
                <a:close/>
                <a:moveTo>
                  <a:pt x="721974" y="1196599"/>
                </a:moveTo>
                <a:lnTo>
                  <a:pt x="731884" y="1196599"/>
                </a:lnTo>
                <a:lnTo>
                  <a:pt x="735903" y="1200638"/>
                </a:lnTo>
                <a:lnTo>
                  <a:pt x="735903" y="1210509"/>
                </a:lnTo>
                <a:lnTo>
                  <a:pt x="731884" y="1214547"/>
                </a:lnTo>
                <a:lnTo>
                  <a:pt x="721974" y="1214547"/>
                </a:lnTo>
                <a:lnTo>
                  <a:pt x="717955" y="1210509"/>
                </a:lnTo>
                <a:lnTo>
                  <a:pt x="717955" y="1200638"/>
                </a:lnTo>
                <a:close/>
                <a:moveTo>
                  <a:pt x="482661" y="1196599"/>
                </a:moveTo>
                <a:lnTo>
                  <a:pt x="492572" y="1196599"/>
                </a:lnTo>
                <a:lnTo>
                  <a:pt x="496591" y="1200638"/>
                </a:lnTo>
                <a:lnTo>
                  <a:pt x="496591" y="1210509"/>
                </a:lnTo>
                <a:lnTo>
                  <a:pt x="492572" y="1214548"/>
                </a:lnTo>
                <a:lnTo>
                  <a:pt x="482661" y="1214548"/>
                </a:lnTo>
                <a:lnTo>
                  <a:pt x="478642" y="1210509"/>
                </a:lnTo>
                <a:lnTo>
                  <a:pt x="478642" y="1200638"/>
                </a:lnTo>
                <a:close/>
                <a:moveTo>
                  <a:pt x="243348" y="1196599"/>
                </a:moveTo>
                <a:lnTo>
                  <a:pt x="253258" y="1196599"/>
                </a:lnTo>
                <a:lnTo>
                  <a:pt x="257278" y="1200638"/>
                </a:lnTo>
                <a:lnTo>
                  <a:pt x="257278" y="1210509"/>
                </a:lnTo>
                <a:lnTo>
                  <a:pt x="253258" y="1214548"/>
                </a:lnTo>
                <a:lnTo>
                  <a:pt x="243348" y="1214548"/>
                </a:lnTo>
                <a:lnTo>
                  <a:pt x="239329" y="1210509"/>
                </a:lnTo>
                <a:lnTo>
                  <a:pt x="239329" y="1200638"/>
                </a:lnTo>
                <a:close/>
                <a:moveTo>
                  <a:pt x="1439900" y="1196589"/>
                </a:moveTo>
                <a:lnTo>
                  <a:pt x="1449810" y="1196589"/>
                </a:lnTo>
                <a:lnTo>
                  <a:pt x="1453829" y="1200628"/>
                </a:lnTo>
                <a:lnTo>
                  <a:pt x="1453829" y="1210498"/>
                </a:lnTo>
                <a:lnTo>
                  <a:pt x="1449810" y="1214537"/>
                </a:lnTo>
                <a:lnTo>
                  <a:pt x="1439900" y="1214537"/>
                </a:lnTo>
                <a:lnTo>
                  <a:pt x="1435881" y="1210498"/>
                </a:lnTo>
                <a:lnTo>
                  <a:pt x="1435881" y="1200628"/>
                </a:lnTo>
                <a:close/>
                <a:moveTo>
                  <a:pt x="1200584" y="1196589"/>
                </a:moveTo>
                <a:lnTo>
                  <a:pt x="1210494" y="1196589"/>
                </a:lnTo>
                <a:lnTo>
                  <a:pt x="1214512" y="1200628"/>
                </a:lnTo>
                <a:lnTo>
                  <a:pt x="1214512" y="1210498"/>
                </a:lnTo>
                <a:lnTo>
                  <a:pt x="1210494" y="1214537"/>
                </a:lnTo>
                <a:lnTo>
                  <a:pt x="1200584" y="1214537"/>
                </a:lnTo>
                <a:lnTo>
                  <a:pt x="1196565" y="1210498"/>
                </a:lnTo>
                <a:lnTo>
                  <a:pt x="1196565" y="1200628"/>
                </a:lnTo>
                <a:close/>
                <a:moveTo>
                  <a:pt x="961271" y="1196589"/>
                </a:moveTo>
                <a:lnTo>
                  <a:pt x="971181" y="1196589"/>
                </a:lnTo>
                <a:lnTo>
                  <a:pt x="975200" y="1200628"/>
                </a:lnTo>
                <a:lnTo>
                  <a:pt x="975200" y="1210499"/>
                </a:lnTo>
                <a:lnTo>
                  <a:pt x="971181" y="1214537"/>
                </a:lnTo>
                <a:lnTo>
                  <a:pt x="961271" y="1214537"/>
                </a:lnTo>
                <a:lnTo>
                  <a:pt x="957253" y="1210499"/>
                </a:lnTo>
                <a:lnTo>
                  <a:pt x="957253" y="1200628"/>
                </a:lnTo>
                <a:close/>
                <a:moveTo>
                  <a:pt x="1679217" y="1196589"/>
                </a:moveTo>
                <a:lnTo>
                  <a:pt x="1689127" y="1196589"/>
                </a:lnTo>
                <a:lnTo>
                  <a:pt x="1693146" y="1200627"/>
                </a:lnTo>
                <a:lnTo>
                  <a:pt x="1693146" y="1210498"/>
                </a:lnTo>
                <a:lnTo>
                  <a:pt x="1689127" y="1214537"/>
                </a:lnTo>
                <a:lnTo>
                  <a:pt x="1679217" y="1214537"/>
                </a:lnTo>
                <a:lnTo>
                  <a:pt x="1675198" y="1210498"/>
                </a:lnTo>
                <a:lnTo>
                  <a:pt x="1675198" y="1200627"/>
                </a:lnTo>
                <a:close/>
                <a:moveTo>
                  <a:pt x="1918514" y="1196581"/>
                </a:moveTo>
                <a:lnTo>
                  <a:pt x="1928424" y="1196581"/>
                </a:lnTo>
                <a:lnTo>
                  <a:pt x="1932443" y="1200619"/>
                </a:lnTo>
                <a:lnTo>
                  <a:pt x="1932443" y="1210489"/>
                </a:lnTo>
                <a:lnTo>
                  <a:pt x="1928424" y="1214528"/>
                </a:lnTo>
                <a:lnTo>
                  <a:pt x="1918514" y="1214528"/>
                </a:lnTo>
                <a:lnTo>
                  <a:pt x="1914495" y="1210489"/>
                </a:lnTo>
                <a:lnTo>
                  <a:pt x="1914495" y="1200619"/>
                </a:lnTo>
                <a:close/>
                <a:moveTo>
                  <a:pt x="2157823" y="1196578"/>
                </a:moveTo>
                <a:lnTo>
                  <a:pt x="2167733" y="1196578"/>
                </a:lnTo>
                <a:lnTo>
                  <a:pt x="2171751" y="1200617"/>
                </a:lnTo>
                <a:lnTo>
                  <a:pt x="2171751" y="1210488"/>
                </a:lnTo>
                <a:lnTo>
                  <a:pt x="2167733" y="1214526"/>
                </a:lnTo>
                <a:lnTo>
                  <a:pt x="2157823" y="1214526"/>
                </a:lnTo>
                <a:lnTo>
                  <a:pt x="2153803" y="1210488"/>
                </a:lnTo>
                <a:lnTo>
                  <a:pt x="2153803" y="1200617"/>
                </a:lnTo>
                <a:close/>
                <a:moveTo>
                  <a:pt x="3350359" y="957358"/>
                </a:moveTo>
                <a:lnTo>
                  <a:pt x="3360268" y="957358"/>
                </a:lnTo>
                <a:lnTo>
                  <a:pt x="3364287" y="961396"/>
                </a:lnTo>
                <a:lnTo>
                  <a:pt x="3364287" y="971266"/>
                </a:lnTo>
                <a:lnTo>
                  <a:pt x="3360268" y="975304"/>
                </a:lnTo>
                <a:lnTo>
                  <a:pt x="3350359" y="975304"/>
                </a:lnTo>
                <a:lnTo>
                  <a:pt x="3346340" y="971266"/>
                </a:lnTo>
                <a:lnTo>
                  <a:pt x="3346340" y="961396"/>
                </a:lnTo>
                <a:close/>
                <a:moveTo>
                  <a:pt x="3111048" y="957358"/>
                </a:moveTo>
                <a:lnTo>
                  <a:pt x="3120959" y="957358"/>
                </a:lnTo>
                <a:lnTo>
                  <a:pt x="3124977" y="961396"/>
                </a:lnTo>
                <a:lnTo>
                  <a:pt x="3124977" y="971266"/>
                </a:lnTo>
                <a:lnTo>
                  <a:pt x="3120959" y="975304"/>
                </a:lnTo>
                <a:lnTo>
                  <a:pt x="3111048" y="975304"/>
                </a:lnTo>
                <a:lnTo>
                  <a:pt x="3107029" y="971266"/>
                </a:lnTo>
                <a:lnTo>
                  <a:pt x="3107029" y="961396"/>
                </a:lnTo>
                <a:close/>
                <a:moveTo>
                  <a:pt x="2871737" y="957358"/>
                </a:moveTo>
                <a:lnTo>
                  <a:pt x="2881646" y="957358"/>
                </a:lnTo>
                <a:lnTo>
                  <a:pt x="2885666" y="961396"/>
                </a:lnTo>
                <a:lnTo>
                  <a:pt x="2885666" y="971266"/>
                </a:lnTo>
                <a:lnTo>
                  <a:pt x="2881646" y="975304"/>
                </a:lnTo>
                <a:lnTo>
                  <a:pt x="2871737" y="975304"/>
                </a:lnTo>
                <a:lnTo>
                  <a:pt x="2867717" y="971266"/>
                </a:lnTo>
                <a:lnTo>
                  <a:pt x="2867717" y="961396"/>
                </a:lnTo>
                <a:close/>
                <a:moveTo>
                  <a:pt x="2632423" y="957358"/>
                </a:moveTo>
                <a:lnTo>
                  <a:pt x="2642334" y="957358"/>
                </a:lnTo>
                <a:lnTo>
                  <a:pt x="2646352" y="961396"/>
                </a:lnTo>
                <a:lnTo>
                  <a:pt x="2646352" y="971266"/>
                </a:lnTo>
                <a:lnTo>
                  <a:pt x="2642334" y="975305"/>
                </a:lnTo>
                <a:lnTo>
                  <a:pt x="2632423" y="975305"/>
                </a:lnTo>
                <a:lnTo>
                  <a:pt x="2628404" y="971266"/>
                </a:lnTo>
                <a:lnTo>
                  <a:pt x="2628404" y="961396"/>
                </a:lnTo>
                <a:close/>
                <a:moveTo>
                  <a:pt x="2393104" y="957358"/>
                </a:moveTo>
                <a:lnTo>
                  <a:pt x="2403015" y="957358"/>
                </a:lnTo>
                <a:lnTo>
                  <a:pt x="2407034" y="961396"/>
                </a:lnTo>
                <a:lnTo>
                  <a:pt x="2407034" y="971266"/>
                </a:lnTo>
                <a:lnTo>
                  <a:pt x="2403015" y="975305"/>
                </a:lnTo>
                <a:lnTo>
                  <a:pt x="2393104" y="975305"/>
                </a:lnTo>
                <a:lnTo>
                  <a:pt x="2389087" y="971266"/>
                </a:lnTo>
                <a:lnTo>
                  <a:pt x="2389087" y="961396"/>
                </a:lnTo>
                <a:close/>
                <a:moveTo>
                  <a:pt x="4546929" y="957347"/>
                </a:moveTo>
                <a:lnTo>
                  <a:pt x="4556840" y="957347"/>
                </a:lnTo>
                <a:lnTo>
                  <a:pt x="4560859" y="961385"/>
                </a:lnTo>
                <a:lnTo>
                  <a:pt x="4560859" y="971255"/>
                </a:lnTo>
                <a:lnTo>
                  <a:pt x="4556840" y="975293"/>
                </a:lnTo>
                <a:lnTo>
                  <a:pt x="4546929" y="975293"/>
                </a:lnTo>
                <a:lnTo>
                  <a:pt x="4542910" y="971255"/>
                </a:lnTo>
                <a:lnTo>
                  <a:pt x="4542910" y="961385"/>
                </a:lnTo>
                <a:close/>
                <a:moveTo>
                  <a:pt x="4307612" y="957347"/>
                </a:moveTo>
                <a:lnTo>
                  <a:pt x="4317523" y="957347"/>
                </a:lnTo>
                <a:lnTo>
                  <a:pt x="4321543" y="961385"/>
                </a:lnTo>
                <a:lnTo>
                  <a:pt x="4321543" y="971255"/>
                </a:lnTo>
                <a:lnTo>
                  <a:pt x="4317523" y="975293"/>
                </a:lnTo>
                <a:lnTo>
                  <a:pt x="4307612" y="975293"/>
                </a:lnTo>
                <a:lnTo>
                  <a:pt x="4303595" y="971255"/>
                </a:lnTo>
                <a:lnTo>
                  <a:pt x="4303595" y="961385"/>
                </a:lnTo>
                <a:close/>
                <a:moveTo>
                  <a:pt x="4068297" y="957347"/>
                </a:moveTo>
                <a:lnTo>
                  <a:pt x="4078210" y="957347"/>
                </a:lnTo>
                <a:lnTo>
                  <a:pt x="4082229" y="961385"/>
                </a:lnTo>
                <a:lnTo>
                  <a:pt x="4082229" y="971255"/>
                </a:lnTo>
                <a:lnTo>
                  <a:pt x="4078210" y="975293"/>
                </a:lnTo>
                <a:lnTo>
                  <a:pt x="4068297" y="975293"/>
                </a:lnTo>
                <a:lnTo>
                  <a:pt x="4064278" y="971255"/>
                </a:lnTo>
                <a:lnTo>
                  <a:pt x="4064278" y="961385"/>
                </a:lnTo>
                <a:close/>
                <a:moveTo>
                  <a:pt x="3828990" y="957347"/>
                </a:moveTo>
                <a:lnTo>
                  <a:pt x="3838899" y="957347"/>
                </a:lnTo>
                <a:lnTo>
                  <a:pt x="3842917" y="961385"/>
                </a:lnTo>
                <a:lnTo>
                  <a:pt x="3842917" y="971255"/>
                </a:lnTo>
                <a:lnTo>
                  <a:pt x="3838899" y="975293"/>
                </a:lnTo>
                <a:lnTo>
                  <a:pt x="3828990" y="975293"/>
                </a:lnTo>
                <a:lnTo>
                  <a:pt x="3824971" y="971255"/>
                </a:lnTo>
                <a:lnTo>
                  <a:pt x="3824971" y="961385"/>
                </a:lnTo>
                <a:close/>
                <a:moveTo>
                  <a:pt x="3589676" y="957347"/>
                </a:moveTo>
                <a:lnTo>
                  <a:pt x="3599585" y="957347"/>
                </a:lnTo>
                <a:lnTo>
                  <a:pt x="3603604" y="961385"/>
                </a:lnTo>
                <a:lnTo>
                  <a:pt x="3603604" y="971255"/>
                </a:lnTo>
                <a:lnTo>
                  <a:pt x="3599585" y="975293"/>
                </a:lnTo>
                <a:lnTo>
                  <a:pt x="3589676" y="975293"/>
                </a:lnTo>
                <a:lnTo>
                  <a:pt x="3585657" y="971255"/>
                </a:lnTo>
                <a:lnTo>
                  <a:pt x="3585657" y="961385"/>
                </a:lnTo>
                <a:close/>
                <a:moveTo>
                  <a:pt x="5743412" y="957335"/>
                </a:moveTo>
                <a:lnTo>
                  <a:pt x="5753323" y="957335"/>
                </a:lnTo>
                <a:lnTo>
                  <a:pt x="5757342" y="961373"/>
                </a:lnTo>
                <a:lnTo>
                  <a:pt x="5757342" y="971244"/>
                </a:lnTo>
                <a:lnTo>
                  <a:pt x="5753323" y="975282"/>
                </a:lnTo>
                <a:lnTo>
                  <a:pt x="5743412" y="975282"/>
                </a:lnTo>
                <a:lnTo>
                  <a:pt x="5739393" y="971244"/>
                </a:lnTo>
                <a:lnTo>
                  <a:pt x="5739393" y="961373"/>
                </a:lnTo>
                <a:close/>
                <a:moveTo>
                  <a:pt x="5504099" y="957335"/>
                </a:moveTo>
                <a:lnTo>
                  <a:pt x="5514010" y="957335"/>
                </a:lnTo>
                <a:lnTo>
                  <a:pt x="5518029" y="961373"/>
                </a:lnTo>
                <a:lnTo>
                  <a:pt x="5518029" y="971244"/>
                </a:lnTo>
                <a:lnTo>
                  <a:pt x="5514010" y="975282"/>
                </a:lnTo>
                <a:lnTo>
                  <a:pt x="5504099" y="975282"/>
                </a:lnTo>
                <a:lnTo>
                  <a:pt x="5500080" y="971244"/>
                </a:lnTo>
                <a:lnTo>
                  <a:pt x="5500080" y="961373"/>
                </a:lnTo>
                <a:close/>
                <a:moveTo>
                  <a:pt x="5264784" y="957335"/>
                </a:moveTo>
                <a:lnTo>
                  <a:pt x="5274694" y="957335"/>
                </a:lnTo>
                <a:lnTo>
                  <a:pt x="5278713" y="961373"/>
                </a:lnTo>
                <a:lnTo>
                  <a:pt x="5278713" y="971244"/>
                </a:lnTo>
                <a:lnTo>
                  <a:pt x="5274694" y="975282"/>
                </a:lnTo>
                <a:lnTo>
                  <a:pt x="5264784" y="975282"/>
                </a:lnTo>
                <a:lnTo>
                  <a:pt x="5260765" y="971244"/>
                </a:lnTo>
                <a:lnTo>
                  <a:pt x="5260765" y="961373"/>
                </a:lnTo>
                <a:close/>
                <a:moveTo>
                  <a:pt x="5025470" y="957335"/>
                </a:moveTo>
                <a:lnTo>
                  <a:pt x="5035381" y="957335"/>
                </a:lnTo>
                <a:lnTo>
                  <a:pt x="5039400" y="961373"/>
                </a:lnTo>
                <a:lnTo>
                  <a:pt x="5039400" y="971244"/>
                </a:lnTo>
                <a:lnTo>
                  <a:pt x="5035381" y="975283"/>
                </a:lnTo>
                <a:lnTo>
                  <a:pt x="5025470" y="975283"/>
                </a:lnTo>
                <a:lnTo>
                  <a:pt x="5021451" y="971244"/>
                </a:lnTo>
                <a:lnTo>
                  <a:pt x="5021451" y="961373"/>
                </a:lnTo>
                <a:close/>
                <a:moveTo>
                  <a:pt x="4786241" y="957335"/>
                </a:moveTo>
                <a:lnTo>
                  <a:pt x="4796152" y="957335"/>
                </a:lnTo>
                <a:lnTo>
                  <a:pt x="4800171" y="961374"/>
                </a:lnTo>
                <a:lnTo>
                  <a:pt x="4800171" y="971244"/>
                </a:lnTo>
                <a:lnTo>
                  <a:pt x="4796152" y="975283"/>
                </a:lnTo>
                <a:lnTo>
                  <a:pt x="4786241" y="975283"/>
                </a:lnTo>
                <a:lnTo>
                  <a:pt x="4782224" y="971244"/>
                </a:lnTo>
                <a:lnTo>
                  <a:pt x="4782224" y="961374"/>
                </a:lnTo>
                <a:close/>
                <a:moveTo>
                  <a:pt x="6939983" y="957324"/>
                </a:moveTo>
                <a:lnTo>
                  <a:pt x="6949894" y="957324"/>
                </a:lnTo>
                <a:lnTo>
                  <a:pt x="6953913" y="961363"/>
                </a:lnTo>
                <a:lnTo>
                  <a:pt x="6953913" y="971232"/>
                </a:lnTo>
                <a:lnTo>
                  <a:pt x="6949894" y="975271"/>
                </a:lnTo>
                <a:lnTo>
                  <a:pt x="6939983" y="975271"/>
                </a:lnTo>
                <a:lnTo>
                  <a:pt x="6935964" y="971232"/>
                </a:lnTo>
                <a:lnTo>
                  <a:pt x="6935964" y="961363"/>
                </a:lnTo>
                <a:close/>
                <a:moveTo>
                  <a:pt x="6700670" y="957324"/>
                </a:moveTo>
                <a:lnTo>
                  <a:pt x="6710581" y="957324"/>
                </a:lnTo>
                <a:lnTo>
                  <a:pt x="6714600" y="961363"/>
                </a:lnTo>
                <a:lnTo>
                  <a:pt x="6714600" y="971232"/>
                </a:lnTo>
                <a:lnTo>
                  <a:pt x="6710581" y="975271"/>
                </a:lnTo>
                <a:lnTo>
                  <a:pt x="6700670" y="975271"/>
                </a:lnTo>
                <a:lnTo>
                  <a:pt x="6696651" y="971232"/>
                </a:lnTo>
                <a:lnTo>
                  <a:pt x="6696651" y="961363"/>
                </a:lnTo>
                <a:close/>
                <a:moveTo>
                  <a:pt x="6461356" y="957324"/>
                </a:moveTo>
                <a:lnTo>
                  <a:pt x="6471266" y="957324"/>
                </a:lnTo>
                <a:lnTo>
                  <a:pt x="6475285" y="961363"/>
                </a:lnTo>
                <a:lnTo>
                  <a:pt x="6475285" y="971232"/>
                </a:lnTo>
                <a:lnTo>
                  <a:pt x="6471266" y="975271"/>
                </a:lnTo>
                <a:lnTo>
                  <a:pt x="6461356" y="975271"/>
                </a:lnTo>
                <a:lnTo>
                  <a:pt x="6457337" y="971232"/>
                </a:lnTo>
                <a:lnTo>
                  <a:pt x="6457337" y="961363"/>
                </a:lnTo>
                <a:close/>
                <a:moveTo>
                  <a:pt x="6222042" y="957324"/>
                </a:moveTo>
                <a:lnTo>
                  <a:pt x="6231952" y="957324"/>
                </a:lnTo>
                <a:lnTo>
                  <a:pt x="6235971" y="961363"/>
                </a:lnTo>
                <a:lnTo>
                  <a:pt x="6235971" y="971232"/>
                </a:lnTo>
                <a:lnTo>
                  <a:pt x="6231952" y="975271"/>
                </a:lnTo>
                <a:lnTo>
                  <a:pt x="6222042" y="975271"/>
                </a:lnTo>
                <a:lnTo>
                  <a:pt x="6218023" y="971232"/>
                </a:lnTo>
                <a:lnTo>
                  <a:pt x="6218023" y="961363"/>
                </a:lnTo>
                <a:close/>
                <a:moveTo>
                  <a:pt x="5982729" y="957324"/>
                </a:moveTo>
                <a:lnTo>
                  <a:pt x="5992639" y="957324"/>
                </a:lnTo>
                <a:lnTo>
                  <a:pt x="5996658" y="961363"/>
                </a:lnTo>
                <a:lnTo>
                  <a:pt x="5996658" y="971232"/>
                </a:lnTo>
                <a:lnTo>
                  <a:pt x="5992639" y="975271"/>
                </a:lnTo>
                <a:lnTo>
                  <a:pt x="5982729" y="975271"/>
                </a:lnTo>
                <a:lnTo>
                  <a:pt x="5978710" y="971232"/>
                </a:lnTo>
                <a:lnTo>
                  <a:pt x="5978710" y="961363"/>
                </a:lnTo>
                <a:close/>
                <a:moveTo>
                  <a:pt x="8136553" y="957313"/>
                </a:moveTo>
                <a:lnTo>
                  <a:pt x="8146464" y="957313"/>
                </a:lnTo>
                <a:lnTo>
                  <a:pt x="8150483" y="961351"/>
                </a:lnTo>
                <a:lnTo>
                  <a:pt x="8150483" y="971222"/>
                </a:lnTo>
                <a:lnTo>
                  <a:pt x="8146464" y="975260"/>
                </a:lnTo>
                <a:lnTo>
                  <a:pt x="8136553" y="975260"/>
                </a:lnTo>
                <a:lnTo>
                  <a:pt x="8132534" y="971222"/>
                </a:lnTo>
                <a:lnTo>
                  <a:pt x="8132534" y="961351"/>
                </a:lnTo>
                <a:close/>
                <a:moveTo>
                  <a:pt x="7897241" y="957313"/>
                </a:moveTo>
                <a:lnTo>
                  <a:pt x="7907151" y="957313"/>
                </a:lnTo>
                <a:lnTo>
                  <a:pt x="7911170" y="961351"/>
                </a:lnTo>
                <a:lnTo>
                  <a:pt x="7911170" y="971222"/>
                </a:lnTo>
                <a:lnTo>
                  <a:pt x="7907151" y="975260"/>
                </a:lnTo>
                <a:lnTo>
                  <a:pt x="7897241" y="975260"/>
                </a:lnTo>
                <a:lnTo>
                  <a:pt x="7893222" y="971222"/>
                </a:lnTo>
                <a:lnTo>
                  <a:pt x="7893222" y="961351"/>
                </a:lnTo>
                <a:close/>
                <a:moveTo>
                  <a:pt x="7657926" y="957313"/>
                </a:moveTo>
                <a:lnTo>
                  <a:pt x="7667836" y="957313"/>
                </a:lnTo>
                <a:lnTo>
                  <a:pt x="7671855" y="961351"/>
                </a:lnTo>
                <a:lnTo>
                  <a:pt x="7671855" y="971222"/>
                </a:lnTo>
                <a:lnTo>
                  <a:pt x="7667836" y="975260"/>
                </a:lnTo>
                <a:lnTo>
                  <a:pt x="7657926" y="975260"/>
                </a:lnTo>
                <a:lnTo>
                  <a:pt x="7653906" y="971222"/>
                </a:lnTo>
                <a:lnTo>
                  <a:pt x="7653906" y="961351"/>
                </a:lnTo>
                <a:close/>
                <a:moveTo>
                  <a:pt x="7418611" y="957313"/>
                </a:moveTo>
                <a:lnTo>
                  <a:pt x="7428521" y="957313"/>
                </a:lnTo>
                <a:lnTo>
                  <a:pt x="7432540" y="961351"/>
                </a:lnTo>
                <a:lnTo>
                  <a:pt x="7432540" y="971222"/>
                </a:lnTo>
                <a:lnTo>
                  <a:pt x="7428521" y="975260"/>
                </a:lnTo>
                <a:lnTo>
                  <a:pt x="7418611" y="975260"/>
                </a:lnTo>
                <a:lnTo>
                  <a:pt x="7414592" y="971222"/>
                </a:lnTo>
                <a:lnTo>
                  <a:pt x="7414592" y="961351"/>
                </a:lnTo>
                <a:close/>
                <a:moveTo>
                  <a:pt x="7179298" y="957313"/>
                </a:moveTo>
                <a:lnTo>
                  <a:pt x="7189209" y="957313"/>
                </a:lnTo>
                <a:lnTo>
                  <a:pt x="7193228" y="961351"/>
                </a:lnTo>
                <a:lnTo>
                  <a:pt x="7193228" y="971222"/>
                </a:lnTo>
                <a:lnTo>
                  <a:pt x="7189209" y="975260"/>
                </a:lnTo>
                <a:lnTo>
                  <a:pt x="7179298" y="975260"/>
                </a:lnTo>
                <a:lnTo>
                  <a:pt x="7175279" y="971222"/>
                </a:lnTo>
                <a:lnTo>
                  <a:pt x="7175279" y="961351"/>
                </a:lnTo>
                <a:close/>
                <a:moveTo>
                  <a:pt x="1679217" y="957309"/>
                </a:moveTo>
                <a:lnTo>
                  <a:pt x="1689128" y="957309"/>
                </a:lnTo>
                <a:lnTo>
                  <a:pt x="1693147" y="961347"/>
                </a:lnTo>
                <a:lnTo>
                  <a:pt x="1693147" y="971217"/>
                </a:lnTo>
                <a:lnTo>
                  <a:pt x="1689128" y="975256"/>
                </a:lnTo>
                <a:lnTo>
                  <a:pt x="1679217" y="975256"/>
                </a:lnTo>
                <a:lnTo>
                  <a:pt x="1675199" y="971217"/>
                </a:lnTo>
                <a:lnTo>
                  <a:pt x="1675199" y="961347"/>
                </a:lnTo>
                <a:close/>
                <a:moveTo>
                  <a:pt x="1439901" y="957309"/>
                </a:moveTo>
                <a:lnTo>
                  <a:pt x="1449811" y="957309"/>
                </a:lnTo>
                <a:lnTo>
                  <a:pt x="1453829" y="961347"/>
                </a:lnTo>
                <a:lnTo>
                  <a:pt x="1453829" y="971217"/>
                </a:lnTo>
                <a:lnTo>
                  <a:pt x="1449811" y="975256"/>
                </a:lnTo>
                <a:lnTo>
                  <a:pt x="1439901" y="975256"/>
                </a:lnTo>
                <a:lnTo>
                  <a:pt x="1435881" y="971217"/>
                </a:lnTo>
                <a:lnTo>
                  <a:pt x="1435881" y="961347"/>
                </a:lnTo>
                <a:close/>
                <a:moveTo>
                  <a:pt x="1200584" y="957309"/>
                </a:moveTo>
                <a:lnTo>
                  <a:pt x="1210495" y="957309"/>
                </a:lnTo>
                <a:lnTo>
                  <a:pt x="1214513" y="961347"/>
                </a:lnTo>
                <a:lnTo>
                  <a:pt x="1214513" y="971217"/>
                </a:lnTo>
                <a:lnTo>
                  <a:pt x="1210495" y="975256"/>
                </a:lnTo>
                <a:lnTo>
                  <a:pt x="1200584" y="975256"/>
                </a:lnTo>
                <a:lnTo>
                  <a:pt x="1196566" y="971217"/>
                </a:lnTo>
                <a:lnTo>
                  <a:pt x="1196566" y="961347"/>
                </a:lnTo>
                <a:close/>
                <a:moveTo>
                  <a:pt x="961271" y="957309"/>
                </a:moveTo>
                <a:lnTo>
                  <a:pt x="971182" y="957309"/>
                </a:lnTo>
                <a:lnTo>
                  <a:pt x="975201" y="961347"/>
                </a:lnTo>
                <a:lnTo>
                  <a:pt x="975201" y="971218"/>
                </a:lnTo>
                <a:lnTo>
                  <a:pt x="971182" y="975256"/>
                </a:lnTo>
                <a:lnTo>
                  <a:pt x="961271" y="975256"/>
                </a:lnTo>
                <a:lnTo>
                  <a:pt x="957253" y="971218"/>
                </a:lnTo>
                <a:lnTo>
                  <a:pt x="957253" y="961347"/>
                </a:lnTo>
                <a:close/>
                <a:moveTo>
                  <a:pt x="9333125" y="957302"/>
                </a:moveTo>
                <a:lnTo>
                  <a:pt x="9343036" y="957302"/>
                </a:lnTo>
                <a:lnTo>
                  <a:pt x="9347055" y="961340"/>
                </a:lnTo>
                <a:lnTo>
                  <a:pt x="9347055" y="971210"/>
                </a:lnTo>
                <a:lnTo>
                  <a:pt x="9343036" y="975249"/>
                </a:lnTo>
                <a:lnTo>
                  <a:pt x="9333125" y="975249"/>
                </a:lnTo>
                <a:lnTo>
                  <a:pt x="9329106" y="971210"/>
                </a:lnTo>
                <a:lnTo>
                  <a:pt x="9329106" y="961340"/>
                </a:lnTo>
                <a:close/>
                <a:moveTo>
                  <a:pt x="9093811" y="957302"/>
                </a:moveTo>
                <a:lnTo>
                  <a:pt x="9103722" y="957302"/>
                </a:lnTo>
                <a:lnTo>
                  <a:pt x="9107741" y="961340"/>
                </a:lnTo>
                <a:lnTo>
                  <a:pt x="9107741" y="971210"/>
                </a:lnTo>
                <a:lnTo>
                  <a:pt x="9103722" y="975249"/>
                </a:lnTo>
                <a:lnTo>
                  <a:pt x="9093811" y="975249"/>
                </a:lnTo>
                <a:lnTo>
                  <a:pt x="9089792" y="971210"/>
                </a:lnTo>
                <a:lnTo>
                  <a:pt x="9089792" y="961340"/>
                </a:lnTo>
                <a:close/>
                <a:moveTo>
                  <a:pt x="8854496" y="957302"/>
                </a:moveTo>
                <a:lnTo>
                  <a:pt x="8864407" y="957302"/>
                </a:lnTo>
                <a:lnTo>
                  <a:pt x="8868426" y="961340"/>
                </a:lnTo>
                <a:lnTo>
                  <a:pt x="8868426" y="971210"/>
                </a:lnTo>
                <a:lnTo>
                  <a:pt x="8864407" y="975249"/>
                </a:lnTo>
                <a:lnTo>
                  <a:pt x="8854496" y="975249"/>
                </a:lnTo>
                <a:lnTo>
                  <a:pt x="8850477" y="971210"/>
                </a:lnTo>
                <a:lnTo>
                  <a:pt x="8850477" y="961340"/>
                </a:lnTo>
                <a:close/>
                <a:moveTo>
                  <a:pt x="8615184" y="957302"/>
                </a:moveTo>
                <a:lnTo>
                  <a:pt x="8625095" y="957302"/>
                </a:lnTo>
                <a:lnTo>
                  <a:pt x="8629114" y="961340"/>
                </a:lnTo>
                <a:lnTo>
                  <a:pt x="8629114" y="971210"/>
                </a:lnTo>
                <a:lnTo>
                  <a:pt x="8625095" y="975249"/>
                </a:lnTo>
                <a:lnTo>
                  <a:pt x="8615184" y="975249"/>
                </a:lnTo>
                <a:lnTo>
                  <a:pt x="8611165" y="971210"/>
                </a:lnTo>
                <a:lnTo>
                  <a:pt x="8611165" y="961340"/>
                </a:lnTo>
                <a:close/>
                <a:moveTo>
                  <a:pt x="8375869" y="957302"/>
                </a:moveTo>
                <a:lnTo>
                  <a:pt x="8385779" y="957302"/>
                </a:lnTo>
                <a:lnTo>
                  <a:pt x="8389799" y="961340"/>
                </a:lnTo>
                <a:lnTo>
                  <a:pt x="8389799" y="971210"/>
                </a:lnTo>
                <a:lnTo>
                  <a:pt x="8385779" y="975249"/>
                </a:lnTo>
                <a:lnTo>
                  <a:pt x="8375869" y="975249"/>
                </a:lnTo>
                <a:lnTo>
                  <a:pt x="8371850" y="971210"/>
                </a:lnTo>
                <a:lnTo>
                  <a:pt x="8371850" y="961340"/>
                </a:lnTo>
                <a:close/>
                <a:moveTo>
                  <a:pt x="1918514" y="957301"/>
                </a:moveTo>
                <a:lnTo>
                  <a:pt x="1928424" y="957301"/>
                </a:lnTo>
                <a:lnTo>
                  <a:pt x="1932444" y="961339"/>
                </a:lnTo>
                <a:lnTo>
                  <a:pt x="1932444" y="971210"/>
                </a:lnTo>
                <a:lnTo>
                  <a:pt x="1928424" y="975249"/>
                </a:lnTo>
                <a:lnTo>
                  <a:pt x="1918514" y="975249"/>
                </a:lnTo>
                <a:lnTo>
                  <a:pt x="1914495" y="971210"/>
                </a:lnTo>
                <a:lnTo>
                  <a:pt x="1914495" y="961339"/>
                </a:lnTo>
                <a:close/>
                <a:moveTo>
                  <a:pt x="2157823" y="957299"/>
                </a:moveTo>
                <a:lnTo>
                  <a:pt x="2167733" y="957299"/>
                </a:lnTo>
                <a:lnTo>
                  <a:pt x="2171751" y="961337"/>
                </a:lnTo>
                <a:lnTo>
                  <a:pt x="2171751" y="971207"/>
                </a:lnTo>
                <a:lnTo>
                  <a:pt x="2167733" y="975246"/>
                </a:lnTo>
                <a:lnTo>
                  <a:pt x="2157823" y="975246"/>
                </a:lnTo>
                <a:lnTo>
                  <a:pt x="2153804" y="971207"/>
                </a:lnTo>
                <a:lnTo>
                  <a:pt x="2153804" y="961337"/>
                </a:lnTo>
                <a:close/>
                <a:moveTo>
                  <a:pt x="9572438" y="957291"/>
                </a:moveTo>
                <a:lnTo>
                  <a:pt x="9582349" y="957291"/>
                </a:lnTo>
                <a:lnTo>
                  <a:pt x="9586368" y="961329"/>
                </a:lnTo>
                <a:lnTo>
                  <a:pt x="9586368" y="971199"/>
                </a:lnTo>
                <a:lnTo>
                  <a:pt x="9582349" y="975238"/>
                </a:lnTo>
                <a:lnTo>
                  <a:pt x="9572438" y="975238"/>
                </a:lnTo>
                <a:lnTo>
                  <a:pt x="9568419" y="971199"/>
                </a:lnTo>
                <a:lnTo>
                  <a:pt x="9568419" y="961329"/>
                </a:lnTo>
                <a:close/>
                <a:moveTo>
                  <a:pt x="721974" y="957266"/>
                </a:moveTo>
                <a:lnTo>
                  <a:pt x="731884" y="957266"/>
                </a:lnTo>
                <a:lnTo>
                  <a:pt x="735903" y="961305"/>
                </a:lnTo>
                <a:lnTo>
                  <a:pt x="735903" y="971175"/>
                </a:lnTo>
                <a:lnTo>
                  <a:pt x="731884" y="975214"/>
                </a:lnTo>
                <a:lnTo>
                  <a:pt x="721974" y="975214"/>
                </a:lnTo>
                <a:lnTo>
                  <a:pt x="717956" y="971175"/>
                </a:lnTo>
                <a:lnTo>
                  <a:pt x="717956" y="961305"/>
                </a:lnTo>
                <a:close/>
                <a:moveTo>
                  <a:pt x="482662" y="957266"/>
                </a:moveTo>
                <a:lnTo>
                  <a:pt x="492572" y="957266"/>
                </a:lnTo>
                <a:lnTo>
                  <a:pt x="496591" y="961305"/>
                </a:lnTo>
                <a:lnTo>
                  <a:pt x="496591" y="971175"/>
                </a:lnTo>
                <a:lnTo>
                  <a:pt x="492572" y="975214"/>
                </a:lnTo>
                <a:lnTo>
                  <a:pt x="482662" y="975214"/>
                </a:lnTo>
                <a:lnTo>
                  <a:pt x="478643" y="971175"/>
                </a:lnTo>
                <a:lnTo>
                  <a:pt x="478643" y="961305"/>
                </a:lnTo>
                <a:close/>
                <a:moveTo>
                  <a:pt x="243349" y="957266"/>
                </a:moveTo>
                <a:lnTo>
                  <a:pt x="253259" y="957266"/>
                </a:lnTo>
                <a:lnTo>
                  <a:pt x="257278" y="961305"/>
                </a:lnTo>
                <a:lnTo>
                  <a:pt x="257278" y="971175"/>
                </a:lnTo>
                <a:lnTo>
                  <a:pt x="253259" y="975214"/>
                </a:lnTo>
                <a:lnTo>
                  <a:pt x="243349" y="975214"/>
                </a:lnTo>
                <a:lnTo>
                  <a:pt x="239330" y="971175"/>
                </a:lnTo>
                <a:lnTo>
                  <a:pt x="239330" y="961305"/>
                </a:lnTo>
                <a:close/>
                <a:moveTo>
                  <a:pt x="4036" y="957266"/>
                </a:moveTo>
                <a:lnTo>
                  <a:pt x="13946" y="957266"/>
                </a:lnTo>
                <a:lnTo>
                  <a:pt x="17965" y="961305"/>
                </a:lnTo>
                <a:lnTo>
                  <a:pt x="17965" y="971176"/>
                </a:lnTo>
                <a:lnTo>
                  <a:pt x="13946" y="975214"/>
                </a:lnTo>
                <a:lnTo>
                  <a:pt x="4036" y="975214"/>
                </a:lnTo>
                <a:lnTo>
                  <a:pt x="16" y="971176"/>
                </a:lnTo>
                <a:lnTo>
                  <a:pt x="16" y="961305"/>
                </a:lnTo>
                <a:close/>
                <a:moveTo>
                  <a:pt x="3350359" y="718040"/>
                </a:moveTo>
                <a:lnTo>
                  <a:pt x="3360268" y="718040"/>
                </a:lnTo>
                <a:lnTo>
                  <a:pt x="3364287" y="722078"/>
                </a:lnTo>
                <a:lnTo>
                  <a:pt x="3364287" y="731948"/>
                </a:lnTo>
                <a:lnTo>
                  <a:pt x="3360268" y="735987"/>
                </a:lnTo>
                <a:lnTo>
                  <a:pt x="3350359" y="735987"/>
                </a:lnTo>
                <a:lnTo>
                  <a:pt x="3346340" y="731948"/>
                </a:lnTo>
                <a:lnTo>
                  <a:pt x="3346340" y="722078"/>
                </a:lnTo>
                <a:close/>
                <a:moveTo>
                  <a:pt x="3111048" y="718040"/>
                </a:moveTo>
                <a:lnTo>
                  <a:pt x="3120959" y="718040"/>
                </a:lnTo>
                <a:lnTo>
                  <a:pt x="3124977" y="722078"/>
                </a:lnTo>
                <a:lnTo>
                  <a:pt x="3124977" y="731949"/>
                </a:lnTo>
                <a:lnTo>
                  <a:pt x="3120959" y="735987"/>
                </a:lnTo>
                <a:lnTo>
                  <a:pt x="3111048" y="735987"/>
                </a:lnTo>
                <a:lnTo>
                  <a:pt x="3107029" y="731949"/>
                </a:lnTo>
                <a:lnTo>
                  <a:pt x="3107029" y="722078"/>
                </a:lnTo>
                <a:close/>
                <a:moveTo>
                  <a:pt x="2871737" y="718040"/>
                </a:moveTo>
                <a:lnTo>
                  <a:pt x="2881646" y="718040"/>
                </a:lnTo>
                <a:lnTo>
                  <a:pt x="2885666" y="722078"/>
                </a:lnTo>
                <a:lnTo>
                  <a:pt x="2885666" y="731949"/>
                </a:lnTo>
                <a:lnTo>
                  <a:pt x="2881646" y="735987"/>
                </a:lnTo>
                <a:lnTo>
                  <a:pt x="2871737" y="735987"/>
                </a:lnTo>
                <a:lnTo>
                  <a:pt x="2867717" y="731949"/>
                </a:lnTo>
                <a:lnTo>
                  <a:pt x="2867717" y="722078"/>
                </a:lnTo>
                <a:close/>
                <a:moveTo>
                  <a:pt x="2632423" y="718040"/>
                </a:moveTo>
                <a:lnTo>
                  <a:pt x="2642334" y="718040"/>
                </a:lnTo>
                <a:lnTo>
                  <a:pt x="2646352" y="722078"/>
                </a:lnTo>
                <a:lnTo>
                  <a:pt x="2646352" y="731949"/>
                </a:lnTo>
                <a:lnTo>
                  <a:pt x="2642334" y="735988"/>
                </a:lnTo>
                <a:lnTo>
                  <a:pt x="2632423" y="735988"/>
                </a:lnTo>
                <a:lnTo>
                  <a:pt x="2628404" y="731949"/>
                </a:lnTo>
                <a:lnTo>
                  <a:pt x="2628404" y="722078"/>
                </a:lnTo>
                <a:close/>
                <a:moveTo>
                  <a:pt x="2393104" y="718040"/>
                </a:moveTo>
                <a:lnTo>
                  <a:pt x="2403015" y="718040"/>
                </a:lnTo>
                <a:lnTo>
                  <a:pt x="2407034" y="722078"/>
                </a:lnTo>
                <a:lnTo>
                  <a:pt x="2407034" y="731949"/>
                </a:lnTo>
                <a:lnTo>
                  <a:pt x="2403015" y="735988"/>
                </a:lnTo>
                <a:lnTo>
                  <a:pt x="2393104" y="735988"/>
                </a:lnTo>
                <a:lnTo>
                  <a:pt x="2389087" y="731949"/>
                </a:lnTo>
                <a:lnTo>
                  <a:pt x="2389087" y="722078"/>
                </a:lnTo>
                <a:close/>
                <a:moveTo>
                  <a:pt x="4546929" y="718028"/>
                </a:moveTo>
                <a:lnTo>
                  <a:pt x="4556840" y="718028"/>
                </a:lnTo>
                <a:lnTo>
                  <a:pt x="4560859" y="722066"/>
                </a:lnTo>
                <a:lnTo>
                  <a:pt x="4560859" y="731935"/>
                </a:lnTo>
                <a:lnTo>
                  <a:pt x="4556840" y="735975"/>
                </a:lnTo>
                <a:lnTo>
                  <a:pt x="4546929" y="735975"/>
                </a:lnTo>
                <a:lnTo>
                  <a:pt x="4542910" y="731935"/>
                </a:lnTo>
                <a:lnTo>
                  <a:pt x="4542910" y="722066"/>
                </a:lnTo>
                <a:close/>
                <a:moveTo>
                  <a:pt x="4307612" y="718028"/>
                </a:moveTo>
                <a:lnTo>
                  <a:pt x="4317523" y="718028"/>
                </a:lnTo>
                <a:lnTo>
                  <a:pt x="4321543" y="722066"/>
                </a:lnTo>
                <a:lnTo>
                  <a:pt x="4321543" y="731936"/>
                </a:lnTo>
                <a:lnTo>
                  <a:pt x="4317523" y="735975"/>
                </a:lnTo>
                <a:lnTo>
                  <a:pt x="4307612" y="735975"/>
                </a:lnTo>
                <a:lnTo>
                  <a:pt x="4303595" y="731936"/>
                </a:lnTo>
                <a:lnTo>
                  <a:pt x="4303595" y="722066"/>
                </a:lnTo>
                <a:close/>
                <a:moveTo>
                  <a:pt x="4068297" y="718028"/>
                </a:moveTo>
                <a:lnTo>
                  <a:pt x="4078210" y="718028"/>
                </a:lnTo>
                <a:lnTo>
                  <a:pt x="4082229" y="722066"/>
                </a:lnTo>
                <a:lnTo>
                  <a:pt x="4082229" y="731936"/>
                </a:lnTo>
                <a:lnTo>
                  <a:pt x="4078210" y="735975"/>
                </a:lnTo>
                <a:lnTo>
                  <a:pt x="4068297" y="735975"/>
                </a:lnTo>
                <a:lnTo>
                  <a:pt x="4064278" y="731936"/>
                </a:lnTo>
                <a:lnTo>
                  <a:pt x="4064278" y="722066"/>
                </a:lnTo>
                <a:close/>
                <a:moveTo>
                  <a:pt x="3828990" y="718028"/>
                </a:moveTo>
                <a:lnTo>
                  <a:pt x="3838899" y="718028"/>
                </a:lnTo>
                <a:lnTo>
                  <a:pt x="3842917" y="722066"/>
                </a:lnTo>
                <a:lnTo>
                  <a:pt x="3842917" y="731936"/>
                </a:lnTo>
                <a:lnTo>
                  <a:pt x="3838899" y="735975"/>
                </a:lnTo>
                <a:lnTo>
                  <a:pt x="3828990" y="735975"/>
                </a:lnTo>
                <a:lnTo>
                  <a:pt x="3824971" y="731936"/>
                </a:lnTo>
                <a:lnTo>
                  <a:pt x="3824971" y="722066"/>
                </a:lnTo>
                <a:close/>
                <a:moveTo>
                  <a:pt x="3589676" y="718028"/>
                </a:moveTo>
                <a:lnTo>
                  <a:pt x="3599585" y="718028"/>
                </a:lnTo>
                <a:lnTo>
                  <a:pt x="3603604" y="722066"/>
                </a:lnTo>
                <a:lnTo>
                  <a:pt x="3603604" y="731936"/>
                </a:lnTo>
                <a:lnTo>
                  <a:pt x="3599585" y="735975"/>
                </a:lnTo>
                <a:lnTo>
                  <a:pt x="3589676" y="735975"/>
                </a:lnTo>
                <a:lnTo>
                  <a:pt x="3585657" y="731936"/>
                </a:lnTo>
                <a:lnTo>
                  <a:pt x="3585657" y="722066"/>
                </a:lnTo>
                <a:close/>
                <a:moveTo>
                  <a:pt x="5743412" y="718015"/>
                </a:moveTo>
                <a:lnTo>
                  <a:pt x="5753323" y="718015"/>
                </a:lnTo>
                <a:lnTo>
                  <a:pt x="5757342" y="722053"/>
                </a:lnTo>
                <a:lnTo>
                  <a:pt x="5757342" y="731924"/>
                </a:lnTo>
                <a:lnTo>
                  <a:pt x="5753323" y="735963"/>
                </a:lnTo>
                <a:lnTo>
                  <a:pt x="5743412" y="735963"/>
                </a:lnTo>
                <a:lnTo>
                  <a:pt x="5739393" y="731924"/>
                </a:lnTo>
                <a:lnTo>
                  <a:pt x="5739393" y="722053"/>
                </a:lnTo>
                <a:close/>
                <a:moveTo>
                  <a:pt x="5504099" y="718015"/>
                </a:moveTo>
                <a:lnTo>
                  <a:pt x="5514010" y="718015"/>
                </a:lnTo>
                <a:lnTo>
                  <a:pt x="5518029" y="722053"/>
                </a:lnTo>
                <a:lnTo>
                  <a:pt x="5518029" y="731924"/>
                </a:lnTo>
                <a:lnTo>
                  <a:pt x="5514010" y="735963"/>
                </a:lnTo>
                <a:lnTo>
                  <a:pt x="5504099" y="735963"/>
                </a:lnTo>
                <a:lnTo>
                  <a:pt x="5500080" y="731924"/>
                </a:lnTo>
                <a:lnTo>
                  <a:pt x="5500080" y="722053"/>
                </a:lnTo>
                <a:close/>
                <a:moveTo>
                  <a:pt x="5264784" y="718015"/>
                </a:moveTo>
                <a:lnTo>
                  <a:pt x="5274694" y="718015"/>
                </a:lnTo>
                <a:lnTo>
                  <a:pt x="5278713" y="722053"/>
                </a:lnTo>
                <a:lnTo>
                  <a:pt x="5278713" y="731924"/>
                </a:lnTo>
                <a:lnTo>
                  <a:pt x="5274694" y="735963"/>
                </a:lnTo>
                <a:lnTo>
                  <a:pt x="5264784" y="735963"/>
                </a:lnTo>
                <a:lnTo>
                  <a:pt x="5260765" y="731924"/>
                </a:lnTo>
                <a:lnTo>
                  <a:pt x="5260765" y="722053"/>
                </a:lnTo>
                <a:close/>
                <a:moveTo>
                  <a:pt x="5025470" y="718015"/>
                </a:moveTo>
                <a:lnTo>
                  <a:pt x="5035381" y="718015"/>
                </a:lnTo>
                <a:lnTo>
                  <a:pt x="5039400" y="722053"/>
                </a:lnTo>
                <a:lnTo>
                  <a:pt x="5039400" y="731924"/>
                </a:lnTo>
                <a:lnTo>
                  <a:pt x="5035381" y="735963"/>
                </a:lnTo>
                <a:lnTo>
                  <a:pt x="5025470" y="735963"/>
                </a:lnTo>
                <a:lnTo>
                  <a:pt x="5021451" y="731924"/>
                </a:lnTo>
                <a:lnTo>
                  <a:pt x="5021451" y="722053"/>
                </a:lnTo>
                <a:close/>
                <a:moveTo>
                  <a:pt x="4786241" y="718015"/>
                </a:moveTo>
                <a:lnTo>
                  <a:pt x="4796152" y="718015"/>
                </a:lnTo>
                <a:lnTo>
                  <a:pt x="4800171" y="722053"/>
                </a:lnTo>
                <a:lnTo>
                  <a:pt x="4800171" y="731924"/>
                </a:lnTo>
                <a:lnTo>
                  <a:pt x="4796152" y="735963"/>
                </a:lnTo>
                <a:lnTo>
                  <a:pt x="4786241" y="735963"/>
                </a:lnTo>
                <a:lnTo>
                  <a:pt x="4782224" y="731924"/>
                </a:lnTo>
                <a:lnTo>
                  <a:pt x="4782224" y="722053"/>
                </a:lnTo>
                <a:close/>
                <a:moveTo>
                  <a:pt x="6939983" y="718003"/>
                </a:moveTo>
                <a:lnTo>
                  <a:pt x="6949894" y="718003"/>
                </a:lnTo>
                <a:lnTo>
                  <a:pt x="6953913" y="722041"/>
                </a:lnTo>
                <a:lnTo>
                  <a:pt x="6953913" y="731911"/>
                </a:lnTo>
                <a:lnTo>
                  <a:pt x="6949894" y="735950"/>
                </a:lnTo>
                <a:lnTo>
                  <a:pt x="6939983" y="735950"/>
                </a:lnTo>
                <a:lnTo>
                  <a:pt x="6935964" y="731911"/>
                </a:lnTo>
                <a:lnTo>
                  <a:pt x="6935964" y="722041"/>
                </a:lnTo>
                <a:close/>
                <a:moveTo>
                  <a:pt x="6700670" y="718003"/>
                </a:moveTo>
                <a:lnTo>
                  <a:pt x="6710581" y="718003"/>
                </a:lnTo>
                <a:lnTo>
                  <a:pt x="6714600" y="722041"/>
                </a:lnTo>
                <a:lnTo>
                  <a:pt x="6714600" y="731912"/>
                </a:lnTo>
                <a:lnTo>
                  <a:pt x="6710581" y="735950"/>
                </a:lnTo>
                <a:lnTo>
                  <a:pt x="6700670" y="735950"/>
                </a:lnTo>
                <a:lnTo>
                  <a:pt x="6696651" y="731912"/>
                </a:lnTo>
                <a:lnTo>
                  <a:pt x="6696651" y="722041"/>
                </a:lnTo>
                <a:close/>
                <a:moveTo>
                  <a:pt x="6461356" y="718003"/>
                </a:moveTo>
                <a:lnTo>
                  <a:pt x="6471266" y="718003"/>
                </a:lnTo>
                <a:lnTo>
                  <a:pt x="6475285" y="722041"/>
                </a:lnTo>
                <a:lnTo>
                  <a:pt x="6475285" y="731912"/>
                </a:lnTo>
                <a:lnTo>
                  <a:pt x="6471266" y="735950"/>
                </a:lnTo>
                <a:lnTo>
                  <a:pt x="6461356" y="735950"/>
                </a:lnTo>
                <a:lnTo>
                  <a:pt x="6457337" y="731912"/>
                </a:lnTo>
                <a:lnTo>
                  <a:pt x="6457337" y="722041"/>
                </a:lnTo>
                <a:close/>
                <a:moveTo>
                  <a:pt x="6222042" y="718003"/>
                </a:moveTo>
                <a:lnTo>
                  <a:pt x="6231952" y="718003"/>
                </a:lnTo>
                <a:lnTo>
                  <a:pt x="6235971" y="722041"/>
                </a:lnTo>
                <a:lnTo>
                  <a:pt x="6235971" y="731912"/>
                </a:lnTo>
                <a:lnTo>
                  <a:pt x="6231952" y="735951"/>
                </a:lnTo>
                <a:lnTo>
                  <a:pt x="6222042" y="735951"/>
                </a:lnTo>
                <a:lnTo>
                  <a:pt x="6218023" y="731912"/>
                </a:lnTo>
                <a:lnTo>
                  <a:pt x="6218023" y="722041"/>
                </a:lnTo>
                <a:close/>
                <a:moveTo>
                  <a:pt x="5982729" y="718003"/>
                </a:moveTo>
                <a:lnTo>
                  <a:pt x="5992639" y="718003"/>
                </a:lnTo>
                <a:lnTo>
                  <a:pt x="5996658" y="722041"/>
                </a:lnTo>
                <a:lnTo>
                  <a:pt x="5996658" y="731912"/>
                </a:lnTo>
                <a:lnTo>
                  <a:pt x="5992639" y="735951"/>
                </a:lnTo>
                <a:lnTo>
                  <a:pt x="5982729" y="735951"/>
                </a:lnTo>
                <a:lnTo>
                  <a:pt x="5978710" y="731912"/>
                </a:lnTo>
                <a:lnTo>
                  <a:pt x="5978710" y="722041"/>
                </a:lnTo>
                <a:close/>
                <a:moveTo>
                  <a:pt x="8136553" y="717990"/>
                </a:moveTo>
                <a:lnTo>
                  <a:pt x="8146464" y="717990"/>
                </a:lnTo>
                <a:lnTo>
                  <a:pt x="8150483" y="722028"/>
                </a:lnTo>
                <a:lnTo>
                  <a:pt x="8150483" y="731899"/>
                </a:lnTo>
                <a:lnTo>
                  <a:pt x="8146464" y="735938"/>
                </a:lnTo>
                <a:lnTo>
                  <a:pt x="8136553" y="735938"/>
                </a:lnTo>
                <a:lnTo>
                  <a:pt x="8132534" y="731899"/>
                </a:lnTo>
                <a:lnTo>
                  <a:pt x="8132534" y="722028"/>
                </a:lnTo>
                <a:close/>
                <a:moveTo>
                  <a:pt x="7897241" y="717990"/>
                </a:moveTo>
                <a:lnTo>
                  <a:pt x="7907151" y="717990"/>
                </a:lnTo>
                <a:lnTo>
                  <a:pt x="7911170" y="722029"/>
                </a:lnTo>
                <a:lnTo>
                  <a:pt x="7911170" y="731899"/>
                </a:lnTo>
                <a:lnTo>
                  <a:pt x="7907151" y="735938"/>
                </a:lnTo>
                <a:lnTo>
                  <a:pt x="7897241" y="735938"/>
                </a:lnTo>
                <a:lnTo>
                  <a:pt x="7893222" y="731899"/>
                </a:lnTo>
                <a:lnTo>
                  <a:pt x="7893222" y="722029"/>
                </a:lnTo>
                <a:close/>
                <a:moveTo>
                  <a:pt x="7657926" y="717990"/>
                </a:moveTo>
                <a:lnTo>
                  <a:pt x="7667836" y="717990"/>
                </a:lnTo>
                <a:lnTo>
                  <a:pt x="7671855" y="722029"/>
                </a:lnTo>
                <a:lnTo>
                  <a:pt x="7671855" y="731899"/>
                </a:lnTo>
                <a:lnTo>
                  <a:pt x="7667836" y="735938"/>
                </a:lnTo>
                <a:lnTo>
                  <a:pt x="7657926" y="735938"/>
                </a:lnTo>
                <a:lnTo>
                  <a:pt x="7653906" y="731899"/>
                </a:lnTo>
                <a:lnTo>
                  <a:pt x="7653906" y="722029"/>
                </a:lnTo>
                <a:close/>
                <a:moveTo>
                  <a:pt x="7418611" y="717990"/>
                </a:moveTo>
                <a:lnTo>
                  <a:pt x="7428521" y="717990"/>
                </a:lnTo>
                <a:lnTo>
                  <a:pt x="7432540" y="722029"/>
                </a:lnTo>
                <a:lnTo>
                  <a:pt x="7432540" y="731899"/>
                </a:lnTo>
                <a:lnTo>
                  <a:pt x="7428521" y="735938"/>
                </a:lnTo>
                <a:lnTo>
                  <a:pt x="7418611" y="735938"/>
                </a:lnTo>
                <a:lnTo>
                  <a:pt x="7414592" y="731899"/>
                </a:lnTo>
                <a:lnTo>
                  <a:pt x="7414592" y="722029"/>
                </a:lnTo>
                <a:close/>
                <a:moveTo>
                  <a:pt x="7179298" y="717990"/>
                </a:moveTo>
                <a:lnTo>
                  <a:pt x="7189209" y="717990"/>
                </a:lnTo>
                <a:lnTo>
                  <a:pt x="7193228" y="722029"/>
                </a:lnTo>
                <a:lnTo>
                  <a:pt x="7193228" y="731899"/>
                </a:lnTo>
                <a:lnTo>
                  <a:pt x="7189209" y="735938"/>
                </a:lnTo>
                <a:lnTo>
                  <a:pt x="7179298" y="735938"/>
                </a:lnTo>
                <a:lnTo>
                  <a:pt x="7175279" y="731899"/>
                </a:lnTo>
                <a:lnTo>
                  <a:pt x="7175279" y="722029"/>
                </a:lnTo>
                <a:close/>
                <a:moveTo>
                  <a:pt x="961272" y="717980"/>
                </a:moveTo>
                <a:lnTo>
                  <a:pt x="971182" y="717980"/>
                </a:lnTo>
                <a:lnTo>
                  <a:pt x="975202" y="722018"/>
                </a:lnTo>
                <a:lnTo>
                  <a:pt x="975202" y="731889"/>
                </a:lnTo>
                <a:lnTo>
                  <a:pt x="971182" y="735928"/>
                </a:lnTo>
                <a:lnTo>
                  <a:pt x="961272" y="735928"/>
                </a:lnTo>
                <a:lnTo>
                  <a:pt x="957254" y="731889"/>
                </a:lnTo>
                <a:lnTo>
                  <a:pt x="957254" y="722018"/>
                </a:lnTo>
                <a:close/>
                <a:moveTo>
                  <a:pt x="1679219" y="717979"/>
                </a:moveTo>
                <a:lnTo>
                  <a:pt x="1689128" y="717979"/>
                </a:lnTo>
                <a:lnTo>
                  <a:pt x="1693149" y="722018"/>
                </a:lnTo>
                <a:lnTo>
                  <a:pt x="1693149" y="731889"/>
                </a:lnTo>
                <a:lnTo>
                  <a:pt x="1689128" y="735927"/>
                </a:lnTo>
                <a:lnTo>
                  <a:pt x="1679219" y="735927"/>
                </a:lnTo>
                <a:lnTo>
                  <a:pt x="1675200" y="731889"/>
                </a:lnTo>
                <a:lnTo>
                  <a:pt x="1675200" y="722018"/>
                </a:lnTo>
                <a:close/>
                <a:moveTo>
                  <a:pt x="1439901" y="717979"/>
                </a:moveTo>
                <a:lnTo>
                  <a:pt x="1449811" y="717979"/>
                </a:lnTo>
                <a:lnTo>
                  <a:pt x="1453831" y="722018"/>
                </a:lnTo>
                <a:lnTo>
                  <a:pt x="1453831" y="731889"/>
                </a:lnTo>
                <a:lnTo>
                  <a:pt x="1449811" y="735927"/>
                </a:lnTo>
                <a:lnTo>
                  <a:pt x="1439901" y="735927"/>
                </a:lnTo>
                <a:lnTo>
                  <a:pt x="1435883" y="731889"/>
                </a:lnTo>
                <a:lnTo>
                  <a:pt x="1435883" y="722018"/>
                </a:lnTo>
                <a:close/>
                <a:moveTo>
                  <a:pt x="1200585" y="717979"/>
                </a:moveTo>
                <a:lnTo>
                  <a:pt x="1210495" y="717979"/>
                </a:lnTo>
                <a:lnTo>
                  <a:pt x="1214513" y="722018"/>
                </a:lnTo>
                <a:lnTo>
                  <a:pt x="1214513" y="731889"/>
                </a:lnTo>
                <a:lnTo>
                  <a:pt x="1210495" y="735927"/>
                </a:lnTo>
                <a:lnTo>
                  <a:pt x="1200585" y="735927"/>
                </a:lnTo>
                <a:lnTo>
                  <a:pt x="1196566" y="731889"/>
                </a:lnTo>
                <a:lnTo>
                  <a:pt x="1196566" y="722018"/>
                </a:lnTo>
                <a:close/>
                <a:moveTo>
                  <a:pt x="9333125" y="717978"/>
                </a:moveTo>
                <a:lnTo>
                  <a:pt x="9343036" y="717978"/>
                </a:lnTo>
                <a:lnTo>
                  <a:pt x="9347055" y="722016"/>
                </a:lnTo>
                <a:lnTo>
                  <a:pt x="9347055" y="731887"/>
                </a:lnTo>
                <a:lnTo>
                  <a:pt x="9343036" y="735926"/>
                </a:lnTo>
                <a:lnTo>
                  <a:pt x="9333125" y="735926"/>
                </a:lnTo>
                <a:lnTo>
                  <a:pt x="9329106" y="731887"/>
                </a:lnTo>
                <a:lnTo>
                  <a:pt x="9329106" y="722016"/>
                </a:lnTo>
                <a:close/>
                <a:moveTo>
                  <a:pt x="9093811" y="717978"/>
                </a:moveTo>
                <a:lnTo>
                  <a:pt x="9103722" y="717978"/>
                </a:lnTo>
                <a:lnTo>
                  <a:pt x="9107741" y="722016"/>
                </a:lnTo>
                <a:lnTo>
                  <a:pt x="9107741" y="731887"/>
                </a:lnTo>
                <a:lnTo>
                  <a:pt x="9103722" y="735926"/>
                </a:lnTo>
                <a:lnTo>
                  <a:pt x="9093811" y="735926"/>
                </a:lnTo>
                <a:lnTo>
                  <a:pt x="9089792" y="731887"/>
                </a:lnTo>
                <a:lnTo>
                  <a:pt x="9089792" y="722016"/>
                </a:lnTo>
                <a:close/>
                <a:moveTo>
                  <a:pt x="8854496" y="717978"/>
                </a:moveTo>
                <a:lnTo>
                  <a:pt x="8864407" y="717978"/>
                </a:lnTo>
                <a:lnTo>
                  <a:pt x="8868426" y="722016"/>
                </a:lnTo>
                <a:lnTo>
                  <a:pt x="8868426" y="731887"/>
                </a:lnTo>
                <a:lnTo>
                  <a:pt x="8864407" y="735926"/>
                </a:lnTo>
                <a:lnTo>
                  <a:pt x="8854496" y="735926"/>
                </a:lnTo>
                <a:lnTo>
                  <a:pt x="8850477" y="731887"/>
                </a:lnTo>
                <a:lnTo>
                  <a:pt x="8850477" y="722016"/>
                </a:lnTo>
                <a:close/>
                <a:moveTo>
                  <a:pt x="8615184" y="717978"/>
                </a:moveTo>
                <a:lnTo>
                  <a:pt x="8625095" y="717978"/>
                </a:lnTo>
                <a:lnTo>
                  <a:pt x="8629114" y="722016"/>
                </a:lnTo>
                <a:lnTo>
                  <a:pt x="8629114" y="731887"/>
                </a:lnTo>
                <a:lnTo>
                  <a:pt x="8625095" y="735926"/>
                </a:lnTo>
                <a:lnTo>
                  <a:pt x="8615184" y="735926"/>
                </a:lnTo>
                <a:lnTo>
                  <a:pt x="8611165" y="731887"/>
                </a:lnTo>
                <a:lnTo>
                  <a:pt x="8611165" y="722016"/>
                </a:lnTo>
                <a:close/>
                <a:moveTo>
                  <a:pt x="8375869" y="717978"/>
                </a:moveTo>
                <a:lnTo>
                  <a:pt x="8385779" y="717978"/>
                </a:lnTo>
                <a:lnTo>
                  <a:pt x="8389799" y="722016"/>
                </a:lnTo>
                <a:lnTo>
                  <a:pt x="8389799" y="731887"/>
                </a:lnTo>
                <a:lnTo>
                  <a:pt x="8385779" y="735926"/>
                </a:lnTo>
                <a:lnTo>
                  <a:pt x="8375869" y="735926"/>
                </a:lnTo>
                <a:lnTo>
                  <a:pt x="8371850" y="731887"/>
                </a:lnTo>
                <a:lnTo>
                  <a:pt x="8371850" y="722016"/>
                </a:lnTo>
                <a:close/>
                <a:moveTo>
                  <a:pt x="1918514" y="717970"/>
                </a:moveTo>
                <a:lnTo>
                  <a:pt x="1928424" y="717970"/>
                </a:lnTo>
                <a:lnTo>
                  <a:pt x="1932444" y="722009"/>
                </a:lnTo>
                <a:lnTo>
                  <a:pt x="1932444" y="731879"/>
                </a:lnTo>
                <a:lnTo>
                  <a:pt x="1928424" y="735918"/>
                </a:lnTo>
                <a:lnTo>
                  <a:pt x="1918514" y="735918"/>
                </a:lnTo>
                <a:lnTo>
                  <a:pt x="1914495" y="731879"/>
                </a:lnTo>
                <a:lnTo>
                  <a:pt x="1914495" y="722009"/>
                </a:lnTo>
                <a:close/>
                <a:moveTo>
                  <a:pt x="2157823" y="717968"/>
                </a:moveTo>
                <a:lnTo>
                  <a:pt x="2167733" y="717968"/>
                </a:lnTo>
                <a:lnTo>
                  <a:pt x="2171753" y="722006"/>
                </a:lnTo>
                <a:lnTo>
                  <a:pt x="2171753" y="731877"/>
                </a:lnTo>
                <a:lnTo>
                  <a:pt x="2167733" y="735916"/>
                </a:lnTo>
                <a:lnTo>
                  <a:pt x="2157823" y="735916"/>
                </a:lnTo>
                <a:lnTo>
                  <a:pt x="2153804" y="731877"/>
                </a:lnTo>
                <a:lnTo>
                  <a:pt x="2153804" y="722006"/>
                </a:lnTo>
                <a:close/>
                <a:moveTo>
                  <a:pt x="9572438" y="717966"/>
                </a:moveTo>
                <a:lnTo>
                  <a:pt x="9582349" y="717966"/>
                </a:lnTo>
                <a:lnTo>
                  <a:pt x="9586368" y="722004"/>
                </a:lnTo>
                <a:lnTo>
                  <a:pt x="9586368" y="731875"/>
                </a:lnTo>
                <a:lnTo>
                  <a:pt x="9582349" y="735914"/>
                </a:lnTo>
                <a:lnTo>
                  <a:pt x="9572438" y="735914"/>
                </a:lnTo>
                <a:lnTo>
                  <a:pt x="9568419" y="731875"/>
                </a:lnTo>
                <a:lnTo>
                  <a:pt x="9568419" y="722004"/>
                </a:lnTo>
                <a:close/>
                <a:moveTo>
                  <a:pt x="243349" y="717939"/>
                </a:moveTo>
                <a:lnTo>
                  <a:pt x="253260" y="717939"/>
                </a:lnTo>
                <a:lnTo>
                  <a:pt x="257279" y="721977"/>
                </a:lnTo>
                <a:lnTo>
                  <a:pt x="257279" y="731847"/>
                </a:lnTo>
                <a:lnTo>
                  <a:pt x="253260" y="735886"/>
                </a:lnTo>
                <a:lnTo>
                  <a:pt x="243349" y="735886"/>
                </a:lnTo>
                <a:lnTo>
                  <a:pt x="239330" y="731847"/>
                </a:lnTo>
                <a:lnTo>
                  <a:pt x="239330" y="721977"/>
                </a:lnTo>
                <a:close/>
                <a:moveTo>
                  <a:pt x="4036" y="717939"/>
                </a:moveTo>
                <a:lnTo>
                  <a:pt x="13947" y="717939"/>
                </a:lnTo>
                <a:lnTo>
                  <a:pt x="17965" y="721978"/>
                </a:lnTo>
                <a:lnTo>
                  <a:pt x="17965" y="731848"/>
                </a:lnTo>
                <a:lnTo>
                  <a:pt x="13947" y="735886"/>
                </a:lnTo>
                <a:lnTo>
                  <a:pt x="4036" y="735886"/>
                </a:lnTo>
                <a:lnTo>
                  <a:pt x="17" y="731848"/>
                </a:lnTo>
                <a:lnTo>
                  <a:pt x="17" y="721978"/>
                </a:lnTo>
                <a:close/>
                <a:moveTo>
                  <a:pt x="721975" y="717939"/>
                </a:moveTo>
                <a:lnTo>
                  <a:pt x="731885" y="717939"/>
                </a:lnTo>
                <a:lnTo>
                  <a:pt x="735904" y="721977"/>
                </a:lnTo>
                <a:lnTo>
                  <a:pt x="735904" y="731847"/>
                </a:lnTo>
                <a:lnTo>
                  <a:pt x="731885" y="735886"/>
                </a:lnTo>
                <a:lnTo>
                  <a:pt x="721975" y="735886"/>
                </a:lnTo>
                <a:lnTo>
                  <a:pt x="717956" y="731847"/>
                </a:lnTo>
                <a:lnTo>
                  <a:pt x="717956" y="721977"/>
                </a:lnTo>
                <a:close/>
                <a:moveTo>
                  <a:pt x="482663" y="717939"/>
                </a:moveTo>
                <a:lnTo>
                  <a:pt x="492573" y="717939"/>
                </a:lnTo>
                <a:lnTo>
                  <a:pt x="496593" y="721977"/>
                </a:lnTo>
                <a:lnTo>
                  <a:pt x="496593" y="731847"/>
                </a:lnTo>
                <a:lnTo>
                  <a:pt x="492573" y="735886"/>
                </a:lnTo>
                <a:lnTo>
                  <a:pt x="482663" y="735886"/>
                </a:lnTo>
                <a:lnTo>
                  <a:pt x="478643" y="731847"/>
                </a:lnTo>
                <a:lnTo>
                  <a:pt x="478643" y="721977"/>
                </a:lnTo>
                <a:close/>
                <a:moveTo>
                  <a:pt x="3350359" y="478760"/>
                </a:moveTo>
                <a:lnTo>
                  <a:pt x="3360268" y="478760"/>
                </a:lnTo>
                <a:lnTo>
                  <a:pt x="3364287" y="482801"/>
                </a:lnTo>
                <a:lnTo>
                  <a:pt x="3364287" y="492670"/>
                </a:lnTo>
                <a:lnTo>
                  <a:pt x="3360268" y="496707"/>
                </a:lnTo>
                <a:lnTo>
                  <a:pt x="3350359" y="496707"/>
                </a:lnTo>
                <a:lnTo>
                  <a:pt x="3346340" y="492670"/>
                </a:lnTo>
                <a:lnTo>
                  <a:pt x="3346340" y="482801"/>
                </a:lnTo>
                <a:close/>
                <a:moveTo>
                  <a:pt x="3111048" y="478760"/>
                </a:moveTo>
                <a:lnTo>
                  <a:pt x="3120959" y="478760"/>
                </a:lnTo>
                <a:lnTo>
                  <a:pt x="3124977" y="482801"/>
                </a:lnTo>
                <a:lnTo>
                  <a:pt x="3124977" y="492670"/>
                </a:lnTo>
                <a:lnTo>
                  <a:pt x="3120959" y="496707"/>
                </a:lnTo>
                <a:lnTo>
                  <a:pt x="3111048" y="496707"/>
                </a:lnTo>
                <a:lnTo>
                  <a:pt x="3107029" y="492670"/>
                </a:lnTo>
                <a:lnTo>
                  <a:pt x="3107029" y="482801"/>
                </a:lnTo>
                <a:close/>
                <a:moveTo>
                  <a:pt x="2871737" y="478760"/>
                </a:moveTo>
                <a:lnTo>
                  <a:pt x="2881646" y="478760"/>
                </a:lnTo>
                <a:lnTo>
                  <a:pt x="2885666" y="482801"/>
                </a:lnTo>
                <a:lnTo>
                  <a:pt x="2885666" y="492670"/>
                </a:lnTo>
                <a:lnTo>
                  <a:pt x="2881646" y="496707"/>
                </a:lnTo>
                <a:lnTo>
                  <a:pt x="2871737" y="496707"/>
                </a:lnTo>
                <a:lnTo>
                  <a:pt x="2867717" y="492670"/>
                </a:lnTo>
                <a:lnTo>
                  <a:pt x="2867717" y="482801"/>
                </a:lnTo>
                <a:close/>
                <a:moveTo>
                  <a:pt x="2632423" y="478760"/>
                </a:moveTo>
                <a:lnTo>
                  <a:pt x="2642334" y="478760"/>
                </a:lnTo>
                <a:lnTo>
                  <a:pt x="2646352" y="482801"/>
                </a:lnTo>
                <a:lnTo>
                  <a:pt x="2646352" y="492670"/>
                </a:lnTo>
                <a:lnTo>
                  <a:pt x="2642334" y="496707"/>
                </a:lnTo>
                <a:lnTo>
                  <a:pt x="2632423" y="496707"/>
                </a:lnTo>
                <a:lnTo>
                  <a:pt x="2628404" y="492670"/>
                </a:lnTo>
                <a:lnTo>
                  <a:pt x="2628404" y="482801"/>
                </a:lnTo>
                <a:close/>
                <a:moveTo>
                  <a:pt x="2393104" y="478760"/>
                </a:moveTo>
                <a:lnTo>
                  <a:pt x="2403015" y="478760"/>
                </a:lnTo>
                <a:lnTo>
                  <a:pt x="2407034" y="482801"/>
                </a:lnTo>
                <a:lnTo>
                  <a:pt x="2407034" y="492670"/>
                </a:lnTo>
                <a:lnTo>
                  <a:pt x="2403015" y="496707"/>
                </a:lnTo>
                <a:lnTo>
                  <a:pt x="2393104" y="496707"/>
                </a:lnTo>
                <a:lnTo>
                  <a:pt x="2389087" y="492670"/>
                </a:lnTo>
                <a:lnTo>
                  <a:pt x="2389087" y="482801"/>
                </a:lnTo>
                <a:close/>
                <a:moveTo>
                  <a:pt x="4546929" y="478748"/>
                </a:moveTo>
                <a:lnTo>
                  <a:pt x="4556840" y="478748"/>
                </a:lnTo>
                <a:lnTo>
                  <a:pt x="4560859" y="482789"/>
                </a:lnTo>
                <a:lnTo>
                  <a:pt x="4560859" y="492657"/>
                </a:lnTo>
                <a:lnTo>
                  <a:pt x="4556840" y="496695"/>
                </a:lnTo>
                <a:lnTo>
                  <a:pt x="4546929" y="496695"/>
                </a:lnTo>
                <a:lnTo>
                  <a:pt x="4542910" y="492657"/>
                </a:lnTo>
                <a:lnTo>
                  <a:pt x="4542910" y="482789"/>
                </a:lnTo>
                <a:close/>
                <a:moveTo>
                  <a:pt x="4307612" y="478748"/>
                </a:moveTo>
                <a:lnTo>
                  <a:pt x="4317523" y="478748"/>
                </a:lnTo>
                <a:lnTo>
                  <a:pt x="4321543" y="482789"/>
                </a:lnTo>
                <a:lnTo>
                  <a:pt x="4321543" y="492657"/>
                </a:lnTo>
                <a:lnTo>
                  <a:pt x="4317523" y="496695"/>
                </a:lnTo>
                <a:lnTo>
                  <a:pt x="4307612" y="496695"/>
                </a:lnTo>
                <a:lnTo>
                  <a:pt x="4303595" y="492657"/>
                </a:lnTo>
                <a:lnTo>
                  <a:pt x="4303595" y="482789"/>
                </a:lnTo>
                <a:close/>
                <a:moveTo>
                  <a:pt x="4068297" y="478748"/>
                </a:moveTo>
                <a:lnTo>
                  <a:pt x="4078210" y="478748"/>
                </a:lnTo>
                <a:lnTo>
                  <a:pt x="4082229" y="482789"/>
                </a:lnTo>
                <a:lnTo>
                  <a:pt x="4082229" y="492657"/>
                </a:lnTo>
                <a:lnTo>
                  <a:pt x="4078210" y="496695"/>
                </a:lnTo>
                <a:lnTo>
                  <a:pt x="4068297" y="496695"/>
                </a:lnTo>
                <a:lnTo>
                  <a:pt x="4064278" y="492657"/>
                </a:lnTo>
                <a:lnTo>
                  <a:pt x="4064278" y="482789"/>
                </a:lnTo>
                <a:close/>
                <a:moveTo>
                  <a:pt x="3828990" y="478748"/>
                </a:moveTo>
                <a:lnTo>
                  <a:pt x="3838899" y="478748"/>
                </a:lnTo>
                <a:lnTo>
                  <a:pt x="3842917" y="482789"/>
                </a:lnTo>
                <a:lnTo>
                  <a:pt x="3842917" y="492657"/>
                </a:lnTo>
                <a:lnTo>
                  <a:pt x="3838899" y="496695"/>
                </a:lnTo>
                <a:lnTo>
                  <a:pt x="3828990" y="496695"/>
                </a:lnTo>
                <a:lnTo>
                  <a:pt x="3824971" y="492657"/>
                </a:lnTo>
                <a:lnTo>
                  <a:pt x="3824971" y="482789"/>
                </a:lnTo>
                <a:close/>
                <a:moveTo>
                  <a:pt x="3589676" y="478748"/>
                </a:moveTo>
                <a:lnTo>
                  <a:pt x="3599585" y="478748"/>
                </a:lnTo>
                <a:lnTo>
                  <a:pt x="3603604" y="482789"/>
                </a:lnTo>
                <a:lnTo>
                  <a:pt x="3603604" y="492657"/>
                </a:lnTo>
                <a:lnTo>
                  <a:pt x="3599585" y="496695"/>
                </a:lnTo>
                <a:lnTo>
                  <a:pt x="3589676" y="496695"/>
                </a:lnTo>
                <a:lnTo>
                  <a:pt x="3585657" y="492657"/>
                </a:lnTo>
                <a:lnTo>
                  <a:pt x="3585657" y="482789"/>
                </a:lnTo>
                <a:close/>
                <a:moveTo>
                  <a:pt x="5743412" y="478736"/>
                </a:moveTo>
                <a:lnTo>
                  <a:pt x="5753323" y="478736"/>
                </a:lnTo>
                <a:lnTo>
                  <a:pt x="5757342" y="482776"/>
                </a:lnTo>
                <a:lnTo>
                  <a:pt x="5757342" y="492645"/>
                </a:lnTo>
                <a:lnTo>
                  <a:pt x="5753323" y="496683"/>
                </a:lnTo>
                <a:lnTo>
                  <a:pt x="5743412" y="496683"/>
                </a:lnTo>
                <a:lnTo>
                  <a:pt x="5739393" y="492645"/>
                </a:lnTo>
                <a:lnTo>
                  <a:pt x="5739393" y="482776"/>
                </a:lnTo>
                <a:close/>
                <a:moveTo>
                  <a:pt x="5504099" y="478736"/>
                </a:moveTo>
                <a:lnTo>
                  <a:pt x="5514010" y="478736"/>
                </a:lnTo>
                <a:lnTo>
                  <a:pt x="5518029" y="482776"/>
                </a:lnTo>
                <a:lnTo>
                  <a:pt x="5518029" y="492645"/>
                </a:lnTo>
                <a:lnTo>
                  <a:pt x="5514010" y="496683"/>
                </a:lnTo>
                <a:lnTo>
                  <a:pt x="5504099" y="496683"/>
                </a:lnTo>
                <a:lnTo>
                  <a:pt x="5500080" y="492645"/>
                </a:lnTo>
                <a:lnTo>
                  <a:pt x="5500080" y="482776"/>
                </a:lnTo>
                <a:close/>
                <a:moveTo>
                  <a:pt x="5264784" y="478736"/>
                </a:moveTo>
                <a:lnTo>
                  <a:pt x="5274694" y="478736"/>
                </a:lnTo>
                <a:lnTo>
                  <a:pt x="5278713" y="482776"/>
                </a:lnTo>
                <a:lnTo>
                  <a:pt x="5278713" y="492645"/>
                </a:lnTo>
                <a:lnTo>
                  <a:pt x="5274694" y="496683"/>
                </a:lnTo>
                <a:lnTo>
                  <a:pt x="5264784" y="496683"/>
                </a:lnTo>
                <a:lnTo>
                  <a:pt x="5260765" y="492645"/>
                </a:lnTo>
                <a:lnTo>
                  <a:pt x="5260765" y="482776"/>
                </a:lnTo>
                <a:close/>
                <a:moveTo>
                  <a:pt x="5025470" y="478736"/>
                </a:moveTo>
                <a:lnTo>
                  <a:pt x="5035381" y="478736"/>
                </a:lnTo>
                <a:lnTo>
                  <a:pt x="5039400" y="482776"/>
                </a:lnTo>
                <a:lnTo>
                  <a:pt x="5039400" y="492645"/>
                </a:lnTo>
                <a:lnTo>
                  <a:pt x="5035381" y="496683"/>
                </a:lnTo>
                <a:lnTo>
                  <a:pt x="5025470" y="496683"/>
                </a:lnTo>
                <a:lnTo>
                  <a:pt x="5021451" y="492645"/>
                </a:lnTo>
                <a:lnTo>
                  <a:pt x="5021451" y="482776"/>
                </a:lnTo>
                <a:close/>
                <a:moveTo>
                  <a:pt x="4786241" y="478736"/>
                </a:moveTo>
                <a:lnTo>
                  <a:pt x="4796152" y="478736"/>
                </a:lnTo>
                <a:lnTo>
                  <a:pt x="4800171" y="482776"/>
                </a:lnTo>
                <a:lnTo>
                  <a:pt x="4800171" y="492645"/>
                </a:lnTo>
                <a:lnTo>
                  <a:pt x="4796152" y="496683"/>
                </a:lnTo>
                <a:lnTo>
                  <a:pt x="4786241" y="496683"/>
                </a:lnTo>
                <a:lnTo>
                  <a:pt x="4782224" y="492645"/>
                </a:lnTo>
                <a:lnTo>
                  <a:pt x="4782224" y="482776"/>
                </a:lnTo>
                <a:close/>
                <a:moveTo>
                  <a:pt x="6939983" y="478724"/>
                </a:moveTo>
                <a:lnTo>
                  <a:pt x="6949894" y="478724"/>
                </a:lnTo>
                <a:lnTo>
                  <a:pt x="6953913" y="482764"/>
                </a:lnTo>
                <a:lnTo>
                  <a:pt x="6953913" y="492633"/>
                </a:lnTo>
                <a:lnTo>
                  <a:pt x="6949894" y="496671"/>
                </a:lnTo>
                <a:lnTo>
                  <a:pt x="6939983" y="496671"/>
                </a:lnTo>
                <a:lnTo>
                  <a:pt x="6935964" y="492633"/>
                </a:lnTo>
                <a:lnTo>
                  <a:pt x="6935964" y="482764"/>
                </a:lnTo>
                <a:close/>
                <a:moveTo>
                  <a:pt x="6700670" y="478724"/>
                </a:moveTo>
                <a:lnTo>
                  <a:pt x="6710581" y="478724"/>
                </a:lnTo>
                <a:lnTo>
                  <a:pt x="6714600" y="482764"/>
                </a:lnTo>
                <a:lnTo>
                  <a:pt x="6714600" y="492633"/>
                </a:lnTo>
                <a:lnTo>
                  <a:pt x="6710581" y="496671"/>
                </a:lnTo>
                <a:lnTo>
                  <a:pt x="6700670" y="496671"/>
                </a:lnTo>
                <a:lnTo>
                  <a:pt x="6696651" y="492633"/>
                </a:lnTo>
                <a:lnTo>
                  <a:pt x="6696651" y="482764"/>
                </a:lnTo>
                <a:close/>
                <a:moveTo>
                  <a:pt x="6461356" y="478724"/>
                </a:moveTo>
                <a:lnTo>
                  <a:pt x="6471266" y="478724"/>
                </a:lnTo>
                <a:lnTo>
                  <a:pt x="6475285" y="482764"/>
                </a:lnTo>
                <a:lnTo>
                  <a:pt x="6475285" y="492633"/>
                </a:lnTo>
                <a:lnTo>
                  <a:pt x="6471266" y="496671"/>
                </a:lnTo>
                <a:lnTo>
                  <a:pt x="6461356" y="496671"/>
                </a:lnTo>
                <a:lnTo>
                  <a:pt x="6457337" y="492633"/>
                </a:lnTo>
                <a:lnTo>
                  <a:pt x="6457337" y="482764"/>
                </a:lnTo>
                <a:close/>
                <a:moveTo>
                  <a:pt x="6222042" y="478724"/>
                </a:moveTo>
                <a:lnTo>
                  <a:pt x="6231952" y="478724"/>
                </a:lnTo>
                <a:lnTo>
                  <a:pt x="6235971" y="482764"/>
                </a:lnTo>
                <a:lnTo>
                  <a:pt x="6235971" y="492633"/>
                </a:lnTo>
                <a:lnTo>
                  <a:pt x="6231952" y="496671"/>
                </a:lnTo>
                <a:lnTo>
                  <a:pt x="6222042" y="496671"/>
                </a:lnTo>
                <a:lnTo>
                  <a:pt x="6218023" y="492633"/>
                </a:lnTo>
                <a:lnTo>
                  <a:pt x="6218023" y="482764"/>
                </a:lnTo>
                <a:close/>
                <a:moveTo>
                  <a:pt x="5982729" y="478724"/>
                </a:moveTo>
                <a:lnTo>
                  <a:pt x="5992639" y="478724"/>
                </a:lnTo>
                <a:lnTo>
                  <a:pt x="5996658" y="482764"/>
                </a:lnTo>
                <a:lnTo>
                  <a:pt x="5996658" y="492633"/>
                </a:lnTo>
                <a:lnTo>
                  <a:pt x="5992639" y="496671"/>
                </a:lnTo>
                <a:lnTo>
                  <a:pt x="5982729" y="496671"/>
                </a:lnTo>
                <a:lnTo>
                  <a:pt x="5978710" y="492633"/>
                </a:lnTo>
                <a:lnTo>
                  <a:pt x="5978710" y="482764"/>
                </a:lnTo>
                <a:close/>
                <a:moveTo>
                  <a:pt x="7897241" y="478712"/>
                </a:moveTo>
                <a:lnTo>
                  <a:pt x="7907151" y="478712"/>
                </a:lnTo>
                <a:lnTo>
                  <a:pt x="7911170" y="482751"/>
                </a:lnTo>
                <a:lnTo>
                  <a:pt x="7911170" y="492620"/>
                </a:lnTo>
                <a:lnTo>
                  <a:pt x="7907151" y="496658"/>
                </a:lnTo>
                <a:lnTo>
                  <a:pt x="7897241" y="496658"/>
                </a:lnTo>
                <a:lnTo>
                  <a:pt x="7893222" y="492620"/>
                </a:lnTo>
                <a:lnTo>
                  <a:pt x="7893222" y="482751"/>
                </a:lnTo>
                <a:close/>
                <a:moveTo>
                  <a:pt x="7657926" y="478712"/>
                </a:moveTo>
                <a:lnTo>
                  <a:pt x="7667836" y="478712"/>
                </a:lnTo>
                <a:lnTo>
                  <a:pt x="7671855" y="482751"/>
                </a:lnTo>
                <a:lnTo>
                  <a:pt x="7671855" y="492620"/>
                </a:lnTo>
                <a:lnTo>
                  <a:pt x="7667836" y="496659"/>
                </a:lnTo>
                <a:lnTo>
                  <a:pt x="7657926" y="496659"/>
                </a:lnTo>
                <a:lnTo>
                  <a:pt x="7653906" y="492620"/>
                </a:lnTo>
                <a:lnTo>
                  <a:pt x="7653906" y="482751"/>
                </a:lnTo>
                <a:close/>
                <a:moveTo>
                  <a:pt x="7418611" y="478712"/>
                </a:moveTo>
                <a:lnTo>
                  <a:pt x="7428521" y="478712"/>
                </a:lnTo>
                <a:lnTo>
                  <a:pt x="7432540" y="482751"/>
                </a:lnTo>
                <a:lnTo>
                  <a:pt x="7432540" y="492620"/>
                </a:lnTo>
                <a:lnTo>
                  <a:pt x="7428521" y="496659"/>
                </a:lnTo>
                <a:lnTo>
                  <a:pt x="7418611" y="496659"/>
                </a:lnTo>
                <a:lnTo>
                  <a:pt x="7414592" y="492620"/>
                </a:lnTo>
                <a:lnTo>
                  <a:pt x="7414592" y="482751"/>
                </a:lnTo>
                <a:close/>
                <a:moveTo>
                  <a:pt x="7179298" y="478712"/>
                </a:moveTo>
                <a:lnTo>
                  <a:pt x="7189209" y="478712"/>
                </a:lnTo>
                <a:lnTo>
                  <a:pt x="7193228" y="482751"/>
                </a:lnTo>
                <a:lnTo>
                  <a:pt x="7193228" y="492620"/>
                </a:lnTo>
                <a:lnTo>
                  <a:pt x="7189209" y="496659"/>
                </a:lnTo>
                <a:lnTo>
                  <a:pt x="7179298" y="496659"/>
                </a:lnTo>
                <a:lnTo>
                  <a:pt x="7175279" y="492620"/>
                </a:lnTo>
                <a:lnTo>
                  <a:pt x="7175279" y="482751"/>
                </a:lnTo>
                <a:close/>
                <a:moveTo>
                  <a:pt x="8136553" y="478711"/>
                </a:moveTo>
                <a:lnTo>
                  <a:pt x="8146464" y="478711"/>
                </a:lnTo>
                <a:lnTo>
                  <a:pt x="8150483" y="482751"/>
                </a:lnTo>
                <a:lnTo>
                  <a:pt x="8150483" y="492620"/>
                </a:lnTo>
                <a:lnTo>
                  <a:pt x="8146464" y="496658"/>
                </a:lnTo>
                <a:lnTo>
                  <a:pt x="8136553" y="496658"/>
                </a:lnTo>
                <a:lnTo>
                  <a:pt x="8132534" y="492620"/>
                </a:lnTo>
                <a:lnTo>
                  <a:pt x="8132534" y="482751"/>
                </a:lnTo>
                <a:close/>
                <a:moveTo>
                  <a:pt x="9093811" y="478699"/>
                </a:moveTo>
                <a:lnTo>
                  <a:pt x="9103722" y="478699"/>
                </a:lnTo>
                <a:lnTo>
                  <a:pt x="9107741" y="482738"/>
                </a:lnTo>
                <a:lnTo>
                  <a:pt x="9107741" y="492608"/>
                </a:lnTo>
                <a:lnTo>
                  <a:pt x="9103722" y="496646"/>
                </a:lnTo>
                <a:lnTo>
                  <a:pt x="9093811" y="496646"/>
                </a:lnTo>
                <a:lnTo>
                  <a:pt x="9089792" y="492608"/>
                </a:lnTo>
                <a:lnTo>
                  <a:pt x="9089792" y="482738"/>
                </a:lnTo>
                <a:close/>
                <a:moveTo>
                  <a:pt x="8854496" y="478699"/>
                </a:moveTo>
                <a:lnTo>
                  <a:pt x="8864407" y="478699"/>
                </a:lnTo>
                <a:lnTo>
                  <a:pt x="8868426" y="482738"/>
                </a:lnTo>
                <a:lnTo>
                  <a:pt x="8868426" y="492608"/>
                </a:lnTo>
                <a:lnTo>
                  <a:pt x="8864407" y="496647"/>
                </a:lnTo>
                <a:lnTo>
                  <a:pt x="8854496" y="496647"/>
                </a:lnTo>
                <a:lnTo>
                  <a:pt x="8850477" y="492608"/>
                </a:lnTo>
                <a:lnTo>
                  <a:pt x="8850477" y="482738"/>
                </a:lnTo>
                <a:close/>
                <a:moveTo>
                  <a:pt x="8615184" y="478699"/>
                </a:moveTo>
                <a:lnTo>
                  <a:pt x="8625095" y="478699"/>
                </a:lnTo>
                <a:lnTo>
                  <a:pt x="8629114" y="482739"/>
                </a:lnTo>
                <a:lnTo>
                  <a:pt x="8629114" y="492608"/>
                </a:lnTo>
                <a:lnTo>
                  <a:pt x="8625095" y="496647"/>
                </a:lnTo>
                <a:lnTo>
                  <a:pt x="8615184" y="496647"/>
                </a:lnTo>
                <a:lnTo>
                  <a:pt x="8611165" y="492608"/>
                </a:lnTo>
                <a:lnTo>
                  <a:pt x="8611165" y="482739"/>
                </a:lnTo>
                <a:close/>
                <a:moveTo>
                  <a:pt x="8375869" y="478699"/>
                </a:moveTo>
                <a:lnTo>
                  <a:pt x="8385779" y="478699"/>
                </a:lnTo>
                <a:lnTo>
                  <a:pt x="8389799" y="482739"/>
                </a:lnTo>
                <a:lnTo>
                  <a:pt x="8389799" y="492608"/>
                </a:lnTo>
                <a:lnTo>
                  <a:pt x="8385779" y="496647"/>
                </a:lnTo>
                <a:lnTo>
                  <a:pt x="8375869" y="496647"/>
                </a:lnTo>
                <a:lnTo>
                  <a:pt x="8371850" y="492608"/>
                </a:lnTo>
                <a:lnTo>
                  <a:pt x="8371850" y="482739"/>
                </a:lnTo>
                <a:close/>
                <a:moveTo>
                  <a:pt x="9333125" y="478698"/>
                </a:moveTo>
                <a:lnTo>
                  <a:pt x="9343036" y="478698"/>
                </a:lnTo>
                <a:lnTo>
                  <a:pt x="9347055" y="482738"/>
                </a:lnTo>
                <a:lnTo>
                  <a:pt x="9347055" y="492608"/>
                </a:lnTo>
                <a:lnTo>
                  <a:pt x="9343036" y="496646"/>
                </a:lnTo>
                <a:lnTo>
                  <a:pt x="9333125" y="496646"/>
                </a:lnTo>
                <a:lnTo>
                  <a:pt x="9329106" y="492608"/>
                </a:lnTo>
                <a:lnTo>
                  <a:pt x="9329106" y="482738"/>
                </a:lnTo>
                <a:close/>
                <a:moveTo>
                  <a:pt x="9572438" y="478687"/>
                </a:moveTo>
                <a:lnTo>
                  <a:pt x="9582349" y="478687"/>
                </a:lnTo>
                <a:lnTo>
                  <a:pt x="9586368" y="482726"/>
                </a:lnTo>
                <a:lnTo>
                  <a:pt x="9586368" y="492596"/>
                </a:lnTo>
                <a:lnTo>
                  <a:pt x="9582349" y="496634"/>
                </a:lnTo>
                <a:lnTo>
                  <a:pt x="9572438" y="496634"/>
                </a:lnTo>
                <a:lnTo>
                  <a:pt x="9568419" y="492596"/>
                </a:lnTo>
                <a:lnTo>
                  <a:pt x="9568419" y="482726"/>
                </a:lnTo>
                <a:close/>
                <a:moveTo>
                  <a:pt x="721976" y="478660"/>
                </a:moveTo>
                <a:lnTo>
                  <a:pt x="731886" y="478660"/>
                </a:lnTo>
                <a:lnTo>
                  <a:pt x="735905" y="482698"/>
                </a:lnTo>
                <a:lnTo>
                  <a:pt x="735905" y="492569"/>
                </a:lnTo>
                <a:lnTo>
                  <a:pt x="731886" y="496608"/>
                </a:lnTo>
                <a:lnTo>
                  <a:pt x="721976" y="496608"/>
                </a:lnTo>
                <a:lnTo>
                  <a:pt x="717957" y="492569"/>
                </a:lnTo>
                <a:lnTo>
                  <a:pt x="717957" y="482698"/>
                </a:lnTo>
                <a:close/>
                <a:moveTo>
                  <a:pt x="482664" y="478660"/>
                </a:moveTo>
                <a:lnTo>
                  <a:pt x="492574" y="478660"/>
                </a:lnTo>
                <a:lnTo>
                  <a:pt x="496593" y="482698"/>
                </a:lnTo>
                <a:lnTo>
                  <a:pt x="496593" y="492569"/>
                </a:lnTo>
                <a:lnTo>
                  <a:pt x="492574" y="496608"/>
                </a:lnTo>
                <a:lnTo>
                  <a:pt x="482664" y="496608"/>
                </a:lnTo>
                <a:lnTo>
                  <a:pt x="478645" y="492569"/>
                </a:lnTo>
                <a:lnTo>
                  <a:pt x="478645" y="482698"/>
                </a:lnTo>
                <a:close/>
                <a:moveTo>
                  <a:pt x="243350" y="478660"/>
                </a:moveTo>
                <a:lnTo>
                  <a:pt x="253260" y="478660"/>
                </a:lnTo>
                <a:lnTo>
                  <a:pt x="257279" y="482698"/>
                </a:lnTo>
                <a:lnTo>
                  <a:pt x="257279" y="492569"/>
                </a:lnTo>
                <a:lnTo>
                  <a:pt x="253260" y="496608"/>
                </a:lnTo>
                <a:lnTo>
                  <a:pt x="243350" y="496608"/>
                </a:lnTo>
                <a:lnTo>
                  <a:pt x="239331" y="492569"/>
                </a:lnTo>
                <a:lnTo>
                  <a:pt x="239331" y="482698"/>
                </a:lnTo>
                <a:close/>
                <a:moveTo>
                  <a:pt x="4037" y="478660"/>
                </a:moveTo>
                <a:lnTo>
                  <a:pt x="13947" y="478660"/>
                </a:lnTo>
                <a:lnTo>
                  <a:pt x="17966" y="482698"/>
                </a:lnTo>
                <a:lnTo>
                  <a:pt x="17966" y="492569"/>
                </a:lnTo>
                <a:lnTo>
                  <a:pt x="13947" y="496608"/>
                </a:lnTo>
                <a:lnTo>
                  <a:pt x="4037" y="496608"/>
                </a:lnTo>
                <a:lnTo>
                  <a:pt x="18" y="492569"/>
                </a:lnTo>
                <a:lnTo>
                  <a:pt x="18" y="482698"/>
                </a:lnTo>
                <a:close/>
                <a:moveTo>
                  <a:pt x="1679220" y="478650"/>
                </a:moveTo>
                <a:lnTo>
                  <a:pt x="1689130" y="478650"/>
                </a:lnTo>
                <a:lnTo>
                  <a:pt x="1693149" y="482688"/>
                </a:lnTo>
                <a:lnTo>
                  <a:pt x="1693149" y="492559"/>
                </a:lnTo>
                <a:lnTo>
                  <a:pt x="1689130" y="496598"/>
                </a:lnTo>
                <a:lnTo>
                  <a:pt x="1679220" y="496598"/>
                </a:lnTo>
                <a:lnTo>
                  <a:pt x="1675200" y="492559"/>
                </a:lnTo>
                <a:lnTo>
                  <a:pt x="1675200" y="482688"/>
                </a:lnTo>
                <a:close/>
                <a:moveTo>
                  <a:pt x="1439902" y="478650"/>
                </a:moveTo>
                <a:lnTo>
                  <a:pt x="1449812" y="478650"/>
                </a:lnTo>
                <a:lnTo>
                  <a:pt x="1453831" y="482688"/>
                </a:lnTo>
                <a:lnTo>
                  <a:pt x="1453831" y="492559"/>
                </a:lnTo>
                <a:lnTo>
                  <a:pt x="1449812" y="496598"/>
                </a:lnTo>
                <a:lnTo>
                  <a:pt x="1439902" y="496598"/>
                </a:lnTo>
                <a:lnTo>
                  <a:pt x="1435883" y="492559"/>
                </a:lnTo>
                <a:lnTo>
                  <a:pt x="1435883" y="482688"/>
                </a:lnTo>
                <a:close/>
                <a:moveTo>
                  <a:pt x="1200585" y="478650"/>
                </a:moveTo>
                <a:lnTo>
                  <a:pt x="1210496" y="478650"/>
                </a:lnTo>
                <a:lnTo>
                  <a:pt x="1214515" y="482689"/>
                </a:lnTo>
                <a:lnTo>
                  <a:pt x="1214515" y="492559"/>
                </a:lnTo>
                <a:lnTo>
                  <a:pt x="1210496" y="496598"/>
                </a:lnTo>
                <a:lnTo>
                  <a:pt x="1200585" y="496598"/>
                </a:lnTo>
                <a:lnTo>
                  <a:pt x="1196567" y="492559"/>
                </a:lnTo>
                <a:lnTo>
                  <a:pt x="1196567" y="482689"/>
                </a:lnTo>
                <a:close/>
                <a:moveTo>
                  <a:pt x="961273" y="478650"/>
                </a:moveTo>
                <a:lnTo>
                  <a:pt x="971183" y="478650"/>
                </a:lnTo>
                <a:lnTo>
                  <a:pt x="975202" y="482689"/>
                </a:lnTo>
                <a:lnTo>
                  <a:pt x="975202" y="492559"/>
                </a:lnTo>
                <a:lnTo>
                  <a:pt x="971183" y="496598"/>
                </a:lnTo>
                <a:lnTo>
                  <a:pt x="961273" y="496598"/>
                </a:lnTo>
                <a:lnTo>
                  <a:pt x="957254" y="492559"/>
                </a:lnTo>
                <a:lnTo>
                  <a:pt x="957254" y="482689"/>
                </a:lnTo>
                <a:close/>
                <a:moveTo>
                  <a:pt x="1918515" y="478641"/>
                </a:moveTo>
                <a:lnTo>
                  <a:pt x="1928425" y="478641"/>
                </a:lnTo>
                <a:lnTo>
                  <a:pt x="1932444" y="482679"/>
                </a:lnTo>
                <a:lnTo>
                  <a:pt x="1932444" y="492550"/>
                </a:lnTo>
                <a:lnTo>
                  <a:pt x="1928425" y="496589"/>
                </a:lnTo>
                <a:lnTo>
                  <a:pt x="1918515" y="496589"/>
                </a:lnTo>
                <a:lnTo>
                  <a:pt x="1914495" y="492550"/>
                </a:lnTo>
                <a:lnTo>
                  <a:pt x="1914495" y="482679"/>
                </a:lnTo>
                <a:close/>
                <a:moveTo>
                  <a:pt x="2157823" y="478638"/>
                </a:moveTo>
                <a:lnTo>
                  <a:pt x="2167734" y="478638"/>
                </a:lnTo>
                <a:lnTo>
                  <a:pt x="2171753" y="482677"/>
                </a:lnTo>
                <a:lnTo>
                  <a:pt x="2171753" y="492548"/>
                </a:lnTo>
                <a:lnTo>
                  <a:pt x="2167734" y="496587"/>
                </a:lnTo>
                <a:lnTo>
                  <a:pt x="2157823" y="496587"/>
                </a:lnTo>
                <a:lnTo>
                  <a:pt x="2153804" y="492548"/>
                </a:lnTo>
                <a:lnTo>
                  <a:pt x="2153804" y="482677"/>
                </a:lnTo>
                <a:close/>
                <a:moveTo>
                  <a:pt x="2632423" y="239432"/>
                </a:moveTo>
                <a:lnTo>
                  <a:pt x="2642334" y="239432"/>
                </a:lnTo>
                <a:lnTo>
                  <a:pt x="2646352" y="243470"/>
                </a:lnTo>
                <a:lnTo>
                  <a:pt x="2646352" y="253341"/>
                </a:lnTo>
                <a:lnTo>
                  <a:pt x="2642334" y="257380"/>
                </a:lnTo>
                <a:lnTo>
                  <a:pt x="2632423" y="257380"/>
                </a:lnTo>
                <a:lnTo>
                  <a:pt x="2628404" y="253341"/>
                </a:lnTo>
                <a:lnTo>
                  <a:pt x="2628404" y="243470"/>
                </a:lnTo>
                <a:close/>
                <a:moveTo>
                  <a:pt x="2393104" y="239432"/>
                </a:moveTo>
                <a:lnTo>
                  <a:pt x="2403015" y="239432"/>
                </a:lnTo>
                <a:lnTo>
                  <a:pt x="2407034" y="243470"/>
                </a:lnTo>
                <a:lnTo>
                  <a:pt x="2407034" y="253341"/>
                </a:lnTo>
                <a:lnTo>
                  <a:pt x="2403015" y="257380"/>
                </a:lnTo>
                <a:lnTo>
                  <a:pt x="2393104" y="257380"/>
                </a:lnTo>
                <a:lnTo>
                  <a:pt x="2389087" y="253341"/>
                </a:lnTo>
                <a:lnTo>
                  <a:pt x="2389087" y="243470"/>
                </a:lnTo>
                <a:close/>
                <a:moveTo>
                  <a:pt x="3350359" y="239432"/>
                </a:moveTo>
                <a:lnTo>
                  <a:pt x="3360268" y="239432"/>
                </a:lnTo>
                <a:lnTo>
                  <a:pt x="3364287" y="243470"/>
                </a:lnTo>
                <a:lnTo>
                  <a:pt x="3364287" y="253341"/>
                </a:lnTo>
                <a:lnTo>
                  <a:pt x="3360268" y="257380"/>
                </a:lnTo>
                <a:lnTo>
                  <a:pt x="3350359" y="257380"/>
                </a:lnTo>
                <a:lnTo>
                  <a:pt x="3346340" y="253341"/>
                </a:lnTo>
                <a:lnTo>
                  <a:pt x="3346340" y="243470"/>
                </a:lnTo>
                <a:close/>
                <a:moveTo>
                  <a:pt x="3111048" y="239432"/>
                </a:moveTo>
                <a:lnTo>
                  <a:pt x="3120959" y="239432"/>
                </a:lnTo>
                <a:lnTo>
                  <a:pt x="3124977" y="243470"/>
                </a:lnTo>
                <a:lnTo>
                  <a:pt x="3124977" y="253341"/>
                </a:lnTo>
                <a:lnTo>
                  <a:pt x="3120959" y="257380"/>
                </a:lnTo>
                <a:lnTo>
                  <a:pt x="3111048" y="257380"/>
                </a:lnTo>
                <a:lnTo>
                  <a:pt x="3107029" y="253341"/>
                </a:lnTo>
                <a:lnTo>
                  <a:pt x="3107029" y="243470"/>
                </a:lnTo>
                <a:close/>
                <a:moveTo>
                  <a:pt x="2871737" y="239432"/>
                </a:moveTo>
                <a:lnTo>
                  <a:pt x="2881646" y="239432"/>
                </a:lnTo>
                <a:lnTo>
                  <a:pt x="2885666" y="243470"/>
                </a:lnTo>
                <a:lnTo>
                  <a:pt x="2885666" y="253341"/>
                </a:lnTo>
                <a:lnTo>
                  <a:pt x="2881646" y="257380"/>
                </a:lnTo>
                <a:lnTo>
                  <a:pt x="2871737" y="257380"/>
                </a:lnTo>
                <a:lnTo>
                  <a:pt x="2867717" y="253341"/>
                </a:lnTo>
                <a:lnTo>
                  <a:pt x="2867717" y="243470"/>
                </a:lnTo>
                <a:close/>
                <a:moveTo>
                  <a:pt x="3828990" y="239420"/>
                </a:moveTo>
                <a:lnTo>
                  <a:pt x="3838899" y="239420"/>
                </a:lnTo>
                <a:lnTo>
                  <a:pt x="3842917" y="243457"/>
                </a:lnTo>
                <a:lnTo>
                  <a:pt x="3842917" y="253328"/>
                </a:lnTo>
                <a:lnTo>
                  <a:pt x="3838899" y="257367"/>
                </a:lnTo>
                <a:lnTo>
                  <a:pt x="3828990" y="257367"/>
                </a:lnTo>
                <a:lnTo>
                  <a:pt x="3824971" y="253328"/>
                </a:lnTo>
                <a:lnTo>
                  <a:pt x="3824971" y="243457"/>
                </a:lnTo>
                <a:close/>
                <a:moveTo>
                  <a:pt x="3589676" y="239420"/>
                </a:moveTo>
                <a:lnTo>
                  <a:pt x="3599585" y="239420"/>
                </a:lnTo>
                <a:lnTo>
                  <a:pt x="3603604" y="243457"/>
                </a:lnTo>
                <a:lnTo>
                  <a:pt x="3603604" y="253328"/>
                </a:lnTo>
                <a:lnTo>
                  <a:pt x="3599585" y="257367"/>
                </a:lnTo>
                <a:lnTo>
                  <a:pt x="3589676" y="257367"/>
                </a:lnTo>
                <a:lnTo>
                  <a:pt x="3585657" y="253328"/>
                </a:lnTo>
                <a:lnTo>
                  <a:pt x="3585657" y="243457"/>
                </a:lnTo>
                <a:close/>
                <a:moveTo>
                  <a:pt x="4546929" y="239419"/>
                </a:moveTo>
                <a:lnTo>
                  <a:pt x="4556840" y="239419"/>
                </a:lnTo>
                <a:lnTo>
                  <a:pt x="4560859" y="243457"/>
                </a:lnTo>
                <a:lnTo>
                  <a:pt x="4560859" y="253328"/>
                </a:lnTo>
                <a:lnTo>
                  <a:pt x="4556840" y="257367"/>
                </a:lnTo>
                <a:lnTo>
                  <a:pt x="4546929" y="257367"/>
                </a:lnTo>
                <a:lnTo>
                  <a:pt x="4542910" y="253328"/>
                </a:lnTo>
                <a:lnTo>
                  <a:pt x="4542910" y="243457"/>
                </a:lnTo>
                <a:close/>
                <a:moveTo>
                  <a:pt x="4307612" y="239419"/>
                </a:moveTo>
                <a:lnTo>
                  <a:pt x="4317523" y="239419"/>
                </a:lnTo>
                <a:lnTo>
                  <a:pt x="4321543" y="243457"/>
                </a:lnTo>
                <a:lnTo>
                  <a:pt x="4321543" y="253328"/>
                </a:lnTo>
                <a:lnTo>
                  <a:pt x="4317523" y="257367"/>
                </a:lnTo>
                <a:lnTo>
                  <a:pt x="4307612" y="257367"/>
                </a:lnTo>
                <a:lnTo>
                  <a:pt x="4303595" y="253328"/>
                </a:lnTo>
                <a:lnTo>
                  <a:pt x="4303595" y="243457"/>
                </a:lnTo>
                <a:close/>
                <a:moveTo>
                  <a:pt x="4068297" y="239419"/>
                </a:moveTo>
                <a:lnTo>
                  <a:pt x="4078210" y="239419"/>
                </a:lnTo>
                <a:lnTo>
                  <a:pt x="4082229" y="243457"/>
                </a:lnTo>
                <a:lnTo>
                  <a:pt x="4082229" y="253328"/>
                </a:lnTo>
                <a:lnTo>
                  <a:pt x="4078210" y="257367"/>
                </a:lnTo>
                <a:lnTo>
                  <a:pt x="4068297" y="257367"/>
                </a:lnTo>
                <a:lnTo>
                  <a:pt x="4064278" y="253328"/>
                </a:lnTo>
                <a:lnTo>
                  <a:pt x="4064278" y="243457"/>
                </a:lnTo>
                <a:close/>
                <a:moveTo>
                  <a:pt x="5025470" y="239407"/>
                </a:moveTo>
                <a:lnTo>
                  <a:pt x="5035381" y="239407"/>
                </a:lnTo>
                <a:lnTo>
                  <a:pt x="5039400" y="243445"/>
                </a:lnTo>
                <a:lnTo>
                  <a:pt x="5039400" y="253316"/>
                </a:lnTo>
                <a:lnTo>
                  <a:pt x="5035381" y="257355"/>
                </a:lnTo>
                <a:lnTo>
                  <a:pt x="5025470" y="257355"/>
                </a:lnTo>
                <a:lnTo>
                  <a:pt x="5021451" y="253316"/>
                </a:lnTo>
                <a:lnTo>
                  <a:pt x="5021451" y="243445"/>
                </a:lnTo>
                <a:close/>
                <a:moveTo>
                  <a:pt x="4786241" y="239407"/>
                </a:moveTo>
                <a:lnTo>
                  <a:pt x="4796152" y="239407"/>
                </a:lnTo>
                <a:lnTo>
                  <a:pt x="4800171" y="243445"/>
                </a:lnTo>
                <a:lnTo>
                  <a:pt x="4800171" y="253316"/>
                </a:lnTo>
                <a:lnTo>
                  <a:pt x="4796152" y="257355"/>
                </a:lnTo>
                <a:lnTo>
                  <a:pt x="4786241" y="257355"/>
                </a:lnTo>
                <a:lnTo>
                  <a:pt x="4782224" y="253316"/>
                </a:lnTo>
                <a:lnTo>
                  <a:pt x="4782224" y="243445"/>
                </a:lnTo>
                <a:close/>
                <a:moveTo>
                  <a:pt x="5743412" y="239407"/>
                </a:moveTo>
                <a:lnTo>
                  <a:pt x="5753323" y="239407"/>
                </a:lnTo>
                <a:lnTo>
                  <a:pt x="5757342" y="243445"/>
                </a:lnTo>
                <a:lnTo>
                  <a:pt x="5757342" y="253316"/>
                </a:lnTo>
                <a:lnTo>
                  <a:pt x="5753323" y="257355"/>
                </a:lnTo>
                <a:lnTo>
                  <a:pt x="5743412" y="257355"/>
                </a:lnTo>
                <a:lnTo>
                  <a:pt x="5739393" y="253316"/>
                </a:lnTo>
                <a:lnTo>
                  <a:pt x="5739393" y="243445"/>
                </a:lnTo>
                <a:close/>
                <a:moveTo>
                  <a:pt x="5504099" y="239407"/>
                </a:moveTo>
                <a:lnTo>
                  <a:pt x="5514010" y="239407"/>
                </a:lnTo>
                <a:lnTo>
                  <a:pt x="5518029" y="243445"/>
                </a:lnTo>
                <a:lnTo>
                  <a:pt x="5518029" y="253316"/>
                </a:lnTo>
                <a:lnTo>
                  <a:pt x="5514010" y="257355"/>
                </a:lnTo>
                <a:lnTo>
                  <a:pt x="5504099" y="257355"/>
                </a:lnTo>
                <a:lnTo>
                  <a:pt x="5500080" y="253316"/>
                </a:lnTo>
                <a:lnTo>
                  <a:pt x="5500080" y="243445"/>
                </a:lnTo>
                <a:close/>
                <a:moveTo>
                  <a:pt x="5264784" y="239407"/>
                </a:moveTo>
                <a:lnTo>
                  <a:pt x="5274694" y="239407"/>
                </a:lnTo>
                <a:lnTo>
                  <a:pt x="5278713" y="243445"/>
                </a:lnTo>
                <a:lnTo>
                  <a:pt x="5278713" y="253316"/>
                </a:lnTo>
                <a:lnTo>
                  <a:pt x="5274694" y="257355"/>
                </a:lnTo>
                <a:lnTo>
                  <a:pt x="5264784" y="257355"/>
                </a:lnTo>
                <a:lnTo>
                  <a:pt x="5260765" y="253316"/>
                </a:lnTo>
                <a:lnTo>
                  <a:pt x="5260765" y="243445"/>
                </a:lnTo>
                <a:close/>
                <a:moveTo>
                  <a:pt x="6222042" y="239395"/>
                </a:moveTo>
                <a:lnTo>
                  <a:pt x="6231952" y="239395"/>
                </a:lnTo>
                <a:lnTo>
                  <a:pt x="6235971" y="243432"/>
                </a:lnTo>
                <a:lnTo>
                  <a:pt x="6235971" y="253303"/>
                </a:lnTo>
                <a:lnTo>
                  <a:pt x="6231952" y="257342"/>
                </a:lnTo>
                <a:lnTo>
                  <a:pt x="6222042" y="257342"/>
                </a:lnTo>
                <a:lnTo>
                  <a:pt x="6218023" y="253303"/>
                </a:lnTo>
                <a:lnTo>
                  <a:pt x="6218023" y="243432"/>
                </a:lnTo>
                <a:close/>
                <a:moveTo>
                  <a:pt x="5982729" y="239395"/>
                </a:moveTo>
                <a:lnTo>
                  <a:pt x="5992639" y="239395"/>
                </a:lnTo>
                <a:lnTo>
                  <a:pt x="5996658" y="243433"/>
                </a:lnTo>
                <a:lnTo>
                  <a:pt x="5996658" y="253303"/>
                </a:lnTo>
                <a:lnTo>
                  <a:pt x="5992639" y="257342"/>
                </a:lnTo>
                <a:lnTo>
                  <a:pt x="5982729" y="257342"/>
                </a:lnTo>
                <a:lnTo>
                  <a:pt x="5978710" y="253303"/>
                </a:lnTo>
                <a:lnTo>
                  <a:pt x="5978710" y="243433"/>
                </a:lnTo>
                <a:close/>
                <a:moveTo>
                  <a:pt x="6939983" y="239394"/>
                </a:moveTo>
                <a:lnTo>
                  <a:pt x="6949894" y="239394"/>
                </a:lnTo>
                <a:lnTo>
                  <a:pt x="6953913" y="243432"/>
                </a:lnTo>
                <a:lnTo>
                  <a:pt x="6953913" y="253303"/>
                </a:lnTo>
                <a:lnTo>
                  <a:pt x="6949894" y="257342"/>
                </a:lnTo>
                <a:lnTo>
                  <a:pt x="6939983" y="257342"/>
                </a:lnTo>
                <a:lnTo>
                  <a:pt x="6935964" y="253303"/>
                </a:lnTo>
                <a:lnTo>
                  <a:pt x="6935964" y="243432"/>
                </a:lnTo>
                <a:close/>
                <a:moveTo>
                  <a:pt x="6700670" y="239394"/>
                </a:moveTo>
                <a:lnTo>
                  <a:pt x="6710581" y="239394"/>
                </a:lnTo>
                <a:lnTo>
                  <a:pt x="6714600" y="243432"/>
                </a:lnTo>
                <a:lnTo>
                  <a:pt x="6714600" y="253303"/>
                </a:lnTo>
                <a:lnTo>
                  <a:pt x="6710581" y="257342"/>
                </a:lnTo>
                <a:lnTo>
                  <a:pt x="6700670" y="257342"/>
                </a:lnTo>
                <a:lnTo>
                  <a:pt x="6696651" y="253303"/>
                </a:lnTo>
                <a:lnTo>
                  <a:pt x="6696651" y="243432"/>
                </a:lnTo>
                <a:close/>
                <a:moveTo>
                  <a:pt x="6461356" y="239394"/>
                </a:moveTo>
                <a:lnTo>
                  <a:pt x="6471266" y="239394"/>
                </a:lnTo>
                <a:lnTo>
                  <a:pt x="6475285" y="243432"/>
                </a:lnTo>
                <a:lnTo>
                  <a:pt x="6475285" y="253303"/>
                </a:lnTo>
                <a:lnTo>
                  <a:pt x="6471266" y="257342"/>
                </a:lnTo>
                <a:lnTo>
                  <a:pt x="6461356" y="257342"/>
                </a:lnTo>
                <a:lnTo>
                  <a:pt x="6457337" y="253303"/>
                </a:lnTo>
                <a:lnTo>
                  <a:pt x="6457337" y="243432"/>
                </a:lnTo>
                <a:close/>
                <a:moveTo>
                  <a:pt x="7418611" y="239382"/>
                </a:moveTo>
                <a:lnTo>
                  <a:pt x="7428521" y="239382"/>
                </a:lnTo>
                <a:lnTo>
                  <a:pt x="7432540" y="243420"/>
                </a:lnTo>
                <a:lnTo>
                  <a:pt x="7432540" y="253291"/>
                </a:lnTo>
                <a:lnTo>
                  <a:pt x="7428521" y="257330"/>
                </a:lnTo>
                <a:lnTo>
                  <a:pt x="7418611" y="257330"/>
                </a:lnTo>
                <a:lnTo>
                  <a:pt x="7414592" y="253291"/>
                </a:lnTo>
                <a:lnTo>
                  <a:pt x="7414592" y="243420"/>
                </a:lnTo>
                <a:close/>
                <a:moveTo>
                  <a:pt x="7179298" y="239382"/>
                </a:moveTo>
                <a:lnTo>
                  <a:pt x="7189209" y="239382"/>
                </a:lnTo>
                <a:lnTo>
                  <a:pt x="7193228" y="243421"/>
                </a:lnTo>
                <a:lnTo>
                  <a:pt x="7193228" y="253292"/>
                </a:lnTo>
                <a:lnTo>
                  <a:pt x="7189209" y="257330"/>
                </a:lnTo>
                <a:lnTo>
                  <a:pt x="7179298" y="257330"/>
                </a:lnTo>
                <a:lnTo>
                  <a:pt x="7175279" y="253292"/>
                </a:lnTo>
                <a:lnTo>
                  <a:pt x="7175279" y="243421"/>
                </a:lnTo>
                <a:close/>
                <a:moveTo>
                  <a:pt x="8136553" y="239382"/>
                </a:moveTo>
                <a:lnTo>
                  <a:pt x="8146464" y="239382"/>
                </a:lnTo>
                <a:lnTo>
                  <a:pt x="8150483" y="243420"/>
                </a:lnTo>
                <a:lnTo>
                  <a:pt x="8150483" y="253291"/>
                </a:lnTo>
                <a:lnTo>
                  <a:pt x="8146464" y="257330"/>
                </a:lnTo>
                <a:lnTo>
                  <a:pt x="8136553" y="257330"/>
                </a:lnTo>
                <a:lnTo>
                  <a:pt x="8132534" y="253291"/>
                </a:lnTo>
                <a:lnTo>
                  <a:pt x="8132534" y="243420"/>
                </a:lnTo>
                <a:close/>
                <a:moveTo>
                  <a:pt x="7897241" y="239382"/>
                </a:moveTo>
                <a:lnTo>
                  <a:pt x="7907151" y="239382"/>
                </a:lnTo>
                <a:lnTo>
                  <a:pt x="7911170" y="243420"/>
                </a:lnTo>
                <a:lnTo>
                  <a:pt x="7911170" y="253291"/>
                </a:lnTo>
                <a:lnTo>
                  <a:pt x="7907151" y="257330"/>
                </a:lnTo>
                <a:lnTo>
                  <a:pt x="7897241" y="257330"/>
                </a:lnTo>
                <a:lnTo>
                  <a:pt x="7893222" y="253291"/>
                </a:lnTo>
                <a:lnTo>
                  <a:pt x="7893222" y="243420"/>
                </a:lnTo>
                <a:close/>
                <a:moveTo>
                  <a:pt x="7657926" y="239382"/>
                </a:moveTo>
                <a:lnTo>
                  <a:pt x="7667836" y="239382"/>
                </a:lnTo>
                <a:lnTo>
                  <a:pt x="7671855" y="243420"/>
                </a:lnTo>
                <a:lnTo>
                  <a:pt x="7671855" y="253291"/>
                </a:lnTo>
                <a:lnTo>
                  <a:pt x="7667836" y="257330"/>
                </a:lnTo>
                <a:lnTo>
                  <a:pt x="7657926" y="257330"/>
                </a:lnTo>
                <a:lnTo>
                  <a:pt x="7653906" y="253291"/>
                </a:lnTo>
                <a:lnTo>
                  <a:pt x="7653906" y="243420"/>
                </a:lnTo>
                <a:close/>
                <a:moveTo>
                  <a:pt x="1679220" y="239371"/>
                </a:moveTo>
                <a:lnTo>
                  <a:pt x="1689131" y="239371"/>
                </a:lnTo>
                <a:lnTo>
                  <a:pt x="1693150" y="243409"/>
                </a:lnTo>
                <a:lnTo>
                  <a:pt x="1693150" y="253280"/>
                </a:lnTo>
                <a:lnTo>
                  <a:pt x="1689131" y="257319"/>
                </a:lnTo>
                <a:lnTo>
                  <a:pt x="1679220" y="257319"/>
                </a:lnTo>
                <a:lnTo>
                  <a:pt x="1675202" y="253280"/>
                </a:lnTo>
                <a:lnTo>
                  <a:pt x="1675202" y="243409"/>
                </a:lnTo>
                <a:close/>
                <a:moveTo>
                  <a:pt x="1439902" y="239371"/>
                </a:moveTo>
                <a:lnTo>
                  <a:pt x="1449813" y="239371"/>
                </a:lnTo>
                <a:lnTo>
                  <a:pt x="1453832" y="243409"/>
                </a:lnTo>
                <a:lnTo>
                  <a:pt x="1453832" y="253280"/>
                </a:lnTo>
                <a:lnTo>
                  <a:pt x="1449813" y="257319"/>
                </a:lnTo>
                <a:lnTo>
                  <a:pt x="1439902" y="257319"/>
                </a:lnTo>
                <a:lnTo>
                  <a:pt x="1435884" y="253280"/>
                </a:lnTo>
                <a:lnTo>
                  <a:pt x="1435884" y="243409"/>
                </a:lnTo>
                <a:close/>
                <a:moveTo>
                  <a:pt x="1200587" y="239371"/>
                </a:moveTo>
                <a:lnTo>
                  <a:pt x="1210496" y="239371"/>
                </a:lnTo>
                <a:lnTo>
                  <a:pt x="1214515" y="243409"/>
                </a:lnTo>
                <a:lnTo>
                  <a:pt x="1214515" y="253280"/>
                </a:lnTo>
                <a:lnTo>
                  <a:pt x="1210496" y="257319"/>
                </a:lnTo>
                <a:lnTo>
                  <a:pt x="1200587" y="257319"/>
                </a:lnTo>
                <a:lnTo>
                  <a:pt x="1196567" y="253280"/>
                </a:lnTo>
                <a:lnTo>
                  <a:pt x="1196567" y="243409"/>
                </a:lnTo>
                <a:close/>
                <a:moveTo>
                  <a:pt x="961273" y="239371"/>
                </a:moveTo>
                <a:lnTo>
                  <a:pt x="971184" y="239371"/>
                </a:lnTo>
                <a:lnTo>
                  <a:pt x="975203" y="243409"/>
                </a:lnTo>
                <a:lnTo>
                  <a:pt x="975203" y="253280"/>
                </a:lnTo>
                <a:lnTo>
                  <a:pt x="971184" y="257319"/>
                </a:lnTo>
                <a:lnTo>
                  <a:pt x="961273" y="257319"/>
                </a:lnTo>
                <a:lnTo>
                  <a:pt x="957255" y="253280"/>
                </a:lnTo>
                <a:lnTo>
                  <a:pt x="957255" y="243409"/>
                </a:lnTo>
                <a:close/>
                <a:moveTo>
                  <a:pt x="8615184" y="239370"/>
                </a:moveTo>
                <a:lnTo>
                  <a:pt x="8625095" y="239370"/>
                </a:lnTo>
                <a:lnTo>
                  <a:pt x="8629114" y="243408"/>
                </a:lnTo>
                <a:lnTo>
                  <a:pt x="8629114" y="253278"/>
                </a:lnTo>
                <a:lnTo>
                  <a:pt x="8625095" y="257317"/>
                </a:lnTo>
                <a:lnTo>
                  <a:pt x="8615184" y="257317"/>
                </a:lnTo>
                <a:lnTo>
                  <a:pt x="8611165" y="253278"/>
                </a:lnTo>
                <a:lnTo>
                  <a:pt x="8611165" y="243408"/>
                </a:lnTo>
                <a:close/>
                <a:moveTo>
                  <a:pt x="8375869" y="239370"/>
                </a:moveTo>
                <a:lnTo>
                  <a:pt x="8385779" y="239370"/>
                </a:lnTo>
                <a:lnTo>
                  <a:pt x="8389799" y="243408"/>
                </a:lnTo>
                <a:lnTo>
                  <a:pt x="8389799" y="253279"/>
                </a:lnTo>
                <a:lnTo>
                  <a:pt x="8385779" y="257318"/>
                </a:lnTo>
                <a:lnTo>
                  <a:pt x="8375869" y="257318"/>
                </a:lnTo>
                <a:lnTo>
                  <a:pt x="8371850" y="253279"/>
                </a:lnTo>
                <a:lnTo>
                  <a:pt x="8371850" y="243408"/>
                </a:lnTo>
                <a:close/>
                <a:moveTo>
                  <a:pt x="9333125" y="239369"/>
                </a:moveTo>
                <a:lnTo>
                  <a:pt x="9343036" y="239369"/>
                </a:lnTo>
                <a:lnTo>
                  <a:pt x="9347055" y="243407"/>
                </a:lnTo>
                <a:lnTo>
                  <a:pt x="9347055" y="253278"/>
                </a:lnTo>
                <a:lnTo>
                  <a:pt x="9343036" y="257317"/>
                </a:lnTo>
                <a:lnTo>
                  <a:pt x="9333125" y="257317"/>
                </a:lnTo>
                <a:lnTo>
                  <a:pt x="9329106" y="253278"/>
                </a:lnTo>
                <a:lnTo>
                  <a:pt x="9329106" y="243407"/>
                </a:lnTo>
                <a:close/>
                <a:moveTo>
                  <a:pt x="9093811" y="239369"/>
                </a:moveTo>
                <a:lnTo>
                  <a:pt x="9103722" y="239369"/>
                </a:lnTo>
                <a:lnTo>
                  <a:pt x="9107741" y="243407"/>
                </a:lnTo>
                <a:lnTo>
                  <a:pt x="9107741" y="253278"/>
                </a:lnTo>
                <a:lnTo>
                  <a:pt x="9103722" y="257317"/>
                </a:lnTo>
                <a:lnTo>
                  <a:pt x="9093811" y="257317"/>
                </a:lnTo>
                <a:lnTo>
                  <a:pt x="9089792" y="253278"/>
                </a:lnTo>
                <a:lnTo>
                  <a:pt x="9089792" y="243407"/>
                </a:lnTo>
                <a:close/>
                <a:moveTo>
                  <a:pt x="8854496" y="239369"/>
                </a:moveTo>
                <a:lnTo>
                  <a:pt x="8864407" y="239369"/>
                </a:lnTo>
                <a:lnTo>
                  <a:pt x="8868426" y="243407"/>
                </a:lnTo>
                <a:lnTo>
                  <a:pt x="8868426" y="253278"/>
                </a:lnTo>
                <a:lnTo>
                  <a:pt x="8864407" y="257317"/>
                </a:lnTo>
                <a:lnTo>
                  <a:pt x="8854496" y="257317"/>
                </a:lnTo>
                <a:lnTo>
                  <a:pt x="8850477" y="253278"/>
                </a:lnTo>
                <a:lnTo>
                  <a:pt x="8850477" y="243407"/>
                </a:lnTo>
                <a:close/>
                <a:moveTo>
                  <a:pt x="1918515" y="239361"/>
                </a:moveTo>
                <a:lnTo>
                  <a:pt x="1928425" y="239361"/>
                </a:lnTo>
                <a:lnTo>
                  <a:pt x="1932444" y="243400"/>
                </a:lnTo>
                <a:lnTo>
                  <a:pt x="1932444" y="253271"/>
                </a:lnTo>
                <a:lnTo>
                  <a:pt x="1928425" y="257310"/>
                </a:lnTo>
                <a:lnTo>
                  <a:pt x="1918515" y="257310"/>
                </a:lnTo>
                <a:lnTo>
                  <a:pt x="1914495" y="253271"/>
                </a:lnTo>
                <a:lnTo>
                  <a:pt x="1914495" y="243400"/>
                </a:lnTo>
                <a:close/>
                <a:moveTo>
                  <a:pt x="2157824" y="239359"/>
                </a:moveTo>
                <a:lnTo>
                  <a:pt x="2167734" y="239359"/>
                </a:lnTo>
                <a:lnTo>
                  <a:pt x="2171753" y="243397"/>
                </a:lnTo>
                <a:lnTo>
                  <a:pt x="2171753" y="253268"/>
                </a:lnTo>
                <a:lnTo>
                  <a:pt x="2167734" y="257307"/>
                </a:lnTo>
                <a:lnTo>
                  <a:pt x="2157824" y="257307"/>
                </a:lnTo>
                <a:lnTo>
                  <a:pt x="2153804" y="253268"/>
                </a:lnTo>
                <a:lnTo>
                  <a:pt x="2153804" y="243397"/>
                </a:lnTo>
                <a:close/>
                <a:moveTo>
                  <a:pt x="9572438" y="239357"/>
                </a:moveTo>
                <a:lnTo>
                  <a:pt x="9582349" y="239357"/>
                </a:lnTo>
                <a:lnTo>
                  <a:pt x="9586368" y="243395"/>
                </a:lnTo>
                <a:lnTo>
                  <a:pt x="9586368" y="253267"/>
                </a:lnTo>
                <a:lnTo>
                  <a:pt x="9582349" y="257306"/>
                </a:lnTo>
                <a:lnTo>
                  <a:pt x="9572438" y="257306"/>
                </a:lnTo>
                <a:lnTo>
                  <a:pt x="9568419" y="253267"/>
                </a:lnTo>
                <a:lnTo>
                  <a:pt x="9568419" y="243395"/>
                </a:lnTo>
                <a:close/>
                <a:moveTo>
                  <a:pt x="721976" y="239330"/>
                </a:moveTo>
                <a:lnTo>
                  <a:pt x="731887" y="239330"/>
                </a:lnTo>
                <a:lnTo>
                  <a:pt x="735906" y="243368"/>
                </a:lnTo>
                <a:lnTo>
                  <a:pt x="735906" y="253239"/>
                </a:lnTo>
                <a:lnTo>
                  <a:pt x="731887" y="257278"/>
                </a:lnTo>
                <a:lnTo>
                  <a:pt x="721976" y="257278"/>
                </a:lnTo>
                <a:lnTo>
                  <a:pt x="717958" y="253239"/>
                </a:lnTo>
                <a:lnTo>
                  <a:pt x="717958" y="243368"/>
                </a:lnTo>
                <a:close/>
                <a:moveTo>
                  <a:pt x="482664" y="239330"/>
                </a:moveTo>
                <a:lnTo>
                  <a:pt x="492575" y="239330"/>
                </a:lnTo>
                <a:lnTo>
                  <a:pt x="496594" y="243368"/>
                </a:lnTo>
                <a:lnTo>
                  <a:pt x="496594" y="253239"/>
                </a:lnTo>
                <a:lnTo>
                  <a:pt x="492575" y="257278"/>
                </a:lnTo>
                <a:lnTo>
                  <a:pt x="482664" y="257278"/>
                </a:lnTo>
                <a:lnTo>
                  <a:pt x="478645" y="253239"/>
                </a:lnTo>
                <a:lnTo>
                  <a:pt x="478645" y="243368"/>
                </a:lnTo>
                <a:close/>
                <a:moveTo>
                  <a:pt x="243350" y="239330"/>
                </a:moveTo>
                <a:lnTo>
                  <a:pt x="253261" y="239330"/>
                </a:lnTo>
                <a:lnTo>
                  <a:pt x="257280" y="243368"/>
                </a:lnTo>
                <a:lnTo>
                  <a:pt x="257280" y="253239"/>
                </a:lnTo>
                <a:lnTo>
                  <a:pt x="253261" y="257278"/>
                </a:lnTo>
                <a:lnTo>
                  <a:pt x="243350" y="257278"/>
                </a:lnTo>
                <a:lnTo>
                  <a:pt x="239332" y="253239"/>
                </a:lnTo>
                <a:lnTo>
                  <a:pt x="239332" y="243368"/>
                </a:lnTo>
                <a:close/>
                <a:moveTo>
                  <a:pt x="4037" y="239330"/>
                </a:moveTo>
                <a:lnTo>
                  <a:pt x="13948" y="239330"/>
                </a:lnTo>
                <a:lnTo>
                  <a:pt x="17967" y="243368"/>
                </a:lnTo>
                <a:lnTo>
                  <a:pt x="17967" y="253239"/>
                </a:lnTo>
                <a:lnTo>
                  <a:pt x="13948" y="257278"/>
                </a:lnTo>
                <a:lnTo>
                  <a:pt x="4037" y="257278"/>
                </a:lnTo>
                <a:lnTo>
                  <a:pt x="18" y="253239"/>
                </a:lnTo>
                <a:lnTo>
                  <a:pt x="18" y="243368"/>
                </a:lnTo>
                <a:close/>
                <a:moveTo>
                  <a:pt x="3111048" y="106"/>
                </a:moveTo>
                <a:lnTo>
                  <a:pt x="3120959" y="106"/>
                </a:lnTo>
                <a:lnTo>
                  <a:pt x="3124977" y="4144"/>
                </a:lnTo>
                <a:lnTo>
                  <a:pt x="3124977" y="14015"/>
                </a:lnTo>
                <a:lnTo>
                  <a:pt x="3120959" y="18054"/>
                </a:lnTo>
                <a:lnTo>
                  <a:pt x="3111048" y="18054"/>
                </a:lnTo>
                <a:lnTo>
                  <a:pt x="3107029" y="14015"/>
                </a:lnTo>
                <a:lnTo>
                  <a:pt x="3107029" y="4144"/>
                </a:lnTo>
                <a:close/>
                <a:moveTo>
                  <a:pt x="2871737" y="106"/>
                </a:moveTo>
                <a:lnTo>
                  <a:pt x="2881646" y="106"/>
                </a:lnTo>
                <a:lnTo>
                  <a:pt x="2885666" y="4145"/>
                </a:lnTo>
                <a:lnTo>
                  <a:pt x="2885666" y="14015"/>
                </a:lnTo>
                <a:lnTo>
                  <a:pt x="2881646" y="18054"/>
                </a:lnTo>
                <a:lnTo>
                  <a:pt x="2871737" y="18054"/>
                </a:lnTo>
                <a:lnTo>
                  <a:pt x="2867717" y="14015"/>
                </a:lnTo>
                <a:lnTo>
                  <a:pt x="2867717" y="4145"/>
                </a:lnTo>
                <a:close/>
                <a:moveTo>
                  <a:pt x="2632423" y="106"/>
                </a:moveTo>
                <a:lnTo>
                  <a:pt x="2642334" y="106"/>
                </a:lnTo>
                <a:lnTo>
                  <a:pt x="2646352" y="4145"/>
                </a:lnTo>
                <a:lnTo>
                  <a:pt x="2646352" y="14016"/>
                </a:lnTo>
                <a:lnTo>
                  <a:pt x="2642334" y="18055"/>
                </a:lnTo>
                <a:lnTo>
                  <a:pt x="2632423" y="18055"/>
                </a:lnTo>
                <a:lnTo>
                  <a:pt x="2628404" y="14016"/>
                </a:lnTo>
                <a:lnTo>
                  <a:pt x="2628404" y="4145"/>
                </a:lnTo>
                <a:close/>
                <a:moveTo>
                  <a:pt x="2393104" y="106"/>
                </a:moveTo>
                <a:lnTo>
                  <a:pt x="2403015" y="106"/>
                </a:lnTo>
                <a:lnTo>
                  <a:pt x="2407034" y="4145"/>
                </a:lnTo>
                <a:lnTo>
                  <a:pt x="2407034" y="14016"/>
                </a:lnTo>
                <a:lnTo>
                  <a:pt x="2403015" y="18055"/>
                </a:lnTo>
                <a:lnTo>
                  <a:pt x="2393104" y="18055"/>
                </a:lnTo>
                <a:lnTo>
                  <a:pt x="2389087" y="14016"/>
                </a:lnTo>
                <a:lnTo>
                  <a:pt x="2389087" y="4145"/>
                </a:lnTo>
                <a:close/>
                <a:moveTo>
                  <a:pt x="3350359" y="106"/>
                </a:moveTo>
                <a:lnTo>
                  <a:pt x="3360268" y="106"/>
                </a:lnTo>
                <a:lnTo>
                  <a:pt x="3364287" y="4144"/>
                </a:lnTo>
                <a:lnTo>
                  <a:pt x="3364287" y="14015"/>
                </a:lnTo>
                <a:lnTo>
                  <a:pt x="3360268" y="18054"/>
                </a:lnTo>
                <a:lnTo>
                  <a:pt x="3350359" y="18054"/>
                </a:lnTo>
                <a:lnTo>
                  <a:pt x="3346340" y="14015"/>
                </a:lnTo>
                <a:lnTo>
                  <a:pt x="3346340" y="4144"/>
                </a:lnTo>
                <a:close/>
                <a:moveTo>
                  <a:pt x="4546929" y="93"/>
                </a:moveTo>
                <a:lnTo>
                  <a:pt x="4556840" y="93"/>
                </a:lnTo>
                <a:lnTo>
                  <a:pt x="4560859" y="4132"/>
                </a:lnTo>
                <a:lnTo>
                  <a:pt x="4560859" y="14002"/>
                </a:lnTo>
                <a:lnTo>
                  <a:pt x="4556840" y="18041"/>
                </a:lnTo>
                <a:lnTo>
                  <a:pt x="4546929" y="18041"/>
                </a:lnTo>
                <a:lnTo>
                  <a:pt x="4542910" y="14002"/>
                </a:lnTo>
                <a:lnTo>
                  <a:pt x="4542910" y="4132"/>
                </a:lnTo>
                <a:close/>
                <a:moveTo>
                  <a:pt x="4307612" y="93"/>
                </a:moveTo>
                <a:lnTo>
                  <a:pt x="4317523" y="93"/>
                </a:lnTo>
                <a:lnTo>
                  <a:pt x="4321543" y="4132"/>
                </a:lnTo>
                <a:lnTo>
                  <a:pt x="4321543" y="14003"/>
                </a:lnTo>
                <a:lnTo>
                  <a:pt x="4317523" y="18042"/>
                </a:lnTo>
                <a:lnTo>
                  <a:pt x="4307612" y="18042"/>
                </a:lnTo>
                <a:lnTo>
                  <a:pt x="4303595" y="14003"/>
                </a:lnTo>
                <a:lnTo>
                  <a:pt x="4303595" y="4132"/>
                </a:lnTo>
                <a:close/>
                <a:moveTo>
                  <a:pt x="4068297" y="93"/>
                </a:moveTo>
                <a:lnTo>
                  <a:pt x="4078210" y="93"/>
                </a:lnTo>
                <a:lnTo>
                  <a:pt x="4082229" y="4132"/>
                </a:lnTo>
                <a:lnTo>
                  <a:pt x="4082229" y="14003"/>
                </a:lnTo>
                <a:lnTo>
                  <a:pt x="4078210" y="18042"/>
                </a:lnTo>
                <a:lnTo>
                  <a:pt x="4068297" y="18042"/>
                </a:lnTo>
                <a:lnTo>
                  <a:pt x="4064278" y="14003"/>
                </a:lnTo>
                <a:lnTo>
                  <a:pt x="4064278" y="4132"/>
                </a:lnTo>
                <a:close/>
                <a:moveTo>
                  <a:pt x="3828990" y="93"/>
                </a:moveTo>
                <a:lnTo>
                  <a:pt x="3838899" y="93"/>
                </a:lnTo>
                <a:lnTo>
                  <a:pt x="3842917" y="4132"/>
                </a:lnTo>
                <a:lnTo>
                  <a:pt x="3842917" y="14003"/>
                </a:lnTo>
                <a:lnTo>
                  <a:pt x="3838899" y="18042"/>
                </a:lnTo>
                <a:lnTo>
                  <a:pt x="3828990" y="18042"/>
                </a:lnTo>
                <a:lnTo>
                  <a:pt x="3824971" y="14003"/>
                </a:lnTo>
                <a:lnTo>
                  <a:pt x="3824971" y="4132"/>
                </a:lnTo>
                <a:close/>
                <a:moveTo>
                  <a:pt x="3589676" y="93"/>
                </a:moveTo>
                <a:lnTo>
                  <a:pt x="3599585" y="93"/>
                </a:lnTo>
                <a:lnTo>
                  <a:pt x="3603604" y="4132"/>
                </a:lnTo>
                <a:lnTo>
                  <a:pt x="3603604" y="14003"/>
                </a:lnTo>
                <a:lnTo>
                  <a:pt x="3599585" y="18042"/>
                </a:lnTo>
                <a:lnTo>
                  <a:pt x="3589676" y="18042"/>
                </a:lnTo>
                <a:lnTo>
                  <a:pt x="3585657" y="14003"/>
                </a:lnTo>
                <a:lnTo>
                  <a:pt x="3585657" y="4132"/>
                </a:lnTo>
                <a:close/>
                <a:moveTo>
                  <a:pt x="4786241" y="81"/>
                </a:moveTo>
                <a:lnTo>
                  <a:pt x="4796152" y="81"/>
                </a:lnTo>
                <a:lnTo>
                  <a:pt x="4800171" y="4119"/>
                </a:lnTo>
                <a:lnTo>
                  <a:pt x="4800171" y="13990"/>
                </a:lnTo>
                <a:lnTo>
                  <a:pt x="4796152" y="18029"/>
                </a:lnTo>
                <a:lnTo>
                  <a:pt x="4786241" y="18029"/>
                </a:lnTo>
                <a:lnTo>
                  <a:pt x="4782224" y="13990"/>
                </a:lnTo>
                <a:lnTo>
                  <a:pt x="4782224" y="4119"/>
                </a:lnTo>
                <a:close/>
                <a:moveTo>
                  <a:pt x="5743412" y="80"/>
                </a:moveTo>
                <a:lnTo>
                  <a:pt x="5753323" y="80"/>
                </a:lnTo>
                <a:lnTo>
                  <a:pt x="5757342" y="4119"/>
                </a:lnTo>
                <a:lnTo>
                  <a:pt x="5757342" y="13990"/>
                </a:lnTo>
                <a:lnTo>
                  <a:pt x="5753323" y="18029"/>
                </a:lnTo>
                <a:lnTo>
                  <a:pt x="5743412" y="18029"/>
                </a:lnTo>
                <a:lnTo>
                  <a:pt x="5739393" y="13990"/>
                </a:lnTo>
                <a:lnTo>
                  <a:pt x="5739393" y="4119"/>
                </a:lnTo>
                <a:close/>
                <a:moveTo>
                  <a:pt x="5504099" y="80"/>
                </a:moveTo>
                <a:lnTo>
                  <a:pt x="5514010" y="80"/>
                </a:lnTo>
                <a:lnTo>
                  <a:pt x="5518029" y="4119"/>
                </a:lnTo>
                <a:lnTo>
                  <a:pt x="5518029" y="13990"/>
                </a:lnTo>
                <a:lnTo>
                  <a:pt x="5514010" y="18029"/>
                </a:lnTo>
                <a:lnTo>
                  <a:pt x="5504099" y="18029"/>
                </a:lnTo>
                <a:lnTo>
                  <a:pt x="5500080" y="13990"/>
                </a:lnTo>
                <a:lnTo>
                  <a:pt x="5500080" y="4119"/>
                </a:lnTo>
                <a:close/>
                <a:moveTo>
                  <a:pt x="5264784" y="80"/>
                </a:moveTo>
                <a:lnTo>
                  <a:pt x="5274694" y="80"/>
                </a:lnTo>
                <a:lnTo>
                  <a:pt x="5278713" y="4119"/>
                </a:lnTo>
                <a:lnTo>
                  <a:pt x="5278713" y="13990"/>
                </a:lnTo>
                <a:lnTo>
                  <a:pt x="5274694" y="18029"/>
                </a:lnTo>
                <a:lnTo>
                  <a:pt x="5264784" y="18029"/>
                </a:lnTo>
                <a:lnTo>
                  <a:pt x="5260765" y="13990"/>
                </a:lnTo>
                <a:lnTo>
                  <a:pt x="5260765" y="4119"/>
                </a:lnTo>
                <a:close/>
                <a:moveTo>
                  <a:pt x="5025470" y="80"/>
                </a:moveTo>
                <a:lnTo>
                  <a:pt x="5035381" y="80"/>
                </a:lnTo>
                <a:lnTo>
                  <a:pt x="5039400" y="4119"/>
                </a:lnTo>
                <a:lnTo>
                  <a:pt x="5039400" y="13990"/>
                </a:lnTo>
                <a:lnTo>
                  <a:pt x="5035381" y="18029"/>
                </a:lnTo>
                <a:lnTo>
                  <a:pt x="5025470" y="18029"/>
                </a:lnTo>
                <a:lnTo>
                  <a:pt x="5021451" y="13990"/>
                </a:lnTo>
                <a:lnTo>
                  <a:pt x="5021451" y="4119"/>
                </a:lnTo>
                <a:close/>
                <a:moveTo>
                  <a:pt x="6461356" y="68"/>
                </a:moveTo>
                <a:lnTo>
                  <a:pt x="6471266" y="68"/>
                </a:lnTo>
                <a:lnTo>
                  <a:pt x="6475285" y="4106"/>
                </a:lnTo>
                <a:lnTo>
                  <a:pt x="6475285" y="13976"/>
                </a:lnTo>
                <a:lnTo>
                  <a:pt x="6471266" y="18015"/>
                </a:lnTo>
                <a:lnTo>
                  <a:pt x="6461356" y="18015"/>
                </a:lnTo>
                <a:lnTo>
                  <a:pt x="6457337" y="13976"/>
                </a:lnTo>
                <a:lnTo>
                  <a:pt x="6457337" y="4106"/>
                </a:lnTo>
                <a:close/>
                <a:moveTo>
                  <a:pt x="6222042" y="68"/>
                </a:moveTo>
                <a:lnTo>
                  <a:pt x="6231952" y="68"/>
                </a:lnTo>
                <a:lnTo>
                  <a:pt x="6235971" y="4106"/>
                </a:lnTo>
                <a:lnTo>
                  <a:pt x="6235971" y="13977"/>
                </a:lnTo>
                <a:lnTo>
                  <a:pt x="6231952" y="18016"/>
                </a:lnTo>
                <a:lnTo>
                  <a:pt x="6222042" y="18016"/>
                </a:lnTo>
                <a:lnTo>
                  <a:pt x="6218023" y="13977"/>
                </a:lnTo>
                <a:lnTo>
                  <a:pt x="6218023" y="4106"/>
                </a:lnTo>
                <a:close/>
                <a:moveTo>
                  <a:pt x="5982729" y="68"/>
                </a:moveTo>
                <a:lnTo>
                  <a:pt x="5992639" y="68"/>
                </a:lnTo>
                <a:lnTo>
                  <a:pt x="5996658" y="4106"/>
                </a:lnTo>
                <a:lnTo>
                  <a:pt x="5996658" y="13977"/>
                </a:lnTo>
                <a:lnTo>
                  <a:pt x="5992639" y="18016"/>
                </a:lnTo>
                <a:lnTo>
                  <a:pt x="5982729" y="18016"/>
                </a:lnTo>
                <a:lnTo>
                  <a:pt x="5978710" y="13977"/>
                </a:lnTo>
                <a:lnTo>
                  <a:pt x="5978710" y="4106"/>
                </a:lnTo>
                <a:close/>
                <a:moveTo>
                  <a:pt x="6939983" y="67"/>
                </a:moveTo>
                <a:lnTo>
                  <a:pt x="6949894" y="67"/>
                </a:lnTo>
                <a:lnTo>
                  <a:pt x="6953913" y="4105"/>
                </a:lnTo>
                <a:lnTo>
                  <a:pt x="6953913" y="13976"/>
                </a:lnTo>
                <a:lnTo>
                  <a:pt x="6949894" y="18015"/>
                </a:lnTo>
                <a:lnTo>
                  <a:pt x="6939983" y="18015"/>
                </a:lnTo>
                <a:lnTo>
                  <a:pt x="6935964" y="13976"/>
                </a:lnTo>
                <a:lnTo>
                  <a:pt x="6935964" y="4105"/>
                </a:lnTo>
                <a:close/>
                <a:moveTo>
                  <a:pt x="6700670" y="67"/>
                </a:moveTo>
                <a:lnTo>
                  <a:pt x="6710581" y="67"/>
                </a:lnTo>
                <a:lnTo>
                  <a:pt x="6714600" y="4105"/>
                </a:lnTo>
                <a:lnTo>
                  <a:pt x="6714600" y="13976"/>
                </a:lnTo>
                <a:lnTo>
                  <a:pt x="6710581" y="18015"/>
                </a:lnTo>
                <a:lnTo>
                  <a:pt x="6700670" y="18015"/>
                </a:lnTo>
                <a:lnTo>
                  <a:pt x="6696651" y="13976"/>
                </a:lnTo>
                <a:lnTo>
                  <a:pt x="6696651" y="4105"/>
                </a:lnTo>
                <a:close/>
                <a:moveTo>
                  <a:pt x="8136553" y="54"/>
                </a:moveTo>
                <a:lnTo>
                  <a:pt x="8146464" y="54"/>
                </a:lnTo>
                <a:lnTo>
                  <a:pt x="8150483" y="4093"/>
                </a:lnTo>
                <a:lnTo>
                  <a:pt x="8150483" y="13963"/>
                </a:lnTo>
                <a:lnTo>
                  <a:pt x="8146464" y="18002"/>
                </a:lnTo>
                <a:lnTo>
                  <a:pt x="8136553" y="18002"/>
                </a:lnTo>
                <a:lnTo>
                  <a:pt x="8132534" y="13963"/>
                </a:lnTo>
                <a:lnTo>
                  <a:pt x="8132534" y="4093"/>
                </a:lnTo>
                <a:close/>
                <a:moveTo>
                  <a:pt x="7897241" y="54"/>
                </a:moveTo>
                <a:lnTo>
                  <a:pt x="7907151" y="54"/>
                </a:lnTo>
                <a:lnTo>
                  <a:pt x="7911170" y="4093"/>
                </a:lnTo>
                <a:lnTo>
                  <a:pt x="7911170" y="13964"/>
                </a:lnTo>
                <a:lnTo>
                  <a:pt x="7907151" y="18003"/>
                </a:lnTo>
                <a:lnTo>
                  <a:pt x="7897241" y="18003"/>
                </a:lnTo>
                <a:lnTo>
                  <a:pt x="7893222" y="13964"/>
                </a:lnTo>
                <a:lnTo>
                  <a:pt x="7893222" y="4093"/>
                </a:lnTo>
                <a:close/>
                <a:moveTo>
                  <a:pt x="7657926" y="54"/>
                </a:moveTo>
                <a:lnTo>
                  <a:pt x="7667836" y="54"/>
                </a:lnTo>
                <a:lnTo>
                  <a:pt x="7671855" y="4093"/>
                </a:lnTo>
                <a:lnTo>
                  <a:pt x="7671855" y="13964"/>
                </a:lnTo>
                <a:lnTo>
                  <a:pt x="7667836" y="18003"/>
                </a:lnTo>
                <a:lnTo>
                  <a:pt x="7657926" y="18003"/>
                </a:lnTo>
                <a:lnTo>
                  <a:pt x="7653906" y="13964"/>
                </a:lnTo>
                <a:lnTo>
                  <a:pt x="7653906" y="4093"/>
                </a:lnTo>
                <a:close/>
                <a:moveTo>
                  <a:pt x="7418611" y="54"/>
                </a:moveTo>
                <a:lnTo>
                  <a:pt x="7428521" y="54"/>
                </a:lnTo>
                <a:lnTo>
                  <a:pt x="7432540" y="4093"/>
                </a:lnTo>
                <a:lnTo>
                  <a:pt x="7432540" y="13964"/>
                </a:lnTo>
                <a:lnTo>
                  <a:pt x="7428521" y="18003"/>
                </a:lnTo>
                <a:lnTo>
                  <a:pt x="7418611" y="18003"/>
                </a:lnTo>
                <a:lnTo>
                  <a:pt x="7414592" y="13964"/>
                </a:lnTo>
                <a:lnTo>
                  <a:pt x="7414592" y="4093"/>
                </a:lnTo>
                <a:close/>
                <a:moveTo>
                  <a:pt x="7179298" y="54"/>
                </a:moveTo>
                <a:lnTo>
                  <a:pt x="7189209" y="54"/>
                </a:lnTo>
                <a:lnTo>
                  <a:pt x="7193228" y="4093"/>
                </a:lnTo>
                <a:lnTo>
                  <a:pt x="7193228" y="13964"/>
                </a:lnTo>
                <a:lnTo>
                  <a:pt x="7189209" y="18003"/>
                </a:lnTo>
                <a:lnTo>
                  <a:pt x="7179298" y="18003"/>
                </a:lnTo>
                <a:lnTo>
                  <a:pt x="7175279" y="13964"/>
                </a:lnTo>
                <a:lnTo>
                  <a:pt x="7175279" y="4093"/>
                </a:lnTo>
                <a:close/>
                <a:moveTo>
                  <a:pt x="8375869" y="42"/>
                </a:moveTo>
                <a:lnTo>
                  <a:pt x="8385779" y="42"/>
                </a:lnTo>
                <a:lnTo>
                  <a:pt x="8389799" y="4080"/>
                </a:lnTo>
                <a:lnTo>
                  <a:pt x="8389799" y="13951"/>
                </a:lnTo>
                <a:lnTo>
                  <a:pt x="8385779" y="17990"/>
                </a:lnTo>
                <a:lnTo>
                  <a:pt x="8375869" y="17990"/>
                </a:lnTo>
                <a:lnTo>
                  <a:pt x="8371850" y="13951"/>
                </a:lnTo>
                <a:lnTo>
                  <a:pt x="8371850" y="4080"/>
                </a:lnTo>
                <a:close/>
                <a:moveTo>
                  <a:pt x="9333125" y="41"/>
                </a:moveTo>
                <a:lnTo>
                  <a:pt x="9343036" y="41"/>
                </a:lnTo>
                <a:lnTo>
                  <a:pt x="9347055" y="4080"/>
                </a:lnTo>
                <a:lnTo>
                  <a:pt x="9347055" y="13951"/>
                </a:lnTo>
                <a:lnTo>
                  <a:pt x="9343036" y="17990"/>
                </a:lnTo>
                <a:lnTo>
                  <a:pt x="9333125" y="17990"/>
                </a:lnTo>
                <a:lnTo>
                  <a:pt x="9329106" y="13951"/>
                </a:lnTo>
                <a:lnTo>
                  <a:pt x="9329106" y="4080"/>
                </a:lnTo>
                <a:close/>
                <a:moveTo>
                  <a:pt x="9093811" y="41"/>
                </a:moveTo>
                <a:lnTo>
                  <a:pt x="9103722" y="41"/>
                </a:lnTo>
                <a:lnTo>
                  <a:pt x="9107741" y="4080"/>
                </a:lnTo>
                <a:lnTo>
                  <a:pt x="9107741" y="13951"/>
                </a:lnTo>
                <a:lnTo>
                  <a:pt x="9103722" y="17990"/>
                </a:lnTo>
                <a:lnTo>
                  <a:pt x="9093811" y="17990"/>
                </a:lnTo>
                <a:lnTo>
                  <a:pt x="9089792" y="13951"/>
                </a:lnTo>
                <a:lnTo>
                  <a:pt x="9089792" y="4080"/>
                </a:lnTo>
                <a:close/>
                <a:moveTo>
                  <a:pt x="8854496" y="41"/>
                </a:moveTo>
                <a:lnTo>
                  <a:pt x="8864407" y="41"/>
                </a:lnTo>
                <a:lnTo>
                  <a:pt x="8868426" y="4080"/>
                </a:lnTo>
                <a:lnTo>
                  <a:pt x="8868426" y="13951"/>
                </a:lnTo>
                <a:lnTo>
                  <a:pt x="8864407" y="17990"/>
                </a:lnTo>
                <a:lnTo>
                  <a:pt x="8854496" y="17990"/>
                </a:lnTo>
                <a:lnTo>
                  <a:pt x="8850477" y="13951"/>
                </a:lnTo>
                <a:lnTo>
                  <a:pt x="8850477" y="4080"/>
                </a:lnTo>
                <a:close/>
                <a:moveTo>
                  <a:pt x="8615184" y="41"/>
                </a:moveTo>
                <a:lnTo>
                  <a:pt x="8625095" y="41"/>
                </a:lnTo>
                <a:lnTo>
                  <a:pt x="8629114" y="4080"/>
                </a:lnTo>
                <a:lnTo>
                  <a:pt x="8629114" y="13951"/>
                </a:lnTo>
                <a:lnTo>
                  <a:pt x="8625095" y="17990"/>
                </a:lnTo>
                <a:lnTo>
                  <a:pt x="8615184" y="17990"/>
                </a:lnTo>
                <a:lnTo>
                  <a:pt x="8611165" y="13951"/>
                </a:lnTo>
                <a:lnTo>
                  <a:pt x="8611165" y="4080"/>
                </a:lnTo>
                <a:close/>
                <a:moveTo>
                  <a:pt x="961275" y="41"/>
                </a:moveTo>
                <a:lnTo>
                  <a:pt x="971184" y="41"/>
                </a:lnTo>
                <a:lnTo>
                  <a:pt x="975204" y="4080"/>
                </a:lnTo>
                <a:lnTo>
                  <a:pt x="975204" y="13951"/>
                </a:lnTo>
                <a:lnTo>
                  <a:pt x="971184" y="17990"/>
                </a:lnTo>
                <a:lnTo>
                  <a:pt x="961275" y="17990"/>
                </a:lnTo>
                <a:lnTo>
                  <a:pt x="957256" y="13951"/>
                </a:lnTo>
                <a:lnTo>
                  <a:pt x="957256" y="4080"/>
                </a:lnTo>
                <a:close/>
                <a:moveTo>
                  <a:pt x="1679221" y="41"/>
                </a:moveTo>
                <a:lnTo>
                  <a:pt x="1689131" y="41"/>
                </a:lnTo>
                <a:lnTo>
                  <a:pt x="1693151" y="4079"/>
                </a:lnTo>
                <a:lnTo>
                  <a:pt x="1693151" y="13950"/>
                </a:lnTo>
                <a:lnTo>
                  <a:pt x="1689131" y="17989"/>
                </a:lnTo>
                <a:lnTo>
                  <a:pt x="1679221" y="17989"/>
                </a:lnTo>
                <a:lnTo>
                  <a:pt x="1675203" y="13950"/>
                </a:lnTo>
                <a:lnTo>
                  <a:pt x="1675203" y="4079"/>
                </a:lnTo>
                <a:close/>
                <a:moveTo>
                  <a:pt x="1439904" y="41"/>
                </a:moveTo>
                <a:lnTo>
                  <a:pt x="1449813" y="41"/>
                </a:lnTo>
                <a:lnTo>
                  <a:pt x="1453833" y="4079"/>
                </a:lnTo>
                <a:lnTo>
                  <a:pt x="1453833" y="13950"/>
                </a:lnTo>
                <a:lnTo>
                  <a:pt x="1449813" y="17989"/>
                </a:lnTo>
                <a:lnTo>
                  <a:pt x="1439904" y="17989"/>
                </a:lnTo>
                <a:lnTo>
                  <a:pt x="1435885" y="13950"/>
                </a:lnTo>
                <a:lnTo>
                  <a:pt x="1435885" y="4079"/>
                </a:lnTo>
                <a:close/>
                <a:moveTo>
                  <a:pt x="1200587" y="41"/>
                </a:moveTo>
                <a:lnTo>
                  <a:pt x="1210497" y="41"/>
                </a:lnTo>
                <a:lnTo>
                  <a:pt x="1214516" y="4080"/>
                </a:lnTo>
                <a:lnTo>
                  <a:pt x="1214516" y="13951"/>
                </a:lnTo>
                <a:lnTo>
                  <a:pt x="1210497" y="17989"/>
                </a:lnTo>
                <a:lnTo>
                  <a:pt x="1200587" y="17989"/>
                </a:lnTo>
                <a:lnTo>
                  <a:pt x="1196568" y="13951"/>
                </a:lnTo>
                <a:lnTo>
                  <a:pt x="1196568" y="4080"/>
                </a:lnTo>
                <a:close/>
                <a:moveTo>
                  <a:pt x="1918515" y="31"/>
                </a:moveTo>
                <a:lnTo>
                  <a:pt x="1928425" y="31"/>
                </a:lnTo>
                <a:lnTo>
                  <a:pt x="1932444" y="4069"/>
                </a:lnTo>
                <a:lnTo>
                  <a:pt x="1932444" y="13940"/>
                </a:lnTo>
                <a:lnTo>
                  <a:pt x="1928425" y="17979"/>
                </a:lnTo>
                <a:lnTo>
                  <a:pt x="1918515" y="17979"/>
                </a:lnTo>
                <a:lnTo>
                  <a:pt x="1914497" y="13940"/>
                </a:lnTo>
                <a:lnTo>
                  <a:pt x="1914497" y="4069"/>
                </a:lnTo>
                <a:close/>
                <a:moveTo>
                  <a:pt x="9572438" y="29"/>
                </a:moveTo>
                <a:lnTo>
                  <a:pt x="9582349" y="29"/>
                </a:lnTo>
                <a:lnTo>
                  <a:pt x="9586368" y="4067"/>
                </a:lnTo>
                <a:lnTo>
                  <a:pt x="9586368" y="13938"/>
                </a:lnTo>
                <a:lnTo>
                  <a:pt x="9582349" y="17977"/>
                </a:lnTo>
                <a:lnTo>
                  <a:pt x="9572438" y="17977"/>
                </a:lnTo>
                <a:lnTo>
                  <a:pt x="9568419" y="13938"/>
                </a:lnTo>
                <a:lnTo>
                  <a:pt x="9568419" y="4067"/>
                </a:lnTo>
                <a:close/>
                <a:moveTo>
                  <a:pt x="2157824" y="28"/>
                </a:moveTo>
                <a:lnTo>
                  <a:pt x="2167734" y="28"/>
                </a:lnTo>
                <a:lnTo>
                  <a:pt x="2171753" y="4067"/>
                </a:lnTo>
                <a:lnTo>
                  <a:pt x="2171753" y="13938"/>
                </a:lnTo>
                <a:lnTo>
                  <a:pt x="2167734" y="17977"/>
                </a:lnTo>
                <a:lnTo>
                  <a:pt x="2157824" y="17977"/>
                </a:lnTo>
                <a:lnTo>
                  <a:pt x="2153804" y="13938"/>
                </a:lnTo>
                <a:lnTo>
                  <a:pt x="2153804" y="4067"/>
                </a:lnTo>
                <a:close/>
                <a:moveTo>
                  <a:pt x="721977" y="0"/>
                </a:moveTo>
                <a:lnTo>
                  <a:pt x="731887" y="0"/>
                </a:lnTo>
                <a:lnTo>
                  <a:pt x="735906" y="4039"/>
                </a:lnTo>
                <a:lnTo>
                  <a:pt x="735906" y="13910"/>
                </a:lnTo>
                <a:lnTo>
                  <a:pt x="731887" y="17949"/>
                </a:lnTo>
                <a:lnTo>
                  <a:pt x="721977" y="17949"/>
                </a:lnTo>
                <a:lnTo>
                  <a:pt x="717959" y="13910"/>
                </a:lnTo>
                <a:lnTo>
                  <a:pt x="717959" y="4039"/>
                </a:lnTo>
                <a:close/>
                <a:moveTo>
                  <a:pt x="482665" y="0"/>
                </a:moveTo>
                <a:lnTo>
                  <a:pt x="492575" y="0"/>
                </a:lnTo>
                <a:lnTo>
                  <a:pt x="496594" y="4039"/>
                </a:lnTo>
                <a:lnTo>
                  <a:pt x="496594" y="13910"/>
                </a:lnTo>
                <a:lnTo>
                  <a:pt x="492575" y="17949"/>
                </a:lnTo>
                <a:lnTo>
                  <a:pt x="482665" y="17949"/>
                </a:lnTo>
                <a:lnTo>
                  <a:pt x="478646" y="13910"/>
                </a:lnTo>
                <a:lnTo>
                  <a:pt x="478646" y="4039"/>
                </a:lnTo>
                <a:close/>
                <a:moveTo>
                  <a:pt x="243351" y="0"/>
                </a:moveTo>
                <a:lnTo>
                  <a:pt x="253261" y="0"/>
                </a:lnTo>
                <a:lnTo>
                  <a:pt x="257281" y="4039"/>
                </a:lnTo>
                <a:lnTo>
                  <a:pt x="257281" y="13910"/>
                </a:lnTo>
                <a:lnTo>
                  <a:pt x="253261" y="17949"/>
                </a:lnTo>
                <a:lnTo>
                  <a:pt x="243351" y="17949"/>
                </a:lnTo>
                <a:lnTo>
                  <a:pt x="239332" y="13910"/>
                </a:lnTo>
                <a:lnTo>
                  <a:pt x="239332" y="4039"/>
                </a:lnTo>
                <a:close/>
                <a:moveTo>
                  <a:pt x="4039" y="0"/>
                </a:moveTo>
                <a:lnTo>
                  <a:pt x="13948" y="0"/>
                </a:lnTo>
                <a:lnTo>
                  <a:pt x="17967" y="4039"/>
                </a:lnTo>
                <a:lnTo>
                  <a:pt x="17967" y="13910"/>
                </a:lnTo>
                <a:lnTo>
                  <a:pt x="13948" y="17949"/>
                </a:lnTo>
                <a:lnTo>
                  <a:pt x="4039" y="17949"/>
                </a:lnTo>
                <a:lnTo>
                  <a:pt x="19" y="13910"/>
                </a:lnTo>
                <a:lnTo>
                  <a:pt x="19" y="4039"/>
                </a:lnTo>
                <a:close/>
              </a:path>
            </a:pathLst>
          </a:custGeom>
          <a:solidFill>
            <a:schemeClr val="tx1">
              <a:lumMod val="40000"/>
              <a:lumOff val="60000"/>
              <a:alpha val="29998"/>
            </a:schemeClr>
          </a:solidFill>
        </p:spPr>
        <p:txBody>
          <a:bodyPr wrap="square" lIns="0" tIns="0" rIns="0" bIns="0" rtlCol="0">
            <a:noAutofit/>
          </a:bodyPr>
          <a:lstStyle/>
          <a:p>
            <a:endParaRPr lang="en-GB">
              <a:solidFill>
                <a:srgbClr val="1F2023"/>
              </a:solidFill>
            </a:endParaRPr>
          </a:p>
        </p:txBody>
      </p:sp>
      <p:sp>
        <p:nvSpPr>
          <p:cNvPr id="2" name="Title">
            <a:extLst>
              <a:ext uri="{FF2B5EF4-FFF2-40B4-BE49-F238E27FC236}">
                <a16:creationId xmlns:a16="http://schemas.microsoft.com/office/drawing/2014/main" id="{BDB42F68-B1B3-42FF-B365-DD143C230535}"/>
              </a:ext>
            </a:extLst>
          </p:cNvPr>
          <p:cNvSpPr>
            <a:spLocks noGrp="1"/>
          </p:cNvSpPr>
          <p:nvPr>
            <p:ph type="title"/>
          </p:nvPr>
        </p:nvSpPr>
        <p:spPr/>
        <p:txBody>
          <a:bodyPr/>
          <a:lstStyle/>
          <a:p>
            <a:r>
              <a:rPr lang="en-US"/>
              <a:t>Click to edit Master title style</a:t>
            </a:r>
            <a:endParaRPr lang="en-GB"/>
          </a:p>
        </p:txBody>
      </p:sp>
      <p:sp>
        <p:nvSpPr>
          <p:cNvPr id="14" name="Notes">
            <a:extLst>
              <a:ext uri="{FF2B5EF4-FFF2-40B4-BE49-F238E27FC236}">
                <a16:creationId xmlns:a16="http://schemas.microsoft.com/office/drawing/2014/main" id="{A03F66CC-3EA1-46EC-B7C3-3CFF80CE5BAD}"/>
              </a:ext>
            </a:extLst>
          </p:cNvPr>
          <p:cNvSpPr>
            <a:spLocks noGrp="1"/>
          </p:cNvSpPr>
          <p:nvPr>
            <p:ph type="body" sz="quarter" idx="13" hasCustomPrompt="1"/>
          </p:nvPr>
        </p:nvSpPr>
        <p:spPr>
          <a:xfrm>
            <a:off x="269874" y="6491543"/>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8" name="Tracker">
            <a:extLst>
              <a:ext uri="{FF2B5EF4-FFF2-40B4-BE49-F238E27FC236}">
                <a16:creationId xmlns:a16="http://schemas.microsoft.com/office/drawing/2014/main" id="{813EE822-49DA-4DDC-9042-01347ECE2ABC}"/>
              </a:ext>
            </a:extLst>
          </p:cNvPr>
          <p:cNvSpPr>
            <a:spLocks noGrp="1"/>
          </p:cNvSpPr>
          <p:nvPr>
            <p:ph type="body" sz="quarter" idx="15"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10113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2" name="Colour block 2">
            <a:extLst>
              <a:ext uri="{FF2B5EF4-FFF2-40B4-BE49-F238E27FC236}">
                <a16:creationId xmlns:a16="http://schemas.microsoft.com/office/drawing/2014/main" id="{AC111BF0-3507-420E-BB90-A470D0BDF170}"/>
              </a:ext>
            </a:extLst>
          </p:cNvPr>
          <p:cNvSpPr/>
          <p:nvPr userDrawn="1"/>
        </p:nvSpPr>
        <p:spPr>
          <a:xfrm>
            <a:off x="-1" y="0"/>
            <a:ext cx="7171531" cy="1632813"/>
          </a:xfrm>
          <a:prstGeom prst="rect">
            <a:avLst/>
          </a:prstGeom>
          <a:solidFill>
            <a:srgbClr val="8AA29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1F2023"/>
              </a:solidFill>
              <a:effectLst/>
              <a:uLnTx/>
              <a:uFillTx/>
              <a:latin typeface="Arial"/>
              <a:ea typeface="+mn-ea"/>
              <a:cs typeface="+mn-cs"/>
            </a:endParaRPr>
          </a:p>
        </p:txBody>
      </p:sp>
      <p:sp>
        <p:nvSpPr>
          <p:cNvPr id="17" name="Colour block 1">
            <a:extLst>
              <a:ext uri="{FF2B5EF4-FFF2-40B4-BE49-F238E27FC236}">
                <a16:creationId xmlns:a16="http://schemas.microsoft.com/office/drawing/2014/main" id="{8A361D13-606F-4AC3-A777-576BC0B451CF}"/>
              </a:ext>
            </a:extLst>
          </p:cNvPr>
          <p:cNvSpPr/>
          <p:nvPr userDrawn="1"/>
        </p:nvSpPr>
        <p:spPr>
          <a:xfrm>
            <a:off x="0" y="1355724"/>
            <a:ext cx="8554911" cy="5502276"/>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EEEBE8"/>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1F2023"/>
              </a:solidFill>
              <a:effectLst/>
              <a:uLnTx/>
              <a:uFillTx/>
            </a:endParaRPr>
          </a:p>
        </p:txBody>
      </p:sp>
      <p:sp>
        <p:nvSpPr>
          <p:cNvPr id="24" name="Title">
            <a:extLst>
              <a:ext uri="{FF2B5EF4-FFF2-40B4-BE49-F238E27FC236}">
                <a16:creationId xmlns:a16="http://schemas.microsoft.com/office/drawing/2014/main" id="{753CC225-3E09-4B00-B858-336FCB07C3F3}"/>
              </a:ext>
            </a:extLst>
          </p:cNvPr>
          <p:cNvSpPr>
            <a:spLocks noGrp="1"/>
          </p:cNvSpPr>
          <p:nvPr userDrawn="1">
            <p:ph type="title" hasCustomPrompt="1"/>
          </p:nvPr>
        </p:nvSpPr>
        <p:spPr>
          <a:xfrm>
            <a:off x="807855" y="2174217"/>
            <a:ext cx="6354000" cy="867598"/>
          </a:xfrm>
          <a:noFill/>
        </p:spPr>
        <p:txBody>
          <a:bodyPr lIns="0" tIns="0" rIns="0"/>
          <a:lstStyle>
            <a:lvl1pPr>
              <a:lnSpc>
                <a:spcPct val="83000"/>
              </a:lnSpc>
              <a:defRPr sz="6500" cap="all" baseline="0">
                <a:solidFill>
                  <a:srgbClr val="30373B"/>
                </a:solidFill>
                <a:latin typeface="Impact" panose="020B0806030902050204" pitchFamily="34" charset="0"/>
              </a:defRPr>
            </a:lvl1pPr>
          </a:lstStyle>
          <a:p>
            <a:r>
              <a:rPr lang="en-GB"/>
              <a:t>Thank you</a:t>
            </a:r>
          </a:p>
        </p:txBody>
      </p:sp>
      <p:sp>
        <p:nvSpPr>
          <p:cNvPr id="25" name="Contact information">
            <a:extLst>
              <a:ext uri="{FF2B5EF4-FFF2-40B4-BE49-F238E27FC236}">
                <a16:creationId xmlns:a16="http://schemas.microsoft.com/office/drawing/2014/main" id="{AD493141-6163-4B9F-BB64-266DC978A36B}"/>
              </a:ext>
            </a:extLst>
          </p:cNvPr>
          <p:cNvSpPr>
            <a:spLocks noGrp="1"/>
          </p:cNvSpPr>
          <p:nvPr>
            <p:ph type="body" sz="quarter" idx="17" hasCustomPrompt="1"/>
          </p:nvPr>
        </p:nvSpPr>
        <p:spPr>
          <a:xfrm>
            <a:off x="2143250" y="3265354"/>
            <a:ext cx="5022000" cy="610936"/>
          </a:xfrm>
        </p:spPr>
        <p:txBody>
          <a:bodyPr lIns="0" tIns="0" rIns="0" bIns="0" anchor="t" anchorCtr="0">
            <a:noAutofit/>
          </a:bodyPr>
          <a:lstStyle>
            <a:lvl1pPr marL="0" indent="0">
              <a:lnSpc>
                <a:spcPct val="90000"/>
              </a:lnSpc>
              <a:spcBef>
                <a:spcPts val="0"/>
              </a:spcBef>
              <a:buFont typeface="Arial" panose="020B0604020202020204" pitchFamily="34" charset="0"/>
              <a:buNone/>
              <a:defRPr sz="1100">
                <a:solidFill>
                  <a:srgbClr val="30373B"/>
                </a:solidFill>
              </a:defRPr>
            </a:lvl1pPr>
          </a:lstStyle>
          <a:p>
            <a:pPr lvl="0"/>
            <a:r>
              <a:rPr lang="en-GB"/>
              <a:t>Name</a:t>
            </a:r>
          </a:p>
          <a:p>
            <a:pPr lvl="0"/>
            <a:r>
              <a:rPr lang="en-GB"/>
              <a:t>Phone</a:t>
            </a:r>
          </a:p>
          <a:p>
            <a:pPr lvl="0"/>
            <a:r>
              <a:rPr lang="en-GB"/>
              <a:t>Email</a:t>
            </a:r>
          </a:p>
        </p:txBody>
      </p:sp>
      <p:cxnSp>
        <p:nvCxnSpPr>
          <p:cNvPr id="21" name="Divider line">
            <a:extLst>
              <a:ext uri="{FF2B5EF4-FFF2-40B4-BE49-F238E27FC236}">
                <a16:creationId xmlns:a16="http://schemas.microsoft.com/office/drawing/2014/main" id="{DC18D7EB-A920-491A-A8EB-D7FAD4435608}"/>
              </a:ext>
            </a:extLst>
          </p:cNvPr>
          <p:cNvCxnSpPr>
            <a:cxnSpLocks/>
          </p:cNvCxnSpPr>
          <p:nvPr/>
        </p:nvCxnSpPr>
        <p:spPr>
          <a:xfrm>
            <a:off x="1865748" y="3265354"/>
            <a:ext cx="0" cy="630000"/>
          </a:xfrm>
          <a:prstGeom prst="line">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Contact">
            <a:extLst>
              <a:ext uri="{FF2B5EF4-FFF2-40B4-BE49-F238E27FC236}">
                <a16:creationId xmlns:a16="http://schemas.microsoft.com/office/drawing/2014/main" id="{EB533D22-278D-4D48-8B21-DB708D705C81}"/>
              </a:ext>
            </a:extLst>
          </p:cNvPr>
          <p:cNvSpPr txBox="1"/>
          <p:nvPr/>
        </p:nvSpPr>
        <p:spPr>
          <a:xfrm>
            <a:off x="807855" y="3265354"/>
            <a:ext cx="900000" cy="239845"/>
          </a:xfrm>
          <a:prstGeom prst="rect">
            <a:avLst/>
          </a:prstGeom>
        </p:spPr>
        <p:txBody>
          <a:bodyPr vert="horz" wrap="square" lIns="0" tIns="0" rIns="0" bIns="0" rtlCol="0">
            <a:noAutofit/>
          </a:bodyPr>
          <a:lstStyle/>
          <a:p>
            <a:pPr>
              <a:lnSpc>
                <a:spcPct val="90000"/>
              </a:lnSpc>
              <a:spcAft>
                <a:spcPts val="0"/>
              </a:spcAft>
            </a:pPr>
            <a:r>
              <a:rPr lang="en-GB" sz="1600" b="1" spc="41">
                <a:solidFill>
                  <a:srgbClr val="30373B"/>
                </a:solidFill>
                <a:latin typeface="+mj-lt"/>
                <a:cs typeface="Trebuchet MS"/>
              </a:rPr>
              <a:t>Conta</a:t>
            </a:r>
            <a:r>
              <a:rPr lang="en-GB" sz="1600" b="1" spc="27">
                <a:solidFill>
                  <a:srgbClr val="30373B"/>
                </a:solidFill>
                <a:latin typeface="+mj-lt"/>
                <a:cs typeface="Trebuchet MS"/>
              </a:rPr>
              <a:t>c</a:t>
            </a:r>
            <a:r>
              <a:rPr lang="en-GB" sz="1600" b="1" spc="-23">
                <a:solidFill>
                  <a:srgbClr val="30373B"/>
                </a:solidFill>
                <a:latin typeface="+mj-lt"/>
                <a:cs typeface="Trebuchet MS"/>
              </a:rPr>
              <a:t>t</a:t>
            </a:r>
            <a:endParaRPr lang="en-GB" sz="1600" b="1">
              <a:solidFill>
                <a:srgbClr val="30373B"/>
              </a:solidFill>
              <a:latin typeface="+mj-lt"/>
              <a:cs typeface="Trebuchet MS"/>
            </a:endParaRPr>
          </a:p>
        </p:txBody>
      </p:sp>
      <p:sp>
        <p:nvSpPr>
          <p:cNvPr id="11" name="Logo">
            <a:extLst>
              <a:ext uri="{FF2B5EF4-FFF2-40B4-BE49-F238E27FC236}">
                <a16:creationId xmlns:a16="http://schemas.microsoft.com/office/drawing/2014/main" id="{D627D054-E733-4AF4-96A8-BC1F94E35A96}"/>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solidFill>
                  <a:srgbClr val="1F2023"/>
                </a:solidFill>
              </a:rPr>
              <a:t> </a:t>
            </a:r>
          </a:p>
        </p:txBody>
      </p:sp>
    </p:spTree>
    <p:extLst>
      <p:ext uri="{BB962C8B-B14F-4D97-AF65-F5344CB8AC3E}">
        <p14:creationId xmlns:p14="http://schemas.microsoft.com/office/powerpoint/2010/main" val="97981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eference Case - Short Text">
    <p:spTree>
      <p:nvGrpSpPr>
        <p:cNvPr id="1" name=""/>
        <p:cNvGrpSpPr/>
        <p:nvPr/>
      </p:nvGrpSpPr>
      <p:grpSpPr>
        <a:xfrm>
          <a:off x="0" y="0"/>
          <a:ext cx="0" cy="0"/>
          <a:chOff x="0" y="0"/>
          <a:chExt cx="0" cy="0"/>
        </a:xfrm>
      </p:grpSpPr>
      <p:sp>
        <p:nvSpPr>
          <p:cNvPr id="8" name="Picture">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906001" cy="6858000"/>
          </a:xfrm>
          <a:solidFill>
            <a:srgbClr val="B8BBBD"/>
          </a:solidFill>
        </p:spPr>
        <p:txBody>
          <a:bodyPr vert="horz" lIns="0" tIns="0" rIns="0" bIns="0" rtlCol="0" anchor="ctr" anchorCtr="0">
            <a:noAutofit/>
          </a:bodyPr>
          <a:lstStyle>
            <a:lvl1pPr algn="ctr">
              <a:defRPr lang="da-DK" dirty="0"/>
            </a:lvl1pPr>
          </a:lstStyle>
          <a:p>
            <a:pPr lvl="0" algn="ctr">
              <a:buNone/>
            </a:pPr>
            <a:r>
              <a:rPr lang="en-US"/>
              <a:t>Click icon to add picture</a:t>
            </a:r>
            <a:endParaRPr lang="en-GB"/>
          </a:p>
        </p:txBody>
      </p:sp>
      <p:sp>
        <p:nvSpPr>
          <p:cNvPr id="2" name="Title">
            <a:extLst>
              <a:ext uri="{FF2B5EF4-FFF2-40B4-BE49-F238E27FC236}">
                <a16:creationId xmlns:a16="http://schemas.microsoft.com/office/drawing/2014/main" id="{D2949D33-2E01-4246-97EA-A41F8450A052}"/>
              </a:ext>
            </a:extLst>
          </p:cNvPr>
          <p:cNvSpPr>
            <a:spLocks noGrp="1"/>
          </p:cNvSpPr>
          <p:nvPr>
            <p:ph type="title" hasCustomPrompt="1"/>
          </p:nvPr>
        </p:nvSpPr>
        <p:spPr>
          <a:xfrm>
            <a:off x="269876" y="1128486"/>
            <a:ext cx="3855558" cy="1277273"/>
          </a:xfrm>
          <a:noFill/>
        </p:spPr>
        <p:txBody>
          <a:bodyPr vert="horz" lIns="0" tIns="0" rIns="0">
            <a:noAutofit/>
          </a:bodyPr>
          <a:lstStyle>
            <a:lvl1pPr>
              <a:lnSpc>
                <a:spcPct val="83000"/>
              </a:lnSpc>
              <a:defRPr sz="5000" cap="all" baseline="0">
                <a:solidFill>
                  <a:schemeClr val="bg1"/>
                </a:solidFill>
                <a:latin typeface="Impact" panose="020B0806030902050204" pitchFamily="34" charset="0"/>
              </a:defRPr>
            </a:lvl1pPr>
          </a:lstStyle>
          <a:p>
            <a:r>
              <a:rPr lang="en-GB"/>
              <a:t>CLICK TO EDIT MASTER TITLE</a:t>
            </a:r>
          </a:p>
        </p:txBody>
      </p:sp>
      <p:sp>
        <p:nvSpPr>
          <p:cNvPr id="15" name="Content Placeholder">
            <a:extLst>
              <a:ext uri="{FF2B5EF4-FFF2-40B4-BE49-F238E27FC236}">
                <a16:creationId xmlns:a16="http://schemas.microsoft.com/office/drawing/2014/main" id="{2DDEEFA3-73B7-4713-88AD-84E746EA31A7}"/>
              </a:ext>
            </a:extLst>
          </p:cNvPr>
          <p:cNvSpPr>
            <a:spLocks noGrp="1"/>
          </p:cNvSpPr>
          <p:nvPr>
            <p:ph sz="quarter" idx="20"/>
          </p:nvPr>
        </p:nvSpPr>
        <p:spPr>
          <a:xfrm>
            <a:off x="269877" y="2740082"/>
            <a:ext cx="3855558" cy="2065247"/>
          </a:xfrm>
        </p:spPr>
        <p:txBody>
          <a:bodyPr/>
          <a:lstStyle>
            <a:lvl1pPr>
              <a:defRPr sz="1400">
                <a:solidFill>
                  <a:srgbClr val="FFFFFF"/>
                </a:solidFill>
              </a:defRPr>
            </a:lvl1pPr>
            <a:lvl2pPr>
              <a:defRPr sz="1400">
                <a:solidFill>
                  <a:srgbClr val="FFFFFF"/>
                </a:solidFill>
              </a:defRPr>
            </a:lvl2pPr>
            <a:lvl3pPr>
              <a:defRPr sz="1400">
                <a:solidFill>
                  <a:srgbClr val="FFFFFF"/>
                </a:solidFill>
              </a:defRPr>
            </a:lvl3pPr>
            <a:lvl4pPr>
              <a:defRPr sz="1400">
                <a:solidFill>
                  <a:srgbClr val="FFFFFF"/>
                </a:solidFill>
              </a:defRPr>
            </a:lvl4pPr>
            <a:lvl5pPr>
              <a:defRPr sz="1400">
                <a:solidFill>
                  <a:srgbClr val="FFFFFF"/>
                </a:solidFill>
              </a:defRPr>
            </a:lvl5pPr>
            <a:lvl6pPr>
              <a:defRPr sz="1400">
                <a:solidFill>
                  <a:srgbClr val="FFFFFF"/>
                </a:solidFill>
              </a:defRPr>
            </a:lvl6pPr>
            <a:lvl7pPr>
              <a:defRPr sz="1400">
                <a:solidFill>
                  <a:srgbClr val="FFFFFF"/>
                </a:solidFill>
              </a:defRPr>
            </a:lvl7pPr>
            <a:lvl8pPr>
              <a:buAutoNum type="alphaUcPeriod"/>
              <a:defRPr sz="1400">
                <a:solidFill>
                  <a:srgbClr val="FFFFFF"/>
                </a:solidFill>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Notes">
            <a:extLst>
              <a:ext uri="{FF2B5EF4-FFF2-40B4-BE49-F238E27FC236}">
                <a16:creationId xmlns:a16="http://schemas.microsoft.com/office/drawing/2014/main" id="{F6EBB713-FF41-4484-AB46-E4DD44A440DC}"/>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bg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3" name="Tracker">
            <a:extLst>
              <a:ext uri="{FF2B5EF4-FFF2-40B4-BE49-F238E27FC236}">
                <a16:creationId xmlns:a16="http://schemas.microsoft.com/office/drawing/2014/main" id="{0663945C-07A1-4BE3-AE03-C62B5DC90954}"/>
              </a:ext>
            </a:extLst>
          </p:cNvPr>
          <p:cNvSpPr>
            <a:spLocks noGrp="1"/>
          </p:cNvSpPr>
          <p:nvPr>
            <p:ph type="body" sz="quarter" idx="19" hasCustomPrompt="1"/>
          </p:nvPr>
        </p:nvSpPr>
        <p:spPr>
          <a:xfrm>
            <a:off x="7221537" y="6491731"/>
            <a:ext cx="1966707" cy="106116"/>
          </a:xfrm>
        </p:spPr>
        <p:txBody>
          <a:bodyPr rIns="0" anchor="b"/>
          <a:lstStyle>
            <a:lvl1pPr algn="r">
              <a:spcAft>
                <a:spcPts val="0"/>
              </a:spcAft>
              <a:defRPr sz="650">
                <a:solidFill>
                  <a:srgbClr val="FFFFFF"/>
                </a:solidFill>
              </a:defRPr>
            </a:lvl1pPr>
            <a:lvl2pPr>
              <a:defRPr sz="650"/>
            </a:lvl2pPr>
            <a:lvl3pPr>
              <a:defRPr sz="650"/>
            </a:lvl3pPr>
            <a:lvl4pPr>
              <a:defRPr sz="650"/>
            </a:lvl4pPr>
            <a:lvl5pPr>
              <a:defRPr sz="650"/>
            </a:lvl5pPr>
          </a:lstStyle>
          <a:p>
            <a:pPr lvl="0"/>
            <a:r>
              <a:rPr lang="en-GB"/>
              <a:t>Tracker</a:t>
            </a:r>
          </a:p>
        </p:txBody>
      </p:sp>
      <p:sp>
        <p:nvSpPr>
          <p:cNvPr id="19" name="Case">
            <a:extLst>
              <a:ext uri="{FF2B5EF4-FFF2-40B4-BE49-F238E27FC236}">
                <a16:creationId xmlns:a16="http://schemas.microsoft.com/office/drawing/2014/main" id="{7AA90BC2-6F20-46DE-9028-4D06826A69FC}"/>
              </a:ext>
            </a:extLst>
          </p:cNvPr>
          <p:cNvSpPr>
            <a:spLocks noGrp="1"/>
          </p:cNvSpPr>
          <p:nvPr>
            <p:ph type="body" sz="quarter" idx="17" hasCustomPrompt="1"/>
          </p:nvPr>
        </p:nvSpPr>
        <p:spPr>
          <a:xfrm>
            <a:off x="284051" y="276200"/>
            <a:ext cx="900000" cy="269875"/>
          </a:xfrm>
          <a:blipFill>
            <a:blip r:embed="rId2"/>
            <a:stretch>
              <a:fillRect/>
            </a:stretch>
          </a:blipFill>
        </p:spPr>
        <p:txBody>
          <a:bodyPr rIns="0" anchor="ctr" anchorCtr="0"/>
          <a:lstStyle>
            <a:lvl1pPr algn="l">
              <a:defRPr sz="100" b="1"/>
            </a:lvl1pPr>
            <a:lvl2pPr>
              <a:defRPr b="1"/>
            </a:lvl2pPr>
            <a:lvl3pPr>
              <a:defRPr b="1"/>
            </a:lvl3pPr>
            <a:lvl4pPr>
              <a:defRPr b="1"/>
            </a:lvl4pPr>
            <a:lvl5pPr>
              <a:defRPr b="1"/>
            </a:lvl5pPr>
          </a:lstStyle>
          <a:p>
            <a:pPr lvl="0"/>
            <a:r>
              <a:rPr lang="en-GB"/>
              <a:t>.</a:t>
            </a:r>
          </a:p>
        </p:txBody>
      </p:sp>
      <p:sp>
        <p:nvSpPr>
          <p:cNvPr id="14" name="Logo">
            <a:extLst>
              <a:ext uri="{FF2B5EF4-FFF2-40B4-BE49-F238E27FC236}">
                <a16:creationId xmlns:a16="http://schemas.microsoft.com/office/drawing/2014/main" id="{0CCBDCEE-CA39-4882-B9E1-3A14FEFED0F1}"/>
              </a:ext>
            </a:extLst>
          </p:cNvPr>
          <p:cNvSpPr>
            <a:spLocks noGrp="1"/>
          </p:cNvSpPr>
          <p:nvPr>
            <p:ph type="body" sz="quarter" idx="18" hasCustomPrompt="1"/>
          </p:nvPr>
        </p:nvSpPr>
        <p:spPr>
          <a:xfrm>
            <a:off x="9479736" y="303045"/>
            <a:ext cx="154800" cy="349200"/>
          </a:xfrm>
          <a:blipFill>
            <a:blip r:embed="rId3"/>
            <a:stretch>
              <a:fillRect/>
            </a:stretch>
          </a:blipFill>
        </p:spPr>
        <p:txBody>
          <a:bodyPr/>
          <a:lstStyle>
            <a:lvl1pPr>
              <a:defRPr sz="100">
                <a:noFill/>
              </a:defRPr>
            </a:lvl1pPr>
          </a:lstStyle>
          <a:p>
            <a:pPr lvl="0"/>
            <a:r>
              <a:rPr lang="en-GB"/>
              <a:t>.</a:t>
            </a:r>
          </a:p>
        </p:txBody>
      </p:sp>
      <p:sp>
        <p:nvSpPr>
          <p:cNvPr id="12" name="Case data">
            <a:extLst>
              <a:ext uri="{FF2B5EF4-FFF2-40B4-BE49-F238E27FC236}">
                <a16:creationId xmlns:a16="http://schemas.microsoft.com/office/drawing/2014/main" id="{AC198211-3431-4E8B-B6DA-E674381C3A43}"/>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en-GB" sz="800" b="1">
                <a:solidFill>
                  <a:schemeClr val="tx1"/>
                </a:solidFill>
                <a:sym typeface="Arial" panose="020B0604020202020204" pitchFamily="34" charset="0"/>
              </a:rPr>
              <a:t>CASE DATA</a:t>
            </a:r>
          </a:p>
          <a:p>
            <a:pPr>
              <a:buNone/>
            </a:pPr>
            <a:r>
              <a:rPr lang="en-GB" sz="800">
                <a:solidFill>
                  <a:schemeClr val="tx1"/>
                </a:solidFill>
                <a:sym typeface="Arial" panose="020B0604020202020204" pitchFamily="34" charset="0"/>
              </a:rPr>
              <a:t>For internal use only – delete before sharing</a:t>
            </a:r>
          </a:p>
          <a:p>
            <a:pPr>
              <a:buNone/>
            </a:pPr>
            <a:endParaRPr lang="en-GB" sz="800">
              <a:solidFill>
                <a:schemeClr val="tx1"/>
              </a:solidFill>
              <a:sym typeface="Arial" panose="020B0604020202020204" pitchFamily="34" charset="0"/>
            </a:endParaRPr>
          </a:p>
          <a:p>
            <a:pPr>
              <a:buNone/>
            </a:pPr>
            <a:r>
              <a:rPr lang="en-GB" sz="800">
                <a:solidFill>
                  <a:schemeClr val="tx1"/>
                </a:solidFill>
                <a:sym typeface="Arial" panose="020B0604020202020204" pitchFamily="34" charset="0"/>
              </a:rPr>
              <a:t>Client name: xx</a:t>
            </a:r>
          </a:p>
          <a:p>
            <a:pPr>
              <a:buNone/>
            </a:pPr>
            <a:r>
              <a:rPr lang="en-GB" sz="800">
                <a:solidFill>
                  <a:schemeClr val="tx1"/>
                </a:solidFill>
                <a:sym typeface="Arial" panose="020B0604020202020204" pitchFamily="34" charset="0"/>
              </a:rPr>
              <a:t>Maconomy project name: xx</a:t>
            </a:r>
          </a:p>
          <a:p>
            <a:pPr>
              <a:buNone/>
            </a:pPr>
            <a:r>
              <a:rPr lang="en-GB" sz="800">
                <a:solidFill>
                  <a:schemeClr val="tx1"/>
                </a:solidFill>
                <a:sym typeface="Arial" panose="020B0604020202020204" pitchFamily="34" charset="0"/>
              </a:rPr>
              <a:t>Industry: xx</a:t>
            </a:r>
          </a:p>
          <a:p>
            <a:pPr>
              <a:buNone/>
            </a:pPr>
            <a:r>
              <a:rPr lang="en-GB" sz="800">
                <a:solidFill>
                  <a:schemeClr val="tx1"/>
                </a:solidFill>
                <a:sym typeface="Arial" panose="020B0604020202020204" pitchFamily="34" charset="0"/>
              </a:rPr>
              <a:t>Keywords: xx, xx, xx</a:t>
            </a:r>
          </a:p>
          <a:p>
            <a:pPr>
              <a:buNone/>
            </a:pPr>
            <a:r>
              <a:rPr lang="en-GB" sz="800">
                <a:solidFill>
                  <a:schemeClr val="tx1"/>
                </a:solidFill>
                <a:sym typeface="Arial" panose="020B0604020202020204" pitchFamily="34" charset="0"/>
              </a:rPr>
              <a:t>Year(s): 20xx – 20xx</a:t>
            </a:r>
          </a:p>
          <a:p>
            <a:pPr>
              <a:buNone/>
            </a:pPr>
            <a:r>
              <a:rPr lang="en-GB" sz="800">
                <a:solidFill>
                  <a:schemeClr val="tx1"/>
                </a:solidFill>
                <a:sym typeface="Arial" panose="020B0604020202020204" pitchFamily="34" charset="0"/>
              </a:rPr>
              <a:t>Implement contact person: xx</a:t>
            </a:r>
          </a:p>
          <a:p>
            <a:pPr>
              <a:buNone/>
            </a:pPr>
            <a:endParaRPr lang="en-GB" sz="800">
              <a:solidFill>
                <a:schemeClr val="tx1"/>
              </a:solidFill>
              <a:sym typeface="Arial" panose="020B0604020202020204" pitchFamily="34" charset="0"/>
            </a:endParaRPr>
          </a:p>
        </p:txBody>
      </p:sp>
      <p:sp>
        <p:nvSpPr>
          <p:cNvPr id="16" name="Tracker">
            <a:extLst>
              <a:ext uri="{FF2B5EF4-FFF2-40B4-BE49-F238E27FC236}">
                <a16:creationId xmlns:a16="http://schemas.microsoft.com/office/drawing/2014/main" id="{3B8B5165-353B-4C28-8457-7E5C268DB373}"/>
              </a:ext>
            </a:extLst>
          </p:cNvPr>
          <p:cNvSpPr>
            <a:spLocks noGrp="1"/>
          </p:cNvSpPr>
          <p:nvPr>
            <p:ph type="body" sz="quarter" idx="21" hasCustomPrompt="1"/>
          </p:nvPr>
        </p:nvSpPr>
        <p:spPr>
          <a:xfrm>
            <a:off x="9378938" y="6491731"/>
            <a:ext cx="255600" cy="106116"/>
          </a:xfrm>
        </p:spPr>
        <p:txBody>
          <a:bodyPr rIns="0" anchor="b"/>
          <a:lstStyle>
            <a:lvl1pPr algn="r">
              <a:spcAft>
                <a:spcPts val="0"/>
              </a:spcAft>
              <a:defRPr sz="650">
                <a:solidFill>
                  <a:srgbClr val="FFFFFF"/>
                </a:solidFill>
              </a:defRPr>
            </a:lvl1pPr>
            <a:lvl2pPr>
              <a:defRPr sz="650"/>
            </a:lvl2pPr>
            <a:lvl3pPr>
              <a:defRPr sz="650"/>
            </a:lvl3pPr>
            <a:lvl4pPr>
              <a:defRPr sz="650"/>
            </a:lvl4pPr>
            <a:lvl5pPr>
              <a:defRPr sz="650"/>
            </a:lvl5pPr>
          </a:lstStyle>
          <a:p>
            <a:fld id="{24C8C45C-947F-4981-8B3F-4F32E973C901}" type="slidenum">
              <a:rPr lang="en-GB" sz="650" smtClean="0">
                <a:solidFill>
                  <a:schemeClr val="bg1"/>
                </a:solidFill>
              </a:rPr>
              <a:pPr/>
              <a:t>‹#›</a:t>
            </a:fld>
            <a:endParaRPr lang="en-GB" sz="650">
              <a:solidFill>
                <a:schemeClr val="bg1"/>
              </a:solidFill>
            </a:endParaRPr>
          </a:p>
        </p:txBody>
      </p:sp>
    </p:spTree>
    <p:extLst>
      <p:ext uri="{BB962C8B-B14F-4D97-AF65-F5344CB8AC3E}">
        <p14:creationId xmlns:p14="http://schemas.microsoft.com/office/powerpoint/2010/main" val="55816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eference Case - Long Text A">
    <p:bg>
      <p:bgPr>
        <a:solidFill>
          <a:srgbClr val="EEEBE8"/>
        </a:solidFill>
        <a:effectLst/>
      </p:bgPr>
    </p:bg>
    <p:spTree>
      <p:nvGrpSpPr>
        <p:cNvPr id="1" name=""/>
        <p:cNvGrpSpPr/>
        <p:nvPr/>
      </p:nvGrpSpPr>
      <p:grpSpPr>
        <a:xfrm>
          <a:off x="0" y="0"/>
          <a:ext cx="0" cy="0"/>
          <a:chOff x="0" y="0"/>
          <a:chExt cx="0" cy="0"/>
        </a:xfrm>
      </p:grpSpPr>
      <p:sp>
        <p:nvSpPr>
          <p:cNvPr id="13" name="Colour block yellow">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E4B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en-GB">
              <a:solidFill>
                <a:srgbClr val="30373B"/>
              </a:solidFill>
              <a:sym typeface="Arial" panose="020B0604020202020204" pitchFamily="34" charset="0"/>
            </a:endParaRPr>
          </a:p>
        </p:txBody>
      </p:sp>
      <p:sp>
        <p:nvSpPr>
          <p:cNvPr id="10" name="Picture">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1" name="Title">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noAutofit/>
          </a:bodyPr>
          <a:lstStyle>
            <a:lvl1pPr>
              <a:defRPr sz="3200">
                <a:solidFill>
                  <a:srgbClr val="1F2023"/>
                </a:solidFill>
              </a:defRPr>
            </a:lvl1pPr>
          </a:lstStyle>
          <a:p>
            <a:r>
              <a:rPr lang="en-US"/>
              <a:t>Click to edit Master title style</a:t>
            </a:r>
            <a:endParaRPr lang="en-GB"/>
          </a:p>
        </p:txBody>
      </p:sp>
      <p:sp>
        <p:nvSpPr>
          <p:cNvPr id="20" name="Content Placeholder 1">
            <a:extLst>
              <a:ext uri="{FF2B5EF4-FFF2-40B4-BE49-F238E27FC236}">
                <a16:creationId xmlns:a16="http://schemas.microsoft.com/office/drawing/2014/main" id="{EAF7AE59-E678-449D-A5AB-4D0B0F77DAE5}"/>
              </a:ext>
            </a:extLst>
          </p:cNvPr>
          <p:cNvSpPr>
            <a:spLocks noGrp="1"/>
          </p:cNvSpPr>
          <p:nvPr>
            <p:ph sz="quarter" idx="16"/>
          </p:nvPr>
        </p:nvSpPr>
        <p:spPr>
          <a:xfrm>
            <a:off x="269877" y="4615492"/>
            <a:ext cx="4320000" cy="172800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2" name="Divider line 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F086E222-A2FD-4078-843A-2259D8583D93}"/>
              </a:ext>
            </a:extLst>
          </p:cNvPr>
          <p:cNvSpPr>
            <a:spLocks noGrp="1"/>
          </p:cNvSpPr>
          <p:nvPr>
            <p:ph sz="quarter" idx="21"/>
          </p:nvPr>
        </p:nvSpPr>
        <p:spPr>
          <a:xfrm>
            <a:off x="5319135" y="4615492"/>
            <a:ext cx="4320000" cy="172800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3" name="Divider line 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he project">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en-GB" sz="1200" b="1">
                <a:solidFill>
                  <a:srgbClr val="30373B"/>
                </a:solidFill>
              </a:rPr>
              <a:t>THE PROJECT</a:t>
            </a:r>
            <a:endParaRPr lang="en-GB">
              <a:solidFill>
                <a:srgbClr val="30373B"/>
              </a:solidFill>
            </a:endParaRPr>
          </a:p>
        </p:txBody>
      </p:sp>
      <p:sp>
        <p:nvSpPr>
          <p:cNvPr id="25" name="The impact">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en-GB" sz="1200" b="1">
                <a:solidFill>
                  <a:srgbClr val="30373B"/>
                </a:solidFill>
              </a:rPr>
              <a:t>THE IMPACT</a:t>
            </a:r>
            <a:endParaRPr lang="en-GB">
              <a:solidFill>
                <a:srgbClr val="30373B"/>
              </a:solidFill>
            </a:endParaRPr>
          </a:p>
        </p:txBody>
      </p:sp>
      <p:sp>
        <p:nvSpPr>
          <p:cNvPr id="38" name="Case">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en-GB">
                <a:solidFill>
                  <a:srgbClr val="1F2023"/>
                </a:solidFill>
              </a:rPr>
              <a:t>CASE</a:t>
            </a:r>
          </a:p>
        </p:txBody>
      </p:sp>
      <p:sp>
        <p:nvSpPr>
          <p:cNvPr id="16" name="Notes">
            <a:extLst>
              <a:ext uri="{FF2B5EF4-FFF2-40B4-BE49-F238E27FC236}">
                <a16:creationId xmlns:a16="http://schemas.microsoft.com/office/drawing/2014/main" id="{910D0A33-BFA6-43ED-A30B-68BEEEAD47F9}"/>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9" name="Tracker">
            <a:extLst>
              <a:ext uri="{FF2B5EF4-FFF2-40B4-BE49-F238E27FC236}">
                <a16:creationId xmlns:a16="http://schemas.microsoft.com/office/drawing/2014/main" id="{95FD5446-6139-42B3-9E84-3F4D291BA74E}"/>
              </a:ext>
            </a:extLst>
          </p:cNvPr>
          <p:cNvSpPr>
            <a:spLocks noGrp="1"/>
          </p:cNvSpPr>
          <p:nvPr>
            <p:ph type="body" sz="quarter" idx="20"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5" name="Logo">
            <a:extLst>
              <a:ext uri="{FF2B5EF4-FFF2-40B4-BE49-F238E27FC236}">
                <a16:creationId xmlns:a16="http://schemas.microsoft.com/office/drawing/2014/main" id="{6C3A81CD-98C4-40D0-925F-38C84421F367}"/>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6" name="Case data">
            <a:extLst>
              <a:ext uri="{FF2B5EF4-FFF2-40B4-BE49-F238E27FC236}">
                <a16:creationId xmlns:a16="http://schemas.microsoft.com/office/drawing/2014/main" id="{16A48703-285C-4AA2-973D-4D322ECF524F}"/>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en-GB" sz="800" b="1">
                <a:solidFill>
                  <a:schemeClr val="tx1"/>
                </a:solidFill>
                <a:sym typeface="Arial" panose="020B0604020202020204" pitchFamily="34" charset="0"/>
              </a:rPr>
              <a:t>CASE DATA</a:t>
            </a:r>
          </a:p>
          <a:p>
            <a:pPr>
              <a:buNone/>
            </a:pPr>
            <a:r>
              <a:rPr lang="en-GB" sz="800">
                <a:solidFill>
                  <a:schemeClr val="tx1"/>
                </a:solidFill>
                <a:sym typeface="Arial" panose="020B0604020202020204" pitchFamily="34" charset="0"/>
              </a:rPr>
              <a:t>For internal use only – delete before sharing</a:t>
            </a:r>
          </a:p>
          <a:p>
            <a:pPr>
              <a:buNone/>
            </a:pPr>
            <a:endParaRPr lang="en-GB" sz="800">
              <a:solidFill>
                <a:schemeClr val="tx1"/>
              </a:solidFill>
              <a:sym typeface="Arial" panose="020B0604020202020204" pitchFamily="34" charset="0"/>
            </a:endParaRPr>
          </a:p>
          <a:p>
            <a:pPr>
              <a:buNone/>
            </a:pPr>
            <a:r>
              <a:rPr lang="en-GB" sz="800">
                <a:solidFill>
                  <a:schemeClr val="tx1"/>
                </a:solidFill>
                <a:sym typeface="Arial" panose="020B0604020202020204" pitchFamily="34" charset="0"/>
              </a:rPr>
              <a:t>Client name: xx</a:t>
            </a:r>
          </a:p>
          <a:p>
            <a:pPr>
              <a:buNone/>
            </a:pPr>
            <a:r>
              <a:rPr lang="en-GB" sz="800">
                <a:solidFill>
                  <a:schemeClr val="tx1"/>
                </a:solidFill>
                <a:sym typeface="Arial" panose="020B0604020202020204" pitchFamily="34" charset="0"/>
              </a:rPr>
              <a:t>Maconomy project name: xx</a:t>
            </a:r>
          </a:p>
          <a:p>
            <a:pPr>
              <a:buNone/>
            </a:pPr>
            <a:r>
              <a:rPr lang="en-GB" sz="800">
                <a:solidFill>
                  <a:schemeClr val="tx1"/>
                </a:solidFill>
                <a:sym typeface="Arial" panose="020B0604020202020204" pitchFamily="34" charset="0"/>
              </a:rPr>
              <a:t>Industry: xx</a:t>
            </a:r>
          </a:p>
          <a:p>
            <a:pPr>
              <a:buNone/>
            </a:pPr>
            <a:r>
              <a:rPr lang="en-GB" sz="800">
                <a:solidFill>
                  <a:schemeClr val="tx1"/>
                </a:solidFill>
                <a:sym typeface="Arial" panose="020B0604020202020204" pitchFamily="34" charset="0"/>
              </a:rPr>
              <a:t>Keywords: xx, xx, xx</a:t>
            </a:r>
          </a:p>
          <a:p>
            <a:pPr>
              <a:buNone/>
            </a:pPr>
            <a:r>
              <a:rPr lang="en-GB" sz="800">
                <a:solidFill>
                  <a:schemeClr val="tx1"/>
                </a:solidFill>
                <a:sym typeface="Arial" panose="020B0604020202020204" pitchFamily="34" charset="0"/>
              </a:rPr>
              <a:t>Year(s): 20xx – 20xx</a:t>
            </a:r>
          </a:p>
          <a:p>
            <a:pPr>
              <a:buNone/>
            </a:pPr>
            <a:r>
              <a:rPr lang="en-GB" sz="800">
                <a:solidFill>
                  <a:schemeClr val="tx1"/>
                </a:solidFill>
                <a:sym typeface="Arial" panose="020B0604020202020204" pitchFamily="34" charset="0"/>
              </a:rPr>
              <a:t>Implement contact person: xx</a:t>
            </a:r>
          </a:p>
          <a:p>
            <a:pPr>
              <a:buNone/>
            </a:pPr>
            <a:endParaRPr lang="en-GB" sz="800">
              <a:solidFill>
                <a:schemeClr val="tx1"/>
              </a:solidFill>
              <a:sym typeface="Arial" panose="020B0604020202020204" pitchFamily="34" charset="0"/>
            </a:endParaRPr>
          </a:p>
        </p:txBody>
      </p:sp>
    </p:spTree>
    <p:extLst>
      <p:ext uri="{BB962C8B-B14F-4D97-AF65-F5344CB8AC3E}">
        <p14:creationId xmlns:p14="http://schemas.microsoft.com/office/powerpoint/2010/main" val="3041104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eference Case - Long Text B">
    <p:bg>
      <p:bgPr>
        <a:solidFill>
          <a:srgbClr val="EEEBE8"/>
        </a:solidFill>
        <a:effectLst/>
      </p:bgPr>
    </p:bg>
    <p:spTree>
      <p:nvGrpSpPr>
        <p:cNvPr id="1" name=""/>
        <p:cNvGrpSpPr/>
        <p:nvPr/>
      </p:nvGrpSpPr>
      <p:grpSpPr>
        <a:xfrm>
          <a:off x="0" y="0"/>
          <a:ext cx="0" cy="0"/>
          <a:chOff x="0" y="0"/>
          <a:chExt cx="0" cy="0"/>
        </a:xfrm>
      </p:grpSpPr>
      <p:sp>
        <p:nvSpPr>
          <p:cNvPr id="13" name="Colour block green">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None/>
              <a:defRPr sz="1100">
                <a:solidFill>
                  <a:srgbClr val="3037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endParaRPr lang="en-GB">
              <a:sym typeface="Arial" panose="020B0604020202020204" pitchFamily="34" charset="0"/>
            </a:endParaRPr>
          </a:p>
        </p:txBody>
      </p:sp>
      <p:sp>
        <p:nvSpPr>
          <p:cNvPr id="10" name="Picture">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1" name="Title">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noAutofit/>
          </a:bodyPr>
          <a:lstStyle>
            <a:lvl1pPr>
              <a:defRPr sz="3200">
                <a:solidFill>
                  <a:srgbClr val="1F2023"/>
                </a:solidFill>
              </a:defRPr>
            </a:lvl1pPr>
          </a:lstStyle>
          <a:p>
            <a:r>
              <a:rPr lang="en-US"/>
              <a:t>Click to edit Master title style</a:t>
            </a:r>
            <a:endParaRPr lang="en-GB"/>
          </a:p>
        </p:txBody>
      </p:sp>
      <p:sp>
        <p:nvSpPr>
          <p:cNvPr id="20" name="Content Placeholder 1">
            <a:extLst>
              <a:ext uri="{FF2B5EF4-FFF2-40B4-BE49-F238E27FC236}">
                <a16:creationId xmlns:a16="http://schemas.microsoft.com/office/drawing/2014/main" id="{EAF7AE59-E678-449D-A5AB-4D0B0F77DAE5}"/>
              </a:ext>
            </a:extLst>
          </p:cNvPr>
          <p:cNvSpPr>
            <a:spLocks noGrp="1"/>
          </p:cNvSpPr>
          <p:nvPr>
            <p:ph sz="quarter" idx="16"/>
          </p:nvPr>
        </p:nvSpPr>
        <p:spPr>
          <a:xfrm>
            <a:off x="269877" y="4615492"/>
            <a:ext cx="4320000" cy="172800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2" name="Divider line 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F086E222-A2FD-4078-843A-2259D8583D93}"/>
              </a:ext>
            </a:extLst>
          </p:cNvPr>
          <p:cNvSpPr>
            <a:spLocks noGrp="1"/>
          </p:cNvSpPr>
          <p:nvPr>
            <p:ph sz="quarter" idx="21"/>
          </p:nvPr>
        </p:nvSpPr>
        <p:spPr>
          <a:xfrm>
            <a:off x="5319135" y="4615492"/>
            <a:ext cx="4320000" cy="172800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3" name="Divider line 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he project">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en-GB" sz="1200" b="1">
                <a:solidFill>
                  <a:srgbClr val="30373B"/>
                </a:solidFill>
              </a:rPr>
              <a:t>THE PROJECT</a:t>
            </a:r>
            <a:endParaRPr lang="en-GB">
              <a:solidFill>
                <a:srgbClr val="30373B"/>
              </a:solidFill>
            </a:endParaRPr>
          </a:p>
        </p:txBody>
      </p:sp>
      <p:sp>
        <p:nvSpPr>
          <p:cNvPr id="25" name="The impact">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en-GB" sz="1200" b="1">
                <a:solidFill>
                  <a:srgbClr val="30373B"/>
                </a:solidFill>
              </a:rPr>
              <a:t>THE IMPACT</a:t>
            </a:r>
            <a:endParaRPr lang="en-GB">
              <a:solidFill>
                <a:srgbClr val="30373B"/>
              </a:solidFill>
            </a:endParaRPr>
          </a:p>
        </p:txBody>
      </p:sp>
      <p:sp>
        <p:nvSpPr>
          <p:cNvPr id="38" name="Case">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en-GB">
                <a:solidFill>
                  <a:srgbClr val="1F2023"/>
                </a:solidFill>
              </a:rPr>
              <a:t>CASE</a:t>
            </a:r>
          </a:p>
        </p:txBody>
      </p:sp>
      <p:sp>
        <p:nvSpPr>
          <p:cNvPr id="16" name="Notes">
            <a:extLst>
              <a:ext uri="{FF2B5EF4-FFF2-40B4-BE49-F238E27FC236}">
                <a16:creationId xmlns:a16="http://schemas.microsoft.com/office/drawing/2014/main" id="{910D0A33-BFA6-43ED-A30B-68BEEEAD47F9}"/>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9" name="Tracker">
            <a:extLst>
              <a:ext uri="{FF2B5EF4-FFF2-40B4-BE49-F238E27FC236}">
                <a16:creationId xmlns:a16="http://schemas.microsoft.com/office/drawing/2014/main" id="{95FD5446-6139-42B3-9E84-3F4D291BA74E}"/>
              </a:ext>
            </a:extLst>
          </p:cNvPr>
          <p:cNvSpPr>
            <a:spLocks noGrp="1"/>
          </p:cNvSpPr>
          <p:nvPr>
            <p:ph type="body" sz="quarter" idx="20"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5" name="Logo">
            <a:extLst>
              <a:ext uri="{FF2B5EF4-FFF2-40B4-BE49-F238E27FC236}">
                <a16:creationId xmlns:a16="http://schemas.microsoft.com/office/drawing/2014/main" id="{6C3A81CD-98C4-40D0-925F-38C84421F367}"/>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6" name="Case data">
            <a:extLst>
              <a:ext uri="{FF2B5EF4-FFF2-40B4-BE49-F238E27FC236}">
                <a16:creationId xmlns:a16="http://schemas.microsoft.com/office/drawing/2014/main" id="{16A48703-285C-4AA2-973D-4D322ECF524F}"/>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en-GB" sz="800" b="1">
                <a:solidFill>
                  <a:schemeClr val="tx1"/>
                </a:solidFill>
                <a:sym typeface="Arial" panose="020B0604020202020204" pitchFamily="34" charset="0"/>
              </a:rPr>
              <a:t>CASE DATA</a:t>
            </a:r>
          </a:p>
          <a:p>
            <a:pPr>
              <a:buNone/>
            </a:pPr>
            <a:r>
              <a:rPr lang="en-GB" sz="800">
                <a:solidFill>
                  <a:schemeClr val="tx1"/>
                </a:solidFill>
                <a:sym typeface="Arial" panose="020B0604020202020204" pitchFamily="34" charset="0"/>
              </a:rPr>
              <a:t>For internal use only – delete before sharing</a:t>
            </a:r>
          </a:p>
          <a:p>
            <a:pPr>
              <a:buNone/>
            </a:pPr>
            <a:endParaRPr lang="en-GB" sz="800">
              <a:solidFill>
                <a:schemeClr val="tx1"/>
              </a:solidFill>
              <a:sym typeface="Arial" panose="020B0604020202020204" pitchFamily="34" charset="0"/>
            </a:endParaRPr>
          </a:p>
          <a:p>
            <a:pPr>
              <a:buNone/>
            </a:pPr>
            <a:r>
              <a:rPr lang="en-GB" sz="800">
                <a:solidFill>
                  <a:schemeClr val="tx1"/>
                </a:solidFill>
                <a:sym typeface="Arial" panose="020B0604020202020204" pitchFamily="34" charset="0"/>
              </a:rPr>
              <a:t>Client name: xx</a:t>
            </a:r>
          </a:p>
          <a:p>
            <a:pPr>
              <a:buNone/>
            </a:pPr>
            <a:r>
              <a:rPr lang="en-GB" sz="800">
                <a:solidFill>
                  <a:schemeClr val="tx1"/>
                </a:solidFill>
                <a:sym typeface="Arial" panose="020B0604020202020204" pitchFamily="34" charset="0"/>
              </a:rPr>
              <a:t>Maconomy project name: xx</a:t>
            </a:r>
          </a:p>
          <a:p>
            <a:pPr>
              <a:buNone/>
            </a:pPr>
            <a:r>
              <a:rPr lang="en-GB" sz="800">
                <a:solidFill>
                  <a:schemeClr val="tx1"/>
                </a:solidFill>
                <a:sym typeface="Arial" panose="020B0604020202020204" pitchFamily="34" charset="0"/>
              </a:rPr>
              <a:t>Industry: xx</a:t>
            </a:r>
          </a:p>
          <a:p>
            <a:pPr>
              <a:buNone/>
            </a:pPr>
            <a:r>
              <a:rPr lang="en-GB" sz="800">
                <a:solidFill>
                  <a:schemeClr val="tx1"/>
                </a:solidFill>
                <a:sym typeface="Arial" panose="020B0604020202020204" pitchFamily="34" charset="0"/>
              </a:rPr>
              <a:t>Keywords: xx, xx, xx</a:t>
            </a:r>
          </a:p>
          <a:p>
            <a:pPr>
              <a:buNone/>
            </a:pPr>
            <a:r>
              <a:rPr lang="en-GB" sz="800">
                <a:solidFill>
                  <a:schemeClr val="tx1"/>
                </a:solidFill>
                <a:sym typeface="Arial" panose="020B0604020202020204" pitchFamily="34" charset="0"/>
              </a:rPr>
              <a:t>Year(s): 20xx – 20xx</a:t>
            </a:r>
          </a:p>
          <a:p>
            <a:pPr>
              <a:buNone/>
            </a:pPr>
            <a:r>
              <a:rPr lang="en-GB" sz="800">
                <a:solidFill>
                  <a:schemeClr val="tx1"/>
                </a:solidFill>
                <a:sym typeface="Arial" panose="020B0604020202020204" pitchFamily="34" charset="0"/>
              </a:rPr>
              <a:t>Implement contact person: xx</a:t>
            </a:r>
          </a:p>
          <a:p>
            <a:pPr>
              <a:buNone/>
            </a:pPr>
            <a:endParaRPr lang="en-GB" sz="800">
              <a:solidFill>
                <a:schemeClr val="tx1"/>
              </a:solidFill>
              <a:sym typeface="Arial" panose="020B0604020202020204" pitchFamily="34" charset="0"/>
            </a:endParaRPr>
          </a:p>
        </p:txBody>
      </p:sp>
    </p:spTree>
    <p:extLst>
      <p:ext uri="{BB962C8B-B14F-4D97-AF65-F5344CB8AC3E}">
        <p14:creationId xmlns:p14="http://schemas.microsoft.com/office/powerpoint/2010/main" val="205868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eference Case - Long Text C">
    <p:bg>
      <p:bgPr>
        <a:solidFill>
          <a:srgbClr val="EEEBE8"/>
        </a:solidFill>
        <a:effectLst/>
      </p:bgPr>
    </p:bg>
    <p:spTree>
      <p:nvGrpSpPr>
        <p:cNvPr id="1" name=""/>
        <p:cNvGrpSpPr/>
        <p:nvPr/>
      </p:nvGrpSpPr>
      <p:grpSpPr>
        <a:xfrm>
          <a:off x="0" y="0"/>
          <a:ext cx="0" cy="0"/>
          <a:chOff x="0" y="0"/>
          <a:chExt cx="0" cy="0"/>
        </a:xfrm>
      </p:grpSpPr>
      <p:sp>
        <p:nvSpPr>
          <p:cNvPr id="13" name="Colour block grey">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595F6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None/>
              <a:defRPr sz="1100">
                <a:solidFill>
                  <a:srgbClr val="3037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endParaRPr lang="en-GB">
              <a:sym typeface="Arial" panose="020B0604020202020204" pitchFamily="34" charset="0"/>
            </a:endParaRPr>
          </a:p>
        </p:txBody>
      </p:sp>
      <p:sp>
        <p:nvSpPr>
          <p:cNvPr id="10" name="Picture">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1" name="Title">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noAutofit/>
          </a:bodyPr>
          <a:lstStyle>
            <a:lvl1pPr>
              <a:defRPr sz="3200">
                <a:solidFill>
                  <a:srgbClr val="1F2023"/>
                </a:solidFill>
              </a:defRPr>
            </a:lvl1pPr>
          </a:lstStyle>
          <a:p>
            <a:r>
              <a:rPr lang="en-US"/>
              <a:t>Click to edit Master title style</a:t>
            </a:r>
            <a:endParaRPr lang="en-GB"/>
          </a:p>
        </p:txBody>
      </p:sp>
      <p:sp>
        <p:nvSpPr>
          <p:cNvPr id="20" name="Content Placeholder 1">
            <a:extLst>
              <a:ext uri="{FF2B5EF4-FFF2-40B4-BE49-F238E27FC236}">
                <a16:creationId xmlns:a16="http://schemas.microsoft.com/office/drawing/2014/main" id="{EAF7AE59-E678-449D-A5AB-4D0B0F77DAE5}"/>
              </a:ext>
            </a:extLst>
          </p:cNvPr>
          <p:cNvSpPr>
            <a:spLocks noGrp="1"/>
          </p:cNvSpPr>
          <p:nvPr>
            <p:ph sz="quarter" idx="16"/>
          </p:nvPr>
        </p:nvSpPr>
        <p:spPr>
          <a:xfrm>
            <a:off x="269877" y="4615492"/>
            <a:ext cx="4320000" cy="172800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2" name="Divider line 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F086E222-A2FD-4078-843A-2259D8583D93}"/>
              </a:ext>
            </a:extLst>
          </p:cNvPr>
          <p:cNvSpPr>
            <a:spLocks noGrp="1"/>
          </p:cNvSpPr>
          <p:nvPr>
            <p:ph sz="quarter" idx="21"/>
          </p:nvPr>
        </p:nvSpPr>
        <p:spPr>
          <a:xfrm>
            <a:off x="5319135" y="4615492"/>
            <a:ext cx="4320000" cy="172800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3" name="Divider line 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30373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he project">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en-GB" sz="1200" b="1">
                <a:solidFill>
                  <a:srgbClr val="30373B"/>
                </a:solidFill>
              </a:rPr>
              <a:t>THE PROJECT</a:t>
            </a:r>
            <a:endParaRPr lang="en-GB">
              <a:solidFill>
                <a:srgbClr val="30373B"/>
              </a:solidFill>
            </a:endParaRPr>
          </a:p>
        </p:txBody>
      </p:sp>
      <p:sp>
        <p:nvSpPr>
          <p:cNvPr id="25" name="The impact">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en-GB" sz="1200" b="1">
                <a:solidFill>
                  <a:srgbClr val="30373B"/>
                </a:solidFill>
              </a:rPr>
              <a:t>THE IMPACT</a:t>
            </a:r>
            <a:endParaRPr lang="en-GB">
              <a:solidFill>
                <a:srgbClr val="30373B"/>
              </a:solidFill>
            </a:endParaRPr>
          </a:p>
        </p:txBody>
      </p:sp>
      <p:sp>
        <p:nvSpPr>
          <p:cNvPr id="38" name="Case">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en-GB">
                <a:solidFill>
                  <a:srgbClr val="1F2023"/>
                </a:solidFill>
              </a:rPr>
              <a:t>CASE</a:t>
            </a:r>
          </a:p>
        </p:txBody>
      </p:sp>
      <p:sp>
        <p:nvSpPr>
          <p:cNvPr id="16" name="Notes">
            <a:extLst>
              <a:ext uri="{FF2B5EF4-FFF2-40B4-BE49-F238E27FC236}">
                <a16:creationId xmlns:a16="http://schemas.microsoft.com/office/drawing/2014/main" id="{910D0A33-BFA6-43ED-A30B-68BEEEAD47F9}"/>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9" name="Tracker">
            <a:extLst>
              <a:ext uri="{FF2B5EF4-FFF2-40B4-BE49-F238E27FC236}">
                <a16:creationId xmlns:a16="http://schemas.microsoft.com/office/drawing/2014/main" id="{95FD5446-6139-42B3-9E84-3F4D291BA74E}"/>
              </a:ext>
            </a:extLst>
          </p:cNvPr>
          <p:cNvSpPr>
            <a:spLocks noGrp="1"/>
          </p:cNvSpPr>
          <p:nvPr>
            <p:ph type="body" sz="quarter" idx="20" hasCustomPrompt="1"/>
          </p:nvPr>
        </p:nvSpPr>
        <p:spPr>
          <a:xfrm>
            <a:off x="7221537" y="6491731"/>
            <a:ext cx="1966707"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
        <p:nvSpPr>
          <p:cNvPr id="15" name="Logo">
            <a:extLst>
              <a:ext uri="{FF2B5EF4-FFF2-40B4-BE49-F238E27FC236}">
                <a16:creationId xmlns:a16="http://schemas.microsoft.com/office/drawing/2014/main" id="{6C3A81CD-98C4-40D0-925F-38C84421F367}"/>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lvl="0"/>
            <a:endParaRPr lang="en-GB"/>
          </a:p>
        </p:txBody>
      </p:sp>
      <p:sp>
        <p:nvSpPr>
          <p:cNvPr id="26" name="Case data">
            <a:extLst>
              <a:ext uri="{FF2B5EF4-FFF2-40B4-BE49-F238E27FC236}">
                <a16:creationId xmlns:a16="http://schemas.microsoft.com/office/drawing/2014/main" id="{16A48703-285C-4AA2-973D-4D322ECF524F}"/>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en-GB" sz="800" b="1">
                <a:solidFill>
                  <a:schemeClr val="tx1"/>
                </a:solidFill>
                <a:sym typeface="Arial" panose="020B0604020202020204" pitchFamily="34" charset="0"/>
              </a:rPr>
              <a:t>CASE DATA</a:t>
            </a:r>
          </a:p>
          <a:p>
            <a:pPr>
              <a:buNone/>
            </a:pPr>
            <a:r>
              <a:rPr lang="en-GB" sz="800">
                <a:solidFill>
                  <a:schemeClr val="tx1"/>
                </a:solidFill>
                <a:sym typeface="Arial" panose="020B0604020202020204" pitchFamily="34" charset="0"/>
              </a:rPr>
              <a:t>For internal use only – delete before sharing</a:t>
            </a:r>
          </a:p>
          <a:p>
            <a:pPr>
              <a:buNone/>
            </a:pPr>
            <a:endParaRPr lang="en-GB" sz="800">
              <a:solidFill>
                <a:schemeClr val="tx1"/>
              </a:solidFill>
              <a:sym typeface="Arial" panose="020B0604020202020204" pitchFamily="34" charset="0"/>
            </a:endParaRPr>
          </a:p>
          <a:p>
            <a:pPr>
              <a:buNone/>
            </a:pPr>
            <a:r>
              <a:rPr lang="en-GB" sz="800">
                <a:solidFill>
                  <a:schemeClr val="tx1"/>
                </a:solidFill>
                <a:sym typeface="Arial" panose="020B0604020202020204" pitchFamily="34" charset="0"/>
              </a:rPr>
              <a:t>Client name: xx</a:t>
            </a:r>
          </a:p>
          <a:p>
            <a:pPr>
              <a:buNone/>
            </a:pPr>
            <a:r>
              <a:rPr lang="en-GB" sz="800">
                <a:solidFill>
                  <a:schemeClr val="tx1"/>
                </a:solidFill>
                <a:sym typeface="Arial" panose="020B0604020202020204" pitchFamily="34" charset="0"/>
              </a:rPr>
              <a:t>Maconomy project name: xx</a:t>
            </a:r>
          </a:p>
          <a:p>
            <a:pPr>
              <a:buNone/>
            </a:pPr>
            <a:r>
              <a:rPr lang="en-GB" sz="800">
                <a:solidFill>
                  <a:schemeClr val="tx1"/>
                </a:solidFill>
                <a:sym typeface="Arial" panose="020B0604020202020204" pitchFamily="34" charset="0"/>
              </a:rPr>
              <a:t>Industry: xx</a:t>
            </a:r>
          </a:p>
          <a:p>
            <a:pPr>
              <a:buNone/>
            </a:pPr>
            <a:r>
              <a:rPr lang="en-GB" sz="800">
                <a:solidFill>
                  <a:schemeClr val="tx1"/>
                </a:solidFill>
                <a:sym typeface="Arial" panose="020B0604020202020204" pitchFamily="34" charset="0"/>
              </a:rPr>
              <a:t>Keywords: xx, xx, xx</a:t>
            </a:r>
          </a:p>
          <a:p>
            <a:pPr>
              <a:buNone/>
            </a:pPr>
            <a:r>
              <a:rPr lang="en-GB" sz="800">
                <a:solidFill>
                  <a:schemeClr val="tx1"/>
                </a:solidFill>
                <a:sym typeface="Arial" panose="020B0604020202020204" pitchFamily="34" charset="0"/>
              </a:rPr>
              <a:t>Year(s): 20xx – 20xx</a:t>
            </a:r>
          </a:p>
          <a:p>
            <a:pPr>
              <a:buNone/>
            </a:pPr>
            <a:r>
              <a:rPr lang="en-GB" sz="800">
                <a:solidFill>
                  <a:schemeClr val="tx1"/>
                </a:solidFill>
                <a:sym typeface="Arial" panose="020B0604020202020204" pitchFamily="34" charset="0"/>
              </a:rPr>
              <a:t>Implement contact person: xx</a:t>
            </a:r>
          </a:p>
          <a:p>
            <a:pPr>
              <a:buNone/>
            </a:pPr>
            <a:endParaRPr lang="en-GB" sz="800">
              <a:solidFill>
                <a:schemeClr val="tx1"/>
              </a:solidFill>
              <a:sym typeface="Arial" panose="020B0604020202020204" pitchFamily="34" charset="0"/>
            </a:endParaRPr>
          </a:p>
        </p:txBody>
      </p:sp>
    </p:spTree>
    <p:extLst>
      <p:ext uri="{BB962C8B-B14F-4D97-AF65-F5344CB8AC3E}">
        <p14:creationId xmlns:p14="http://schemas.microsoft.com/office/powerpoint/2010/main" val="192354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eference Case - Long Text D">
    <p:bg>
      <p:bgPr>
        <a:solidFill>
          <a:srgbClr val="30373B"/>
        </a:solidFill>
        <a:effectLst/>
      </p:bgPr>
    </p:bg>
    <p:spTree>
      <p:nvGrpSpPr>
        <p:cNvPr id="1" name=""/>
        <p:cNvGrpSpPr/>
        <p:nvPr/>
      </p:nvGrpSpPr>
      <p:grpSpPr>
        <a:xfrm>
          <a:off x="0" y="0"/>
          <a:ext cx="0" cy="0"/>
          <a:chOff x="0" y="0"/>
          <a:chExt cx="0" cy="0"/>
        </a:xfrm>
      </p:grpSpPr>
      <p:sp>
        <p:nvSpPr>
          <p:cNvPr id="13" name="Colour block yellow">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9A6E3A"/>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en-GB">
              <a:solidFill>
                <a:srgbClr val="30373B"/>
              </a:solidFill>
              <a:sym typeface="Arial" panose="020B0604020202020204" pitchFamily="34" charset="0"/>
            </a:endParaRPr>
          </a:p>
        </p:txBody>
      </p:sp>
      <p:sp>
        <p:nvSpPr>
          <p:cNvPr id="10" name="Picture">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1" name="Title">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noAutofit/>
          </a:bodyPr>
          <a:lstStyle>
            <a:lvl1pPr>
              <a:defRPr sz="3200">
                <a:solidFill>
                  <a:srgbClr val="F8F5E7"/>
                </a:solidFill>
              </a:defRPr>
            </a:lvl1pPr>
          </a:lstStyle>
          <a:p>
            <a:r>
              <a:rPr lang="en-US"/>
              <a:t>Click to edit Master title style</a:t>
            </a:r>
            <a:endParaRPr lang="en-GB"/>
          </a:p>
        </p:txBody>
      </p:sp>
      <p:sp>
        <p:nvSpPr>
          <p:cNvPr id="20" name="Content Placeholder 1">
            <a:extLst>
              <a:ext uri="{FF2B5EF4-FFF2-40B4-BE49-F238E27FC236}">
                <a16:creationId xmlns:a16="http://schemas.microsoft.com/office/drawing/2014/main" id="{EAF7AE59-E678-449D-A5AB-4D0B0F77DAE5}"/>
              </a:ext>
            </a:extLst>
          </p:cNvPr>
          <p:cNvSpPr>
            <a:spLocks noGrp="1"/>
          </p:cNvSpPr>
          <p:nvPr>
            <p:ph sz="quarter" idx="16"/>
          </p:nvPr>
        </p:nvSpPr>
        <p:spPr>
          <a:xfrm>
            <a:off x="269877" y="4615492"/>
            <a:ext cx="4320000" cy="1728000"/>
          </a:xfrm>
        </p:spPr>
        <p:txBody>
          <a:bodyPr/>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buAutoNum type="alphaUcPeriod"/>
              <a:defRPr>
                <a:solidFill>
                  <a:srgbClr val="F8F5E7"/>
                </a:solidFill>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2" name="Divider line 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F086E222-A2FD-4078-843A-2259D8583D93}"/>
              </a:ext>
            </a:extLst>
          </p:cNvPr>
          <p:cNvSpPr>
            <a:spLocks noGrp="1"/>
          </p:cNvSpPr>
          <p:nvPr>
            <p:ph sz="quarter" idx="21"/>
          </p:nvPr>
        </p:nvSpPr>
        <p:spPr>
          <a:xfrm>
            <a:off x="5319135" y="4615492"/>
            <a:ext cx="4320000" cy="1728000"/>
          </a:xfrm>
        </p:spPr>
        <p:txBody>
          <a:bodyPr/>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buAutoNum type="alphaUcPeriod"/>
              <a:defRPr>
                <a:solidFill>
                  <a:srgbClr val="F8F5E7"/>
                </a:solidFill>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3" name="Divider line 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he project">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en-GB" sz="1200" b="1">
                <a:solidFill>
                  <a:srgbClr val="F8F5E7"/>
                </a:solidFill>
              </a:rPr>
              <a:t>THE PROJECT</a:t>
            </a:r>
            <a:endParaRPr lang="en-GB">
              <a:solidFill>
                <a:srgbClr val="F8F5E7"/>
              </a:solidFill>
            </a:endParaRPr>
          </a:p>
        </p:txBody>
      </p:sp>
      <p:sp>
        <p:nvSpPr>
          <p:cNvPr id="25" name="The impact">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en-GB" sz="1200" b="1">
                <a:solidFill>
                  <a:srgbClr val="F8F5E7"/>
                </a:solidFill>
              </a:rPr>
              <a:t>THE IMPACT</a:t>
            </a:r>
            <a:endParaRPr lang="en-GB">
              <a:solidFill>
                <a:srgbClr val="F8F5E7"/>
              </a:solidFill>
            </a:endParaRPr>
          </a:p>
        </p:txBody>
      </p:sp>
      <p:sp>
        <p:nvSpPr>
          <p:cNvPr id="38" name="Case">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en-GB">
                <a:solidFill>
                  <a:srgbClr val="F8F5E7"/>
                </a:solidFill>
              </a:rPr>
              <a:t>CASE</a:t>
            </a:r>
          </a:p>
        </p:txBody>
      </p:sp>
      <p:sp>
        <p:nvSpPr>
          <p:cNvPr id="16" name="Notes">
            <a:extLst>
              <a:ext uri="{FF2B5EF4-FFF2-40B4-BE49-F238E27FC236}">
                <a16:creationId xmlns:a16="http://schemas.microsoft.com/office/drawing/2014/main" id="{910D0A33-BFA6-43ED-A30B-68BEEEAD47F9}"/>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9" name="Tracker">
            <a:extLst>
              <a:ext uri="{FF2B5EF4-FFF2-40B4-BE49-F238E27FC236}">
                <a16:creationId xmlns:a16="http://schemas.microsoft.com/office/drawing/2014/main" id="{95FD5446-6139-42B3-9E84-3F4D291BA74E}"/>
              </a:ext>
            </a:extLst>
          </p:cNvPr>
          <p:cNvSpPr>
            <a:spLocks noGrp="1"/>
          </p:cNvSpPr>
          <p:nvPr>
            <p:ph type="body" sz="quarter" idx="20" hasCustomPrompt="1"/>
          </p:nvPr>
        </p:nvSpPr>
        <p:spPr>
          <a:xfrm>
            <a:off x="7221537" y="6491731"/>
            <a:ext cx="1966707" cy="106116"/>
          </a:xfrm>
        </p:spPr>
        <p:txBody>
          <a:bodyPr rIns="0" anchor="b"/>
          <a:lstStyle>
            <a:lvl1pPr algn="r">
              <a:spcAft>
                <a:spcPts val="0"/>
              </a:spcAft>
              <a:defRPr sz="650">
                <a:solidFill>
                  <a:srgbClr val="F8F5E7"/>
                </a:solidFill>
              </a:defRPr>
            </a:lvl1pPr>
            <a:lvl2pPr>
              <a:defRPr sz="650"/>
            </a:lvl2pPr>
            <a:lvl3pPr>
              <a:defRPr sz="650"/>
            </a:lvl3pPr>
            <a:lvl4pPr>
              <a:defRPr sz="650"/>
            </a:lvl4pPr>
            <a:lvl5pPr>
              <a:defRPr sz="650"/>
            </a:lvl5pPr>
          </a:lstStyle>
          <a:p>
            <a:pPr lvl="0"/>
            <a:r>
              <a:rPr lang="en-GB"/>
              <a:t>Tracker</a:t>
            </a:r>
          </a:p>
        </p:txBody>
      </p:sp>
      <p:sp>
        <p:nvSpPr>
          <p:cNvPr id="18" name="Slide number">
            <a:extLst>
              <a:ext uri="{FF2B5EF4-FFF2-40B4-BE49-F238E27FC236}">
                <a16:creationId xmlns:a16="http://schemas.microsoft.com/office/drawing/2014/main" id="{6D701E72-740D-4113-9C44-C9EE7C3DC1EF}"/>
              </a:ext>
            </a:extLst>
          </p:cNvPr>
          <p:cNvSpPr txBox="1">
            <a:spLocks/>
          </p:cNvSpPr>
          <p:nvPr userDrawn="1"/>
        </p:nvSpPr>
        <p:spPr>
          <a:xfrm>
            <a:off x="9378938" y="6489162"/>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F8F5E7"/>
                </a:solidFill>
              </a:rPr>
              <a:pPr/>
              <a:t>‹nr.›</a:t>
            </a:fld>
            <a:endParaRPr lang="en-GB" sz="650">
              <a:solidFill>
                <a:srgbClr val="F8F5E7"/>
              </a:solidFill>
            </a:endParaRPr>
          </a:p>
        </p:txBody>
      </p:sp>
      <p:sp>
        <p:nvSpPr>
          <p:cNvPr id="15" name="Logo">
            <a:extLst>
              <a:ext uri="{FF2B5EF4-FFF2-40B4-BE49-F238E27FC236}">
                <a16:creationId xmlns:a16="http://schemas.microsoft.com/office/drawing/2014/main" id="{6C3A81CD-98C4-40D0-925F-38C84421F367}"/>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6" name="Case data">
            <a:extLst>
              <a:ext uri="{FF2B5EF4-FFF2-40B4-BE49-F238E27FC236}">
                <a16:creationId xmlns:a16="http://schemas.microsoft.com/office/drawing/2014/main" id="{16A48703-285C-4AA2-973D-4D322ECF524F}"/>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en-GB" sz="800" b="1">
                <a:solidFill>
                  <a:schemeClr val="tx1"/>
                </a:solidFill>
                <a:sym typeface="Arial" panose="020B0604020202020204" pitchFamily="34" charset="0"/>
              </a:rPr>
              <a:t>CASE DATA</a:t>
            </a:r>
          </a:p>
          <a:p>
            <a:pPr>
              <a:buNone/>
            </a:pPr>
            <a:r>
              <a:rPr lang="en-GB" sz="800">
                <a:solidFill>
                  <a:schemeClr val="tx1"/>
                </a:solidFill>
                <a:sym typeface="Arial" panose="020B0604020202020204" pitchFamily="34" charset="0"/>
              </a:rPr>
              <a:t>For internal use only – delete before sharing</a:t>
            </a:r>
          </a:p>
          <a:p>
            <a:pPr>
              <a:buNone/>
            </a:pPr>
            <a:endParaRPr lang="en-GB" sz="800">
              <a:solidFill>
                <a:schemeClr val="tx1"/>
              </a:solidFill>
              <a:sym typeface="Arial" panose="020B0604020202020204" pitchFamily="34" charset="0"/>
            </a:endParaRPr>
          </a:p>
          <a:p>
            <a:pPr>
              <a:buNone/>
            </a:pPr>
            <a:r>
              <a:rPr lang="en-GB" sz="800">
                <a:solidFill>
                  <a:schemeClr val="tx1"/>
                </a:solidFill>
                <a:sym typeface="Arial" panose="020B0604020202020204" pitchFamily="34" charset="0"/>
              </a:rPr>
              <a:t>Client name: xx</a:t>
            </a:r>
          </a:p>
          <a:p>
            <a:pPr>
              <a:buNone/>
            </a:pPr>
            <a:r>
              <a:rPr lang="en-GB" sz="800">
                <a:solidFill>
                  <a:schemeClr val="tx1"/>
                </a:solidFill>
                <a:sym typeface="Arial" panose="020B0604020202020204" pitchFamily="34" charset="0"/>
              </a:rPr>
              <a:t>Maconomy project name: xx</a:t>
            </a:r>
          </a:p>
          <a:p>
            <a:pPr>
              <a:buNone/>
            </a:pPr>
            <a:r>
              <a:rPr lang="en-GB" sz="800">
                <a:solidFill>
                  <a:schemeClr val="tx1"/>
                </a:solidFill>
                <a:sym typeface="Arial" panose="020B0604020202020204" pitchFamily="34" charset="0"/>
              </a:rPr>
              <a:t>Industry: xx</a:t>
            </a:r>
          </a:p>
          <a:p>
            <a:pPr>
              <a:buNone/>
            </a:pPr>
            <a:r>
              <a:rPr lang="en-GB" sz="800">
                <a:solidFill>
                  <a:schemeClr val="tx1"/>
                </a:solidFill>
                <a:sym typeface="Arial" panose="020B0604020202020204" pitchFamily="34" charset="0"/>
              </a:rPr>
              <a:t>Keywords: xx, xx, xx</a:t>
            </a:r>
          </a:p>
          <a:p>
            <a:pPr>
              <a:buNone/>
            </a:pPr>
            <a:r>
              <a:rPr lang="en-GB" sz="800">
                <a:solidFill>
                  <a:schemeClr val="tx1"/>
                </a:solidFill>
                <a:sym typeface="Arial" panose="020B0604020202020204" pitchFamily="34" charset="0"/>
              </a:rPr>
              <a:t>Year(s): 20xx – 20xx</a:t>
            </a:r>
          </a:p>
          <a:p>
            <a:pPr>
              <a:buNone/>
            </a:pPr>
            <a:r>
              <a:rPr lang="en-GB" sz="800">
                <a:solidFill>
                  <a:schemeClr val="tx1"/>
                </a:solidFill>
                <a:sym typeface="Arial" panose="020B0604020202020204" pitchFamily="34" charset="0"/>
              </a:rPr>
              <a:t>Implement contact person: xx</a:t>
            </a:r>
          </a:p>
          <a:p>
            <a:pPr>
              <a:buNone/>
            </a:pPr>
            <a:endParaRPr lang="en-GB" sz="800">
              <a:solidFill>
                <a:schemeClr val="tx1"/>
              </a:solidFill>
              <a:sym typeface="Arial" panose="020B0604020202020204" pitchFamily="34" charset="0"/>
            </a:endParaRPr>
          </a:p>
        </p:txBody>
      </p:sp>
    </p:spTree>
    <p:extLst>
      <p:ext uri="{BB962C8B-B14F-4D97-AF65-F5344CB8AC3E}">
        <p14:creationId xmlns:p14="http://schemas.microsoft.com/office/powerpoint/2010/main" val="424365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ference Case - Long Text E">
    <p:bg>
      <p:bgPr>
        <a:solidFill>
          <a:srgbClr val="30373B"/>
        </a:solidFill>
        <a:effectLst/>
      </p:bgPr>
    </p:bg>
    <p:spTree>
      <p:nvGrpSpPr>
        <p:cNvPr id="1" name=""/>
        <p:cNvGrpSpPr/>
        <p:nvPr/>
      </p:nvGrpSpPr>
      <p:grpSpPr>
        <a:xfrm>
          <a:off x="0" y="0"/>
          <a:ext cx="0" cy="0"/>
          <a:chOff x="0" y="0"/>
          <a:chExt cx="0" cy="0"/>
        </a:xfrm>
      </p:grpSpPr>
      <p:sp>
        <p:nvSpPr>
          <p:cNvPr id="13" name="Colour block green">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893E4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None/>
              <a:defRPr sz="1100">
                <a:solidFill>
                  <a:srgbClr val="3037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endParaRPr lang="en-GB">
              <a:sym typeface="Arial" panose="020B0604020202020204" pitchFamily="34" charset="0"/>
            </a:endParaRPr>
          </a:p>
        </p:txBody>
      </p:sp>
      <p:sp>
        <p:nvSpPr>
          <p:cNvPr id="10" name="Picture">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1" name="Title">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noAutofit/>
          </a:bodyPr>
          <a:lstStyle>
            <a:lvl1pPr>
              <a:defRPr sz="3200">
                <a:solidFill>
                  <a:srgbClr val="F8F5E7"/>
                </a:solidFill>
              </a:defRPr>
            </a:lvl1pPr>
          </a:lstStyle>
          <a:p>
            <a:r>
              <a:rPr lang="en-US"/>
              <a:t>Click to edit Master title style</a:t>
            </a:r>
            <a:endParaRPr lang="en-GB"/>
          </a:p>
        </p:txBody>
      </p:sp>
      <p:sp>
        <p:nvSpPr>
          <p:cNvPr id="20" name="Content Placeholder 1">
            <a:extLst>
              <a:ext uri="{FF2B5EF4-FFF2-40B4-BE49-F238E27FC236}">
                <a16:creationId xmlns:a16="http://schemas.microsoft.com/office/drawing/2014/main" id="{EAF7AE59-E678-449D-A5AB-4D0B0F77DAE5}"/>
              </a:ext>
            </a:extLst>
          </p:cNvPr>
          <p:cNvSpPr>
            <a:spLocks noGrp="1"/>
          </p:cNvSpPr>
          <p:nvPr>
            <p:ph sz="quarter" idx="16"/>
          </p:nvPr>
        </p:nvSpPr>
        <p:spPr>
          <a:xfrm>
            <a:off x="269877" y="4615492"/>
            <a:ext cx="4320000" cy="1728000"/>
          </a:xfrm>
        </p:spPr>
        <p:txBody>
          <a:bodyPr/>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buAutoNum type="alphaUcPeriod"/>
              <a:defRPr>
                <a:solidFill>
                  <a:srgbClr val="F8F5E7"/>
                </a:solidFill>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2" name="Divider line 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F086E222-A2FD-4078-843A-2259D8583D93}"/>
              </a:ext>
            </a:extLst>
          </p:cNvPr>
          <p:cNvSpPr>
            <a:spLocks noGrp="1"/>
          </p:cNvSpPr>
          <p:nvPr>
            <p:ph sz="quarter" idx="21"/>
          </p:nvPr>
        </p:nvSpPr>
        <p:spPr>
          <a:xfrm>
            <a:off x="5319135" y="4615492"/>
            <a:ext cx="4320000" cy="1728000"/>
          </a:xfrm>
        </p:spPr>
        <p:txBody>
          <a:bodyPr/>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buAutoNum type="alphaUcPeriod"/>
              <a:defRPr>
                <a:solidFill>
                  <a:srgbClr val="F8F5E7"/>
                </a:solidFill>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3" name="Divider line 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he project">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en-GB" sz="1200" b="1">
                <a:solidFill>
                  <a:srgbClr val="F8F5E7"/>
                </a:solidFill>
              </a:rPr>
              <a:t>THE PROJECT</a:t>
            </a:r>
            <a:endParaRPr lang="en-GB">
              <a:solidFill>
                <a:srgbClr val="F8F5E7"/>
              </a:solidFill>
            </a:endParaRPr>
          </a:p>
        </p:txBody>
      </p:sp>
      <p:sp>
        <p:nvSpPr>
          <p:cNvPr id="25" name="The impact">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en-GB" sz="1200" b="1">
                <a:solidFill>
                  <a:srgbClr val="F8F5E7"/>
                </a:solidFill>
              </a:rPr>
              <a:t>THE IMPACT</a:t>
            </a:r>
            <a:endParaRPr lang="en-GB">
              <a:solidFill>
                <a:srgbClr val="F8F5E7"/>
              </a:solidFill>
            </a:endParaRPr>
          </a:p>
        </p:txBody>
      </p:sp>
      <p:sp>
        <p:nvSpPr>
          <p:cNvPr id="38" name="Case">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en-GB">
                <a:solidFill>
                  <a:srgbClr val="F8F5E7"/>
                </a:solidFill>
              </a:rPr>
              <a:t>CASE</a:t>
            </a:r>
          </a:p>
        </p:txBody>
      </p:sp>
      <p:sp>
        <p:nvSpPr>
          <p:cNvPr id="16" name="Notes">
            <a:extLst>
              <a:ext uri="{FF2B5EF4-FFF2-40B4-BE49-F238E27FC236}">
                <a16:creationId xmlns:a16="http://schemas.microsoft.com/office/drawing/2014/main" id="{910D0A33-BFA6-43ED-A30B-68BEEEAD47F9}"/>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9" name="Tracker">
            <a:extLst>
              <a:ext uri="{FF2B5EF4-FFF2-40B4-BE49-F238E27FC236}">
                <a16:creationId xmlns:a16="http://schemas.microsoft.com/office/drawing/2014/main" id="{95FD5446-6139-42B3-9E84-3F4D291BA74E}"/>
              </a:ext>
            </a:extLst>
          </p:cNvPr>
          <p:cNvSpPr>
            <a:spLocks noGrp="1"/>
          </p:cNvSpPr>
          <p:nvPr>
            <p:ph type="body" sz="quarter" idx="20" hasCustomPrompt="1"/>
          </p:nvPr>
        </p:nvSpPr>
        <p:spPr>
          <a:xfrm>
            <a:off x="7221537" y="6491731"/>
            <a:ext cx="1966707" cy="106116"/>
          </a:xfrm>
        </p:spPr>
        <p:txBody>
          <a:bodyPr rIns="0" anchor="b"/>
          <a:lstStyle>
            <a:lvl1pPr algn="r">
              <a:spcAft>
                <a:spcPts val="0"/>
              </a:spcAft>
              <a:defRPr sz="650">
                <a:solidFill>
                  <a:srgbClr val="F8F5E7"/>
                </a:solidFill>
              </a:defRPr>
            </a:lvl1pPr>
            <a:lvl2pPr>
              <a:defRPr sz="650"/>
            </a:lvl2pPr>
            <a:lvl3pPr>
              <a:defRPr sz="650"/>
            </a:lvl3pPr>
            <a:lvl4pPr>
              <a:defRPr sz="650"/>
            </a:lvl4pPr>
            <a:lvl5pPr>
              <a:defRPr sz="650"/>
            </a:lvl5pPr>
          </a:lstStyle>
          <a:p>
            <a:pPr lvl="0"/>
            <a:r>
              <a:rPr lang="en-GB"/>
              <a:t>Tracker</a:t>
            </a:r>
          </a:p>
        </p:txBody>
      </p:sp>
      <p:sp>
        <p:nvSpPr>
          <p:cNvPr id="18" name="Slide number">
            <a:extLst>
              <a:ext uri="{FF2B5EF4-FFF2-40B4-BE49-F238E27FC236}">
                <a16:creationId xmlns:a16="http://schemas.microsoft.com/office/drawing/2014/main" id="{6D701E72-740D-4113-9C44-C9EE7C3DC1EF}"/>
              </a:ext>
            </a:extLst>
          </p:cNvPr>
          <p:cNvSpPr txBox="1">
            <a:spLocks/>
          </p:cNvSpPr>
          <p:nvPr userDrawn="1"/>
        </p:nvSpPr>
        <p:spPr>
          <a:xfrm>
            <a:off x="9378938" y="6489162"/>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F8F5E7"/>
                </a:solidFill>
              </a:rPr>
              <a:pPr/>
              <a:t>‹nr.›</a:t>
            </a:fld>
            <a:endParaRPr lang="en-GB" sz="650">
              <a:solidFill>
                <a:srgbClr val="F8F5E7"/>
              </a:solidFill>
            </a:endParaRPr>
          </a:p>
        </p:txBody>
      </p:sp>
      <p:sp>
        <p:nvSpPr>
          <p:cNvPr id="15" name="Logo">
            <a:extLst>
              <a:ext uri="{FF2B5EF4-FFF2-40B4-BE49-F238E27FC236}">
                <a16:creationId xmlns:a16="http://schemas.microsoft.com/office/drawing/2014/main" id="{6C3A81CD-98C4-40D0-925F-38C84421F367}"/>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lvl="0"/>
            <a:endParaRPr lang="en-GB"/>
          </a:p>
        </p:txBody>
      </p:sp>
      <p:sp>
        <p:nvSpPr>
          <p:cNvPr id="26" name="Case data">
            <a:extLst>
              <a:ext uri="{FF2B5EF4-FFF2-40B4-BE49-F238E27FC236}">
                <a16:creationId xmlns:a16="http://schemas.microsoft.com/office/drawing/2014/main" id="{16A48703-285C-4AA2-973D-4D322ECF524F}"/>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en-GB" sz="800" b="1">
                <a:solidFill>
                  <a:schemeClr val="tx1"/>
                </a:solidFill>
                <a:sym typeface="Arial" panose="020B0604020202020204" pitchFamily="34" charset="0"/>
              </a:rPr>
              <a:t>CASE DATA</a:t>
            </a:r>
          </a:p>
          <a:p>
            <a:pPr>
              <a:buNone/>
            </a:pPr>
            <a:r>
              <a:rPr lang="en-GB" sz="800">
                <a:solidFill>
                  <a:schemeClr val="tx1"/>
                </a:solidFill>
                <a:sym typeface="Arial" panose="020B0604020202020204" pitchFamily="34" charset="0"/>
              </a:rPr>
              <a:t>For internal use only – delete before sharing</a:t>
            </a:r>
          </a:p>
          <a:p>
            <a:pPr>
              <a:buNone/>
            </a:pPr>
            <a:endParaRPr lang="en-GB" sz="800">
              <a:solidFill>
                <a:schemeClr val="tx1"/>
              </a:solidFill>
              <a:sym typeface="Arial" panose="020B0604020202020204" pitchFamily="34" charset="0"/>
            </a:endParaRPr>
          </a:p>
          <a:p>
            <a:pPr>
              <a:buNone/>
            </a:pPr>
            <a:r>
              <a:rPr lang="en-GB" sz="800">
                <a:solidFill>
                  <a:schemeClr val="tx1"/>
                </a:solidFill>
                <a:sym typeface="Arial" panose="020B0604020202020204" pitchFamily="34" charset="0"/>
              </a:rPr>
              <a:t>Client name: xx</a:t>
            </a:r>
          </a:p>
          <a:p>
            <a:pPr>
              <a:buNone/>
            </a:pPr>
            <a:r>
              <a:rPr lang="en-GB" sz="800">
                <a:solidFill>
                  <a:schemeClr val="tx1"/>
                </a:solidFill>
                <a:sym typeface="Arial" panose="020B0604020202020204" pitchFamily="34" charset="0"/>
              </a:rPr>
              <a:t>Maconomy project name: xx</a:t>
            </a:r>
          </a:p>
          <a:p>
            <a:pPr>
              <a:buNone/>
            </a:pPr>
            <a:r>
              <a:rPr lang="en-GB" sz="800">
                <a:solidFill>
                  <a:schemeClr val="tx1"/>
                </a:solidFill>
                <a:sym typeface="Arial" panose="020B0604020202020204" pitchFamily="34" charset="0"/>
              </a:rPr>
              <a:t>Industry: xx</a:t>
            </a:r>
          </a:p>
          <a:p>
            <a:pPr>
              <a:buNone/>
            </a:pPr>
            <a:r>
              <a:rPr lang="en-GB" sz="800">
                <a:solidFill>
                  <a:schemeClr val="tx1"/>
                </a:solidFill>
                <a:sym typeface="Arial" panose="020B0604020202020204" pitchFamily="34" charset="0"/>
              </a:rPr>
              <a:t>Keywords: xx, xx, xx</a:t>
            </a:r>
          </a:p>
          <a:p>
            <a:pPr>
              <a:buNone/>
            </a:pPr>
            <a:r>
              <a:rPr lang="en-GB" sz="800">
                <a:solidFill>
                  <a:schemeClr val="tx1"/>
                </a:solidFill>
                <a:sym typeface="Arial" panose="020B0604020202020204" pitchFamily="34" charset="0"/>
              </a:rPr>
              <a:t>Year(s): 20xx – 20xx</a:t>
            </a:r>
          </a:p>
          <a:p>
            <a:pPr>
              <a:buNone/>
            </a:pPr>
            <a:r>
              <a:rPr lang="en-GB" sz="800">
                <a:solidFill>
                  <a:schemeClr val="tx1"/>
                </a:solidFill>
                <a:sym typeface="Arial" panose="020B0604020202020204" pitchFamily="34" charset="0"/>
              </a:rPr>
              <a:t>Implement contact person: xx</a:t>
            </a:r>
          </a:p>
          <a:p>
            <a:pPr>
              <a:buNone/>
            </a:pPr>
            <a:endParaRPr lang="en-GB" sz="800">
              <a:solidFill>
                <a:schemeClr val="tx1"/>
              </a:solidFill>
              <a:sym typeface="Arial" panose="020B0604020202020204" pitchFamily="34" charset="0"/>
            </a:endParaRPr>
          </a:p>
        </p:txBody>
      </p:sp>
    </p:spTree>
    <p:extLst>
      <p:ext uri="{BB962C8B-B14F-4D97-AF65-F5344CB8AC3E}">
        <p14:creationId xmlns:p14="http://schemas.microsoft.com/office/powerpoint/2010/main" val="428175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ference Case - Long Text F">
    <p:bg>
      <p:bgPr>
        <a:solidFill>
          <a:srgbClr val="30373B"/>
        </a:solidFill>
        <a:effectLst/>
      </p:bgPr>
    </p:bg>
    <p:spTree>
      <p:nvGrpSpPr>
        <p:cNvPr id="1" name=""/>
        <p:cNvGrpSpPr/>
        <p:nvPr/>
      </p:nvGrpSpPr>
      <p:grpSpPr>
        <a:xfrm>
          <a:off x="0" y="0"/>
          <a:ext cx="0" cy="0"/>
          <a:chOff x="0" y="0"/>
          <a:chExt cx="0" cy="0"/>
        </a:xfrm>
      </p:grpSpPr>
      <p:sp>
        <p:nvSpPr>
          <p:cNvPr id="13" name="Colour block grey">
            <a:extLst>
              <a:ext uri="{FF2B5EF4-FFF2-40B4-BE49-F238E27FC236}">
                <a16:creationId xmlns:a16="http://schemas.microsoft.com/office/drawing/2014/main" id="{FAD8A034-05A2-458D-8D7A-81B7EFBAEA9F}"/>
              </a:ext>
            </a:extLst>
          </p:cNvPr>
          <p:cNvSpPr txBox="1"/>
          <p:nvPr userDrawn="1"/>
        </p:nvSpPr>
        <p:spPr>
          <a:xfrm>
            <a:off x="6532418" y="-1"/>
            <a:ext cx="3373582" cy="3543301"/>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None/>
              <a:defRPr sz="1100">
                <a:solidFill>
                  <a:srgbClr val="30373B"/>
                </a:solidFill>
                <a:latin typeface="Arial" panose="020B0604020202020204" pitchFamily="34" charset="0"/>
              </a:defRPr>
            </a:lvl2pPr>
            <a:lvl3pPr marL="139303" lvl="2" indent="-139303">
              <a:lnSpc>
                <a:spcPct val="93000"/>
              </a:lnSpc>
              <a:spcAft>
                <a:spcPts val="0"/>
              </a:spcAft>
              <a:buSzPct val="100000"/>
              <a:defRPr sz="1100">
                <a:solidFill>
                  <a:srgbClr val="2F363B"/>
                </a:solidFill>
                <a:latin typeface="Arial" panose="020B0604020202020204" pitchFamily="34" charset="0"/>
              </a:defRPr>
            </a:lvl3pPr>
            <a:lvl4pPr marL="185738" lvl="3" indent="-185738">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38" lvl="4" indent="-185738">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endParaRPr lang="en-GB">
              <a:sym typeface="Arial" panose="020B0604020202020204" pitchFamily="34" charset="0"/>
            </a:endParaRPr>
          </a:p>
        </p:txBody>
      </p:sp>
      <p:sp>
        <p:nvSpPr>
          <p:cNvPr id="10" name="Picture">
            <a:extLst>
              <a:ext uri="{FF2B5EF4-FFF2-40B4-BE49-F238E27FC236}">
                <a16:creationId xmlns:a16="http://schemas.microsoft.com/office/drawing/2014/main" id="{96EDC17A-116C-4E16-A3DE-2E5F4B894B8C}"/>
              </a:ext>
            </a:extLst>
          </p:cNvPr>
          <p:cNvSpPr>
            <a:spLocks noGrp="1"/>
          </p:cNvSpPr>
          <p:nvPr>
            <p:ph type="pic" sz="quarter" idx="15"/>
          </p:nvPr>
        </p:nvSpPr>
        <p:spPr>
          <a:xfrm>
            <a:off x="5317911" y="1308"/>
            <a:ext cx="3889058" cy="3108288"/>
          </a:xfrm>
          <a:solidFill>
            <a:srgbClr val="B8BBBD"/>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1" name="Title">
            <a:extLst>
              <a:ext uri="{FF2B5EF4-FFF2-40B4-BE49-F238E27FC236}">
                <a16:creationId xmlns:a16="http://schemas.microsoft.com/office/drawing/2014/main" id="{71B800F5-D353-40A2-B9C9-A29ACB6135C1}"/>
              </a:ext>
            </a:extLst>
          </p:cNvPr>
          <p:cNvSpPr>
            <a:spLocks noGrp="1"/>
          </p:cNvSpPr>
          <p:nvPr>
            <p:ph type="title"/>
          </p:nvPr>
        </p:nvSpPr>
        <p:spPr>
          <a:xfrm>
            <a:off x="275070" y="2746979"/>
            <a:ext cx="4320000" cy="886397"/>
          </a:xfrm>
        </p:spPr>
        <p:txBody>
          <a:bodyPr anchor="b" anchorCtr="0">
            <a:noAutofit/>
          </a:bodyPr>
          <a:lstStyle>
            <a:lvl1pPr>
              <a:defRPr sz="3200">
                <a:solidFill>
                  <a:srgbClr val="F8F5E7"/>
                </a:solidFill>
              </a:defRPr>
            </a:lvl1pPr>
          </a:lstStyle>
          <a:p>
            <a:r>
              <a:rPr lang="en-US"/>
              <a:t>Click to edit Master title style</a:t>
            </a:r>
            <a:endParaRPr lang="en-GB"/>
          </a:p>
        </p:txBody>
      </p:sp>
      <p:sp>
        <p:nvSpPr>
          <p:cNvPr id="20" name="Content Placeholder 1">
            <a:extLst>
              <a:ext uri="{FF2B5EF4-FFF2-40B4-BE49-F238E27FC236}">
                <a16:creationId xmlns:a16="http://schemas.microsoft.com/office/drawing/2014/main" id="{EAF7AE59-E678-449D-A5AB-4D0B0F77DAE5}"/>
              </a:ext>
            </a:extLst>
          </p:cNvPr>
          <p:cNvSpPr>
            <a:spLocks noGrp="1"/>
          </p:cNvSpPr>
          <p:nvPr>
            <p:ph sz="quarter" idx="16"/>
          </p:nvPr>
        </p:nvSpPr>
        <p:spPr>
          <a:xfrm>
            <a:off x="269877" y="4615492"/>
            <a:ext cx="4320000" cy="1728000"/>
          </a:xfrm>
        </p:spPr>
        <p:txBody>
          <a:bodyPr/>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buAutoNum type="alphaUcPeriod"/>
              <a:defRPr>
                <a:solidFill>
                  <a:srgbClr val="F8F5E7"/>
                </a:solidFill>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2" name="Divider line 1">
            <a:extLst>
              <a:ext uri="{FF2B5EF4-FFF2-40B4-BE49-F238E27FC236}">
                <a16:creationId xmlns:a16="http://schemas.microsoft.com/office/drawing/2014/main" id="{23430AAB-5902-4654-B9FA-AE29404FCE66}"/>
              </a:ext>
            </a:extLst>
          </p:cNvPr>
          <p:cNvCxnSpPr>
            <a:cxnSpLocks/>
          </p:cNvCxnSpPr>
          <p:nvPr userDrawn="1"/>
        </p:nvCxnSpPr>
        <p:spPr>
          <a:xfrm>
            <a:off x="275070" y="4497744"/>
            <a:ext cx="4320000"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F086E222-A2FD-4078-843A-2259D8583D93}"/>
              </a:ext>
            </a:extLst>
          </p:cNvPr>
          <p:cNvSpPr>
            <a:spLocks noGrp="1"/>
          </p:cNvSpPr>
          <p:nvPr>
            <p:ph sz="quarter" idx="21"/>
          </p:nvPr>
        </p:nvSpPr>
        <p:spPr>
          <a:xfrm>
            <a:off x="5319135" y="4615492"/>
            <a:ext cx="4320000" cy="1728000"/>
          </a:xfrm>
        </p:spPr>
        <p:txBody>
          <a:bodyPr/>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buAutoNum type="alphaUcPeriod"/>
              <a:defRPr>
                <a:solidFill>
                  <a:srgbClr val="F8F5E7"/>
                </a:solidFill>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3" name="Divider line 2">
            <a:extLst>
              <a:ext uri="{FF2B5EF4-FFF2-40B4-BE49-F238E27FC236}">
                <a16:creationId xmlns:a16="http://schemas.microsoft.com/office/drawing/2014/main" id="{93F61116-2B80-4AA8-A5DE-F43ACEFB4AD3}"/>
              </a:ext>
            </a:extLst>
          </p:cNvPr>
          <p:cNvCxnSpPr>
            <a:cxnSpLocks/>
          </p:cNvCxnSpPr>
          <p:nvPr userDrawn="1"/>
        </p:nvCxnSpPr>
        <p:spPr>
          <a:xfrm>
            <a:off x="5319136" y="4497744"/>
            <a:ext cx="4319999" cy="0"/>
          </a:xfrm>
          <a:prstGeom prst="line">
            <a:avLst/>
          </a:prstGeom>
          <a:ln w="12700">
            <a:solidFill>
              <a:srgbClr val="F8F5E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he project">
            <a:extLst>
              <a:ext uri="{FF2B5EF4-FFF2-40B4-BE49-F238E27FC236}">
                <a16:creationId xmlns:a16="http://schemas.microsoft.com/office/drawing/2014/main" id="{871737B9-DDE3-4847-BCBB-79FA9187C04F}"/>
              </a:ext>
            </a:extLst>
          </p:cNvPr>
          <p:cNvSpPr/>
          <p:nvPr userDrawn="1"/>
        </p:nvSpPr>
        <p:spPr>
          <a:xfrm>
            <a:off x="275070" y="4251232"/>
            <a:ext cx="1077218" cy="171714"/>
          </a:xfrm>
          <a:prstGeom prst="rect">
            <a:avLst/>
          </a:prstGeom>
        </p:spPr>
        <p:txBody>
          <a:bodyPr wrap="none" lIns="0" tIns="0" rIns="0" bIns="0">
            <a:spAutoFit/>
          </a:bodyPr>
          <a:lstStyle/>
          <a:p>
            <a:pPr lvl="1">
              <a:lnSpc>
                <a:spcPct val="93000"/>
              </a:lnSpc>
              <a:buNone/>
            </a:pPr>
            <a:r>
              <a:rPr lang="en-GB" sz="1200" b="1">
                <a:solidFill>
                  <a:srgbClr val="F8F5E7"/>
                </a:solidFill>
              </a:rPr>
              <a:t>THE PROJECT</a:t>
            </a:r>
            <a:endParaRPr lang="en-GB">
              <a:solidFill>
                <a:srgbClr val="F8F5E7"/>
              </a:solidFill>
            </a:endParaRPr>
          </a:p>
        </p:txBody>
      </p:sp>
      <p:sp>
        <p:nvSpPr>
          <p:cNvPr id="25" name="The impact">
            <a:extLst>
              <a:ext uri="{FF2B5EF4-FFF2-40B4-BE49-F238E27FC236}">
                <a16:creationId xmlns:a16="http://schemas.microsoft.com/office/drawing/2014/main" id="{09512485-4193-4DA1-A713-E51426E48AB3}"/>
              </a:ext>
            </a:extLst>
          </p:cNvPr>
          <p:cNvSpPr/>
          <p:nvPr userDrawn="1"/>
        </p:nvSpPr>
        <p:spPr>
          <a:xfrm>
            <a:off x="5317911" y="4251232"/>
            <a:ext cx="929550" cy="171714"/>
          </a:xfrm>
          <a:prstGeom prst="rect">
            <a:avLst/>
          </a:prstGeom>
        </p:spPr>
        <p:txBody>
          <a:bodyPr wrap="none" lIns="0" tIns="0" rIns="0" bIns="0">
            <a:spAutoFit/>
          </a:bodyPr>
          <a:lstStyle/>
          <a:p>
            <a:pPr lvl="1">
              <a:lnSpc>
                <a:spcPct val="93000"/>
              </a:lnSpc>
              <a:buNone/>
            </a:pPr>
            <a:r>
              <a:rPr lang="en-GB" sz="1200" b="1">
                <a:solidFill>
                  <a:srgbClr val="F8F5E7"/>
                </a:solidFill>
              </a:rPr>
              <a:t>THE IMPACT</a:t>
            </a:r>
            <a:endParaRPr lang="en-GB">
              <a:solidFill>
                <a:srgbClr val="F8F5E7"/>
              </a:solidFill>
            </a:endParaRPr>
          </a:p>
        </p:txBody>
      </p:sp>
      <p:sp>
        <p:nvSpPr>
          <p:cNvPr id="38" name="Case">
            <a:extLst>
              <a:ext uri="{FF2B5EF4-FFF2-40B4-BE49-F238E27FC236}">
                <a16:creationId xmlns:a16="http://schemas.microsoft.com/office/drawing/2014/main" id="{222B717F-572C-4701-890C-5980AFA4B1FF}"/>
              </a:ext>
            </a:extLst>
          </p:cNvPr>
          <p:cNvSpPr/>
          <p:nvPr userDrawn="1"/>
        </p:nvSpPr>
        <p:spPr>
          <a:xfrm>
            <a:off x="275070" y="1511114"/>
            <a:ext cx="347852" cy="138499"/>
          </a:xfrm>
          <a:prstGeom prst="rect">
            <a:avLst/>
          </a:prstGeom>
        </p:spPr>
        <p:txBody>
          <a:bodyPr wrap="square" lIns="0" tIns="0" rIns="0" bIns="0">
            <a:spAutoFit/>
          </a:bodyPr>
          <a:lstStyle/>
          <a:p>
            <a:pPr>
              <a:spcAft>
                <a:spcPts val="0"/>
              </a:spcAft>
            </a:pPr>
            <a:r>
              <a:rPr lang="en-GB">
                <a:solidFill>
                  <a:srgbClr val="F8F5E7"/>
                </a:solidFill>
              </a:rPr>
              <a:t>CASE</a:t>
            </a:r>
          </a:p>
        </p:txBody>
      </p:sp>
      <p:sp>
        <p:nvSpPr>
          <p:cNvPr id="16" name="Notes">
            <a:extLst>
              <a:ext uri="{FF2B5EF4-FFF2-40B4-BE49-F238E27FC236}">
                <a16:creationId xmlns:a16="http://schemas.microsoft.com/office/drawing/2014/main" id="{910D0A33-BFA6-43ED-A30B-68BEEEAD47F9}"/>
              </a:ext>
            </a:extLst>
          </p:cNvPr>
          <p:cNvSpPr>
            <a:spLocks noGrp="1"/>
          </p:cNvSpPr>
          <p:nvPr>
            <p:ph type="body" sz="quarter" idx="13" hasCustomPrompt="1"/>
          </p:nvPr>
        </p:nvSpPr>
        <p:spPr>
          <a:xfrm>
            <a:off x="269874" y="6491731"/>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19" name="Tracker">
            <a:extLst>
              <a:ext uri="{FF2B5EF4-FFF2-40B4-BE49-F238E27FC236}">
                <a16:creationId xmlns:a16="http://schemas.microsoft.com/office/drawing/2014/main" id="{95FD5446-6139-42B3-9E84-3F4D291BA74E}"/>
              </a:ext>
            </a:extLst>
          </p:cNvPr>
          <p:cNvSpPr>
            <a:spLocks noGrp="1"/>
          </p:cNvSpPr>
          <p:nvPr>
            <p:ph type="body" sz="quarter" idx="20" hasCustomPrompt="1"/>
          </p:nvPr>
        </p:nvSpPr>
        <p:spPr>
          <a:xfrm>
            <a:off x="7221537" y="6491731"/>
            <a:ext cx="1966707" cy="106116"/>
          </a:xfrm>
        </p:spPr>
        <p:txBody>
          <a:bodyPr rIns="0" anchor="b"/>
          <a:lstStyle>
            <a:lvl1pPr algn="r">
              <a:spcAft>
                <a:spcPts val="0"/>
              </a:spcAft>
              <a:defRPr sz="650">
                <a:solidFill>
                  <a:srgbClr val="F8F5E7"/>
                </a:solidFill>
              </a:defRPr>
            </a:lvl1pPr>
            <a:lvl2pPr>
              <a:defRPr sz="650"/>
            </a:lvl2pPr>
            <a:lvl3pPr>
              <a:defRPr sz="650"/>
            </a:lvl3pPr>
            <a:lvl4pPr>
              <a:defRPr sz="650"/>
            </a:lvl4pPr>
            <a:lvl5pPr>
              <a:defRPr sz="650"/>
            </a:lvl5pPr>
          </a:lstStyle>
          <a:p>
            <a:pPr lvl="0"/>
            <a:r>
              <a:rPr lang="en-GB"/>
              <a:t>Tracker</a:t>
            </a:r>
          </a:p>
        </p:txBody>
      </p:sp>
      <p:sp>
        <p:nvSpPr>
          <p:cNvPr id="18" name="Slide number">
            <a:extLst>
              <a:ext uri="{FF2B5EF4-FFF2-40B4-BE49-F238E27FC236}">
                <a16:creationId xmlns:a16="http://schemas.microsoft.com/office/drawing/2014/main" id="{6D701E72-740D-4113-9C44-C9EE7C3DC1EF}"/>
              </a:ext>
            </a:extLst>
          </p:cNvPr>
          <p:cNvSpPr txBox="1">
            <a:spLocks/>
          </p:cNvSpPr>
          <p:nvPr userDrawn="1"/>
        </p:nvSpPr>
        <p:spPr>
          <a:xfrm>
            <a:off x="9378938" y="6489162"/>
            <a:ext cx="255600" cy="1080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F8F5E7"/>
                </a:solidFill>
              </a:rPr>
              <a:pPr/>
              <a:t>‹nr.›</a:t>
            </a:fld>
            <a:endParaRPr lang="en-GB" sz="650">
              <a:solidFill>
                <a:srgbClr val="F8F5E7"/>
              </a:solidFill>
            </a:endParaRPr>
          </a:p>
        </p:txBody>
      </p:sp>
      <p:sp>
        <p:nvSpPr>
          <p:cNvPr id="15" name="Logo">
            <a:extLst>
              <a:ext uri="{FF2B5EF4-FFF2-40B4-BE49-F238E27FC236}">
                <a16:creationId xmlns:a16="http://schemas.microsoft.com/office/drawing/2014/main" id="{6C3A81CD-98C4-40D0-925F-38C84421F367}"/>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lvl="0"/>
            <a:endParaRPr lang="en-GB"/>
          </a:p>
        </p:txBody>
      </p:sp>
      <p:sp>
        <p:nvSpPr>
          <p:cNvPr id="26" name="Case data">
            <a:extLst>
              <a:ext uri="{FF2B5EF4-FFF2-40B4-BE49-F238E27FC236}">
                <a16:creationId xmlns:a16="http://schemas.microsoft.com/office/drawing/2014/main" id="{16A48703-285C-4AA2-973D-4D322ECF524F}"/>
              </a:ext>
            </a:extLst>
          </p:cNvPr>
          <p:cNvSpPr txBox="1"/>
          <p:nvPr userDrawn="1"/>
        </p:nvSpPr>
        <p:spPr>
          <a:xfrm>
            <a:off x="10107046" y="0"/>
            <a:ext cx="1570400" cy="212940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108000" rIns="108000" bIns="108000" numCol="1" spcCol="0" rtlCol="0" fromWordArt="0" anchor="t" anchorCtr="0" forceAA="0" compatLnSpc="1">
            <a:prstTxWarp prst="textNoShape">
              <a:avLst/>
            </a:prstTxWarp>
            <a:spAutoFit/>
          </a:bodyPr>
          <a:lst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chemeClr val="lt1"/>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chemeClr val="lt1"/>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chemeClr val="lt1"/>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chemeClr val="lt1"/>
                </a:solidFill>
                <a:latin typeface="+mn-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chemeClr val="lt1"/>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chemeClr val="lt1"/>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chemeClr val="lt1"/>
                </a:solidFill>
                <a:latin typeface="+mn-lt"/>
                <a:ea typeface="+mn-ea"/>
                <a:cs typeface="+mn-cs"/>
              </a:defRPr>
            </a:lvl9pPr>
          </a:lstStyle>
          <a:p>
            <a:pPr>
              <a:buNone/>
            </a:pPr>
            <a:r>
              <a:rPr lang="en-GB" sz="800" b="1">
                <a:solidFill>
                  <a:schemeClr val="tx1"/>
                </a:solidFill>
                <a:sym typeface="Arial" panose="020B0604020202020204" pitchFamily="34" charset="0"/>
              </a:rPr>
              <a:t>CASE DATA</a:t>
            </a:r>
          </a:p>
          <a:p>
            <a:pPr>
              <a:buNone/>
            </a:pPr>
            <a:r>
              <a:rPr lang="en-GB" sz="800">
                <a:solidFill>
                  <a:schemeClr val="tx1"/>
                </a:solidFill>
                <a:sym typeface="Arial" panose="020B0604020202020204" pitchFamily="34" charset="0"/>
              </a:rPr>
              <a:t>For internal use only – delete before sharing</a:t>
            </a:r>
          </a:p>
          <a:p>
            <a:pPr>
              <a:buNone/>
            </a:pPr>
            <a:endParaRPr lang="en-GB" sz="800">
              <a:solidFill>
                <a:schemeClr val="tx1"/>
              </a:solidFill>
              <a:sym typeface="Arial" panose="020B0604020202020204" pitchFamily="34" charset="0"/>
            </a:endParaRPr>
          </a:p>
          <a:p>
            <a:pPr>
              <a:buNone/>
            </a:pPr>
            <a:r>
              <a:rPr lang="en-GB" sz="800">
                <a:solidFill>
                  <a:schemeClr val="tx1"/>
                </a:solidFill>
                <a:sym typeface="Arial" panose="020B0604020202020204" pitchFamily="34" charset="0"/>
              </a:rPr>
              <a:t>Client name: xx</a:t>
            </a:r>
          </a:p>
          <a:p>
            <a:pPr>
              <a:buNone/>
            </a:pPr>
            <a:r>
              <a:rPr lang="en-GB" sz="800">
                <a:solidFill>
                  <a:schemeClr val="tx1"/>
                </a:solidFill>
                <a:sym typeface="Arial" panose="020B0604020202020204" pitchFamily="34" charset="0"/>
              </a:rPr>
              <a:t>Maconomy project name: xx</a:t>
            </a:r>
          </a:p>
          <a:p>
            <a:pPr>
              <a:buNone/>
            </a:pPr>
            <a:r>
              <a:rPr lang="en-GB" sz="800">
                <a:solidFill>
                  <a:schemeClr val="tx1"/>
                </a:solidFill>
                <a:sym typeface="Arial" panose="020B0604020202020204" pitchFamily="34" charset="0"/>
              </a:rPr>
              <a:t>Industry: xx</a:t>
            </a:r>
          </a:p>
          <a:p>
            <a:pPr>
              <a:buNone/>
            </a:pPr>
            <a:r>
              <a:rPr lang="en-GB" sz="800">
                <a:solidFill>
                  <a:schemeClr val="tx1"/>
                </a:solidFill>
                <a:sym typeface="Arial" panose="020B0604020202020204" pitchFamily="34" charset="0"/>
              </a:rPr>
              <a:t>Keywords: xx, xx, xx</a:t>
            </a:r>
          </a:p>
          <a:p>
            <a:pPr>
              <a:buNone/>
            </a:pPr>
            <a:r>
              <a:rPr lang="en-GB" sz="800">
                <a:solidFill>
                  <a:schemeClr val="tx1"/>
                </a:solidFill>
                <a:sym typeface="Arial" panose="020B0604020202020204" pitchFamily="34" charset="0"/>
              </a:rPr>
              <a:t>Year(s): 20xx – 20xx</a:t>
            </a:r>
          </a:p>
          <a:p>
            <a:pPr>
              <a:buNone/>
            </a:pPr>
            <a:r>
              <a:rPr lang="en-GB" sz="800">
                <a:solidFill>
                  <a:schemeClr val="tx1"/>
                </a:solidFill>
                <a:sym typeface="Arial" panose="020B0604020202020204" pitchFamily="34" charset="0"/>
              </a:rPr>
              <a:t>Implement contact person: xx</a:t>
            </a:r>
          </a:p>
          <a:p>
            <a:pPr>
              <a:buNone/>
            </a:pPr>
            <a:endParaRPr lang="en-GB" sz="800">
              <a:solidFill>
                <a:schemeClr val="tx1"/>
              </a:solidFill>
              <a:sym typeface="Arial" panose="020B0604020202020204" pitchFamily="34" charset="0"/>
            </a:endParaRPr>
          </a:p>
        </p:txBody>
      </p:sp>
    </p:spTree>
    <p:extLst>
      <p:ext uri="{BB962C8B-B14F-4D97-AF65-F5344CB8AC3E}">
        <p14:creationId xmlns:p14="http://schemas.microsoft.com/office/powerpoint/2010/main" val="1430177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Image B">
    <p:spTree>
      <p:nvGrpSpPr>
        <p:cNvPr id="1" name=""/>
        <p:cNvGrpSpPr/>
        <p:nvPr/>
      </p:nvGrpSpPr>
      <p:grpSpPr>
        <a:xfrm>
          <a:off x="0" y="0"/>
          <a:ext cx="0" cy="0"/>
          <a:chOff x="0" y="0"/>
          <a:chExt cx="0" cy="0"/>
        </a:xfrm>
      </p:grpSpPr>
      <p:grpSp>
        <p:nvGrpSpPr>
          <p:cNvPr id="3" name="Background colour blocks">
            <a:extLst>
              <a:ext uri="{FF2B5EF4-FFF2-40B4-BE49-F238E27FC236}">
                <a16:creationId xmlns:a16="http://schemas.microsoft.com/office/drawing/2014/main" id="{F8B1DD21-432E-41B8-8198-803D6B379E0D}"/>
              </a:ext>
            </a:extLst>
          </p:cNvPr>
          <p:cNvGrpSpPr/>
          <p:nvPr userDrawn="1"/>
        </p:nvGrpSpPr>
        <p:grpSpPr>
          <a:xfrm>
            <a:off x="0" y="1"/>
            <a:ext cx="9906000" cy="6857999"/>
            <a:chOff x="0" y="1"/>
            <a:chExt cx="9906000" cy="6857999"/>
          </a:xfrm>
        </p:grpSpPr>
        <p:sp>
          <p:nvSpPr>
            <p:cNvPr id="24" name="Green">
              <a:extLst>
                <a:ext uri="{FF2B5EF4-FFF2-40B4-BE49-F238E27FC236}">
                  <a16:creationId xmlns:a16="http://schemas.microsoft.com/office/drawing/2014/main" id="{468EEBBF-213D-4D68-A9CE-7CE68854BF37}"/>
                </a:ext>
              </a:extLst>
            </p:cNvPr>
            <p:cNvSpPr/>
            <p:nvPr userDrawn="1"/>
          </p:nvSpPr>
          <p:spPr>
            <a:xfrm>
              <a:off x="2767292" y="1"/>
              <a:ext cx="7138708" cy="6857999"/>
            </a:xfrm>
            <a:prstGeom prst="rect">
              <a:avLst/>
            </a:prstGeom>
            <a:solidFill>
              <a:srgbClr val="40615F"/>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1F2023"/>
                </a:solidFill>
                <a:effectLst/>
                <a:uLnTx/>
                <a:uFillTx/>
                <a:latin typeface="Arial"/>
                <a:ea typeface="+mn-ea"/>
                <a:cs typeface="+mn-cs"/>
              </a:endParaRPr>
            </a:p>
          </p:txBody>
        </p:sp>
        <p:sp>
          <p:nvSpPr>
            <p:cNvPr id="21" name="Egg">
              <a:extLst>
                <a:ext uri="{FF2B5EF4-FFF2-40B4-BE49-F238E27FC236}">
                  <a16:creationId xmlns:a16="http://schemas.microsoft.com/office/drawing/2014/main" id="{22B6603F-4155-4540-8188-E26BD0148E04}"/>
                </a:ext>
              </a:extLst>
            </p:cNvPr>
            <p:cNvSpPr/>
            <p:nvPr userDrawn="1"/>
          </p:nvSpPr>
          <p:spPr>
            <a:xfrm>
              <a:off x="0" y="1192710"/>
              <a:ext cx="8554911" cy="566529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en-GB" sz="1000" noProof="0">
                <a:solidFill>
                  <a:srgbClr val="1F2023"/>
                </a:solidFill>
              </a:endParaRPr>
            </a:p>
          </p:txBody>
        </p:sp>
      </p:grpSp>
      <p:sp>
        <p:nvSpPr>
          <p:cNvPr id="20" name="Title">
            <a:extLst>
              <a:ext uri="{FF2B5EF4-FFF2-40B4-BE49-F238E27FC236}">
                <a16:creationId xmlns:a16="http://schemas.microsoft.com/office/drawing/2014/main" id="{0EBAF0D6-94B2-4C1D-A1F8-F94F8FD39F51}"/>
              </a:ext>
            </a:extLst>
          </p:cNvPr>
          <p:cNvSpPr>
            <a:spLocks noGrp="1"/>
          </p:cNvSpPr>
          <p:nvPr>
            <p:ph type="ctrTitle"/>
          </p:nvPr>
        </p:nvSpPr>
        <p:spPr>
          <a:xfrm>
            <a:off x="271333" y="2114551"/>
            <a:ext cx="4818063" cy="2976366"/>
          </a:xfrm>
        </p:spPr>
        <p:txBody>
          <a:bodyPr vert="horz" anchor="t" anchorCtr="0">
            <a:noAutofit/>
          </a:bodyPr>
          <a:lstStyle>
            <a:lvl1pPr algn="l">
              <a:lnSpc>
                <a:spcPct val="83000"/>
              </a:lnSpc>
              <a:defRPr sz="6000" cap="all" baseline="0">
                <a:solidFill>
                  <a:srgbClr val="30373B"/>
                </a:solidFill>
                <a:latin typeface="Impact" panose="020B0806030902050204" pitchFamily="34" charset="0"/>
              </a:defRPr>
            </a:lvl1pPr>
          </a:lstStyle>
          <a:p>
            <a:r>
              <a:rPr lang="en-US"/>
              <a:t>Click to edit Master title style</a:t>
            </a:r>
            <a:endParaRPr lang="en-GB"/>
          </a:p>
        </p:txBody>
      </p:sp>
      <p:sp>
        <p:nvSpPr>
          <p:cNvPr id="16" name="Subtitle">
            <a:extLst>
              <a:ext uri="{FF2B5EF4-FFF2-40B4-BE49-F238E27FC236}">
                <a16:creationId xmlns:a16="http://schemas.microsoft.com/office/drawing/2014/main" id="{D91FE0B5-9691-44AE-8658-63DACE043914}"/>
              </a:ext>
            </a:extLst>
          </p:cNvPr>
          <p:cNvSpPr>
            <a:spLocks noGrp="1"/>
          </p:cNvSpPr>
          <p:nvPr>
            <p:ph type="subTitle" idx="1"/>
          </p:nvPr>
        </p:nvSpPr>
        <p:spPr>
          <a:xfrm>
            <a:off x="269875" y="5359204"/>
            <a:ext cx="2816225" cy="970159"/>
          </a:xfrm>
        </p:spPr>
        <p:txBody>
          <a:bodyPr rIns="360000" anchor="t" anchorCtr="0"/>
          <a:lstStyle>
            <a:lvl1pPr marL="0" indent="0" algn="l">
              <a:lnSpc>
                <a:spcPct val="90000"/>
              </a:lnSpc>
              <a:spcBef>
                <a:spcPts val="0"/>
              </a:spcBef>
              <a:buFont typeface="Arial" panose="020B0604020202020204" pitchFamily="34" charset="0"/>
              <a:buChar char="​"/>
              <a:defRPr sz="1100">
                <a:solidFill>
                  <a:srgbClr val="1F2023"/>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US"/>
              <a:t>Click to edit Master subtitle style</a:t>
            </a:r>
            <a:endParaRPr lang="en-GB"/>
          </a:p>
        </p:txBody>
      </p:sp>
      <p:sp>
        <p:nvSpPr>
          <p:cNvPr id="17" name="Date">
            <a:extLst>
              <a:ext uri="{FF2B5EF4-FFF2-40B4-BE49-F238E27FC236}">
                <a16:creationId xmlns:a16="http://schemas.microsoft.com/office/drawing/2014/main" id="{B0209D8F-BA6F-43E8-8163-332BF66A1716}"/>
              </a:ext>
            </a:extLst>
          </p:cNvPr>
          <p:cNvSpPr>
            <a:spLocks noGrp="1"/>
          </p:cNvSpPr>
          <p:nvPr>
            <p:ph type="body" sz="quarter" idx="13" hasCustomPrompt="1"/>
          </p:nvPr>
        </p:nvSpPr>
        <p:spPr>
          <a:xfrm>
            <a:off x="269875" y="6329363"/>
            <a:ext cx="2816226" cy="268287"/>
          </a:xfrm>
        </p:spPr>
        <p:txBody>
          <a:bodyPr rIns="0" anchor="b" anchorCtr="0"/>
          <a:lstStyle>
            <a:lvl1pPr>
              <a:lnSpc>
                <a:spcPct val="90000"/>
              </a:lnSpc>
              <a:defRPr sz="900">
                <a:solidFill>
                  <a:srgbClr val="1F2023"/>
                </a:solidFill>
              </a:defRPr>
            </a:lvl1pPr>
            <a:lvl5pPr>
              <a:defRPr/>
            </a:lvl5pPr>
          </a:lstStyle>
          <a:p>
            <a:pPr lvl="0"/>
            <a:r>
              <a:rPr lang="en-GB"/>
              <a:t>Date</a:t>
            </a:r>
          </a:p>
        </p:txBody>
      </p:sp>
      <p:sp>
        <p:nvSpPr>
          <p:cNvPr id="19" name="Picture Placeholder">
            <a:extLst>
              <a:ext uri="{FF2B5EF4-FFF2-40B4-BE49-F238E27FC236}">
                <a16:creationId xmlns:a16="http://schemas.microsoft.com/office/drawing/2014/main" id="{FF4E0258-33E3-4EA6-82D5-DF8741A7A7DA}"/>
              </a:ext>
            </a:extLst>
          </p:cNvPr>
          <p:cNvSpPr>
            <a:spLocks noGrp="1"/>
          </p:cNvSpPr>
          <p:nvPr>
            <p:ph type="pic" sz="quarter" idx="15"/>
          </p:nvPr>
        </p:nvSpPr>
        <p:spPr>
          <a:xfrm>
            <a:off x="5583518" y="2114552"/>
            <a:ext cx="3493808" cy="4743448"/>
          </a:xfrm>
          <a:solidFill>
            <a:srgbClr val="F3F2F0"/>
          </a:solidFill>
        </p:spPr>
        <p:txBody>
          <a:bodyPr vert="horz" lIns="0" tIns="0" rIns="0" bIns="0" rtlCol="0" anchor="ctr" anchorCtr="0">
            <a:noAutofit/>
          </a:bodyPr>
          <a:lstStyle>
            <a:lvl1pPr algn="ctr">
              <a:defRPr lang="da-DK" dirty="0"/>
            </a:lvl1pPr>
          </a:lstStyle>
          <a:p>
            <a:pPr lvl="0" algn="ctr">
              <a:buNone/>
            </a:pPr>
            <a:r>
              <a:rPr lang="en-US"/>
              <a:t>Click icon to add picture</a:t>
            </a:r>
            <a:endParaRPr lang="en-GB"/>
          </a:p>
        </p:txBody>
      </p:sp>
      <p:sp>
        <p:nvSpPr>
          <p:cNvPr id="12" name="Logotype">
            <a:extLst>
              <a:ext uri="{FF2B5EF4-FFF2-40B4-BE49-F238E27FC236}">
                <a16:creationId xmlns:a16="http://schemas.microsoft.com/office/drawing/2014/main" id="{EF6276E3-5B28-4A6A-B1CA-832827DD36EB}"/>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r>
              <a:rPr lang="en-GB">
                <a:solidFill>
                  <a:srgbClr val="1F2023"/>
                </a:solidFill>
              </a:rPr>
              <a:t> </a:t>
            </a:r>
          </a:p>
        </p:txBody>
      </p:sp>
      <p:sp>
        <p:nvSpPr>
          <p:cNvPr id="10" name="Oval 9" hidden="1">
            <a:extLst>
              <a:ext uri="{FF2B5EF4-FFF2-40B4-BE49-F238E27FC236}">
                <a16:creationId xmlns:a16="http://schemas.microsoft.com/office/drawing/2014/main" id="{693DFDB7-BE44-44DE-A3F8-B293264BFE3E}"/>
              </a:ext>
            </a:extLst>
          </p:cNvPr>
          <p:cNvSpPr/>
          <p:nvPr userDrawn="1"/>
        </p:nvSpPr>
        <p:spPr>
          <a:xfrm>
            <a:off x="9971349" y="5779640"/>
            <a:ext cx="1078362" cy="1078360"/>
          </a:xfrm>
          <a:prstGeom prst="ellipse">
            <a:avLst/>
          </a:prstGeom>
          <a:solidFill>
            <a:srgbClr val="FFFF0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buFontTx/>
              <a:buNone/>
            </a:pPr>
            <a:r>
              <a:rPr lang="en-GB" sz="1100" noProof="0">
                <a:solidFill>
                  <a:sysClr val="windowText" lastClr="000000"/>
                </a:solidFill>
              </a:rPr>
              <a:t>Moved picture </a:t>
            </a:r>
            <a:br>
              <a:rPr lang="en-GB" sz="1100" noProof="0">
                <a:solidFill>
                  <a:sysClr val="windowText" lastClr="000000"/>
                </a:solidFill>
              </a:rPr>
            </a:br>
            <a:r>
              <a:rPr lang="en-GB" sz="1100" noProof="0">
                <a:solidFill>
                  <a:sysClr val="windowText" lastClr="000000"/>
                </a:solidFill>
              </a:rPr>
              <a:t>placeholder </a:t>
            </a:r>
            <a:br>
              <a:rPr lang="en-GB" sz="1100" noProof="0">
                <a:solidFill>
                  <a:sysClr val="windowText" lastClr="000000"/>
                </a:solidFill>
              </a:rPr>
            </a:br>
            <a:r>
              <a:rPr lang="en-GB" sz="1100" noProof="0">
                <a:solidFill>
                  <a:sysClr val="windowText" lastClr="000000"/>
                </a:solidFill>
              </a:rPr>
              <a:t>to align bottom</a:t>
            </a:r>
          </a:p>
        </p:txBody>
      </p:sp>
    </p:spTree>
    <p:extLst>
      <p:ext uri="{BB962C8B-B14F-4D97-AF65-F5344CB8AC3E}">
        <p14:creationId xmlns:p14="http://schemas.microsoft.com/office/powerpoint/2010/main" val="274594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astery cover - ONL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CF0EDF-0F93-47FA-9F31-B4F92E7C9C1E}"/>
              </a:ext>
            </a:extLst>
          </p:cNvPr>
          <p:cNvGrpSpPr/>
          <p:nvPr userDrawn="1"/>
        </p:nvGrpSpPr>
        <p:grpSpPr>
          <a:xfrm>
            <a:off x="269874" y="0"/>
            <a:ext cx="9636126" cy="6608510"/>
            <a:chOff x="269874" y="0"/>
            <a:chExt cx="9636126" cy="6608510"/>
          </a:xfrm>
        </p:grpSpPr>
        <p:sp>
          <p:nvSpPr>
            <p:cNvPr id="20" name="Grid">
              <a:extLst>
                <a:ext uri="{FF2B5EF4-FFF2-40B4-BE49-F238E27FC236}">
                  <a16:creationId xmlns:a16="http://schemas.microsoft.com/office/drawing/2014/main" id="{14EE2482-2706-4328-878D-41690870F632}"/>
                </a:ext>
              </a:extLst>
            </p:cNvPr>
            <p:cNvSpPr/>
            <p:nvPr userDrawn="1"/>
          </p:nvSpPr>
          <p:spPr>
            <a:xfrm>
              <a:off x="269874" y="280735"/>
              <a:ext cx="9364663" cy="6327775"/>
            </a:xfrm>
            <a:custGeom>
              <a:avLst/>
              <a:gdLst>
                <a:gd name="connsiteX0" fmla="*/ 2157895 w 9586368"/>
                <a:gd name="connsiteY0" fmla="*/ 6461491 h 6479439"/>
                <a:gd name="connsiteX1" fmla="*/ 2167802 w 9586368"/>
                <a:gd name="connsiteY1" fmla="*/ 6461491 h 6479439"/>
                <a:gd name="connsiteX2" fmla="*/ 2171820 w 9586368"/>
                <a:gd name="connsiteY2" fmla="*/ 6465529 h 6479439"/>
                <a:gd name="connsiteX3" fmla="*/ 2171820 w 9586368"/>
                <a:gd name="connsiteY3" fmla="*/ 6475400 h 6479439"/>
                <a:gd name="connsiteX4" fmla="*/ 2167802 w 9586368"/>
                <a:gd name="connsiteY4" fmla="*/ 6479439 h 6479439"/>
                <a:gd name="connsiteX5" fmla="*/ 2157895 w 9586368"/>
                <a:gd name="connsiteY5" fmla="*/ 6479439 h 6479439"/>
                <a:gd name="connsiteX6" fmla="*/ 2153871 w 9586368"/>
                <a:gd name="connsiteY6" fmla="*/ 6475400 h 6479439"/>
                <a:gd name="connsiteX7" fmla="*/ 2153871 w 9586368"/>
                <a:gd name="connsiteY7" fmla="*/ 6465529 h 6479439"/>
                <a:gd name="connsiteX8" fmla="*/ 1918509 w 9586368"/>
                <a:gd name="connsiteY8" fmla="*/ 6461491 h 6479439"/>
                <a:gd name="connsiteX9" fmla="*/ 1928419 w 9586368"/>
                <a:gd name="connsiteY9" fmla="*/ 6461491 h 6479439"/>
                <a:gd name="connsiteX10" fmla="*/ 1932437 w 9586368"/>
                <a:gd name="connsiteY10" fmla="*/ 6465529 h 6479439"/>
                <a:gd name="connsiteX11" fmla="*/ 1932437 w 9586368"/>
                <a:gd name="connsiteY11" fmla="*/ 6475400 h 6479439"/>
                <a:gd name="connsiteX12" fmla="*/ 1928419 w 9586368"/>
                <a:gd name="connsiteY12" fmla="*/ 6479439 h 6479439"/>
                <a:gd name="connsiteX13" fmla="*/ 1918509 w 9586368"/>
                <a:gd name="connsiteY13" fmla="*/ 6479439 h 6479439"/>
                <a:gd name="connsiteX14" fmla="*/ 1914490 w 9586368"/>
                <a:gd name="connsiteY14" fmla="*/ 6475400 h 6479439"/>
                <a:gd name="connsiteX15" fmla="*/ 1914490 w 9586368"/>
                <a:gd name="connsiteY15" fmla="*/ 6465529 h 6479439"/>
                <a:gd name="connsiteX16" fmla="*/ 1679200 w 9586368"/>
                <a:gd name="connsiteY16" fmla="*/ 6461491 h 6479439"/>
                <a:gd name="connsiteX17" fmla="*/ 1689110 w 9586368"/>
                <a:gd name="connsiteY17" fmla="*/ 6461491 h 6479439"/>
                <a:gd name="connsiteX18" fmla="*/ 1693128 w 9586368"/>
                <a:gd name="connsiteY18" fmla="*/ 6465529 h 6479439"/>
                <a:gd name="connsiteX19" fmla="*/ 1693128 w 9586368"/>
                <a:gd name="connsiteY19" fmla="*/ 6475400 h 6479439"/>
                <a:gd name="connsiteX20" fmla="*/ 1689110 w 9586368"/>
                <a:gd name="connsiteY20" fmla="*/ 6479439 h 6479439"/>
                <a:gd name="connsiteX21" fmla="*/ 1679200 w 9586368"/>
                <a:gd name="connsiteY21" fmla="*/ 6479439 h 6479439"/>
                <a:gd name="connsiteX22" fmla="*/ 1675180 w 9586368"/>
                <a:gd name="connsiteY22" fmla="*/ 6475400 h 6479439"/>
                <a:gd name="connsiteX23" fmla="*/ 1675180 w 9586368"/>
                <a:gd name="connsiteY23" fmla="*/ 6465529 h 6479439"/>
                <a:gd name="connsiteX24" fmla="*/ 1439885 w 9586368"/>
                <a:gd name="connsiteY24" fmla="*/ 6461491 h 6479439"/>
                <a:gd name="connsiteX25" fmla="*/ 1449795 w 9586368"/>
                <a:gd name="connsiteY25" fmla="*/ 6461491 h 6479439"/>
                <a:gd name="connsiteX26" fmla="*/ 1453813 w 9586368"/>
                <a:gd name="connsiteY26" fmla="*/ 6465529 h 6479439"/>
                <a:gd name="connsiteX27" fmla="*/ 1453813 w 9586368"/>
                <a:gd name="connsiteY27" fmla="*/ 6475400 h 6479439"/>
                <a:gd name="connsiteX28" fmla="*/ 1449795 w 9586368"/>
                <a:gd name="connsiteY28" fmla="*/ 6479439 h 6479439"/>
                <a:gd name="connsiteX29" fmla="*/ 1439885 w 9586368"/>
                <a:gd name="connsiteY29" fmla="*/ 6479439 h 6479439"/>
                <a:gd name="connsiteX30" fmla="*/ 1435865 w 9586368"/>
                <a:gd name="connsiteY30" fmla="*/ 6475400 h 6479439"/>
                <a:gd name="connsiteX31" fmla="*/ 1435865 w 9586368"/>
                <a:gd name="connsiteY31" fmla="*/ 6465529 h 6479439"/>
                <a:gd name="connsiteX32" fmla="*/ 1200570 w 9586368"/>
                <a:gd name="connsiteY32" fmla="*/ 6461491 h 6479439"/>
                <a:gd name="connsiteX33" fmla="*/ 1210480 w 9586368"/>
                <a:gd name="connsiteY33" fmla="*/ 6461491 h 6479439"/>
                <a:gd name="connsiteX34" fmla="*/ 1214498 w 9586368"/>
                <a:gd name="connsiteY34" fmla="*/ 6465529 h 6479439"/>
                <a:gd name="connsiteX35" fmla="*/ 1214498 w 9586368"/>
                <a:gd name="connsiteY35" fmla="*/ 6475400 h 6479439"/>
                <a:gd name="connsiteX36" fmla="*/ 1210480 w 9586368"/>
                <a:gd name="connsiteY36" fmla="*/ 6479439 h 6479439"/>
                <a:gd name="connsiteX37" fmla="*/ 1200570 w 9586368"/>
                <a:gd name="connsiteY37" fmla="*/ 6479439 h 6479439"/>
                <a:gd name="connsiteX38" fmla="*/ 1196551 w 9586368"/>
                <a:gd name="connsiteY38" fmla="*/ 6475400 h 6479439"/>
                <a:gd name="connsiteX39" fmla="*/ 1196551 w 9586368"/>
                <a:gd name="connsiteY39" fmla="*/ 6465529 h 6479439"/>
                <a:gd name="connsiteX40" fmla="*/ 961257 w 9586368"/>
                <a:gd name="connsiteY40" fmla="*/ 6461491 h 6479439"/>
                <a:gd name="connsiteX41" fmla="*/ 971167 w 9586368"/>
                <a:gd name="connsiteY41" fmla="*/ 6461491 h 6479439"/>
                <a:gd name="connsiteX42" fmla="*/ 975186 w 9586368"/>
                <a:gd name="connsiteY42" fmla="*/ 6465529 h 6479439"/>
                <a:gd name="connsiteX43" fmla="*/ 975186 w 9586368"/>
                <a:gd name="connsiteY43" fmla="*/ 6475400 h 6479439"/>
                <a:gd name="connsiteX44" fmla="*/ 971167 w 9586368"/>
                <a:gd name="connsiteY44" fmla="*/ 6479439 h 6479439"/>
                <a:gd name="connsiteX45" fmla="*/ 961257 w 9586368"/>
                <a:gd name="connsiteY45" fmla="*/ 6479439 h 6479439"/>
                <a:gd name="connsiteX46" fmla="*/ 957238 w 9586368"/>
                <a:gd name="connsiteY46" fmla="*/ 6475400 h 6479439"/>
                <a:gd name="connsiteX47" fmla="*/ 957238 w 9586368"/>
                <a:gd name="connsiteY47" fmla="*/ 6465529 h 6479439"/>
                <a:gd name="connsiteX48" fmla="*/ 9572438 w 9586368"/>
                <a:gd name="connsiteY48" fmla="*/ 6461440 h 6479439"/>
                <a:gd name="connsiteX49" fmla="*/ 9582349 w 9586368"/>
                <a:gd name="connsiteY49" fmla="*/ 6461440 h 6479439"/>
                <a:gd name="connsiteX50" fmla="*/ 9586368 w 9586368"/>
                <a:gd name="connsiteY50" fmla="*/ 6465478 h 6479439"/>
                <a:gd name="connsiteX51" fmla="*/ 9586368 w 9586368"/>
                <a:gd name="connsiteY51" fmla="*/ 6475349 h 6479439"/>
                <a:gd name="connsiteX52" fmla="*/ 9582349 w 9586368"/>
                <a:gd name="connsiteY52" fmla="*/ 6479388 h 6479439"/>
                <a:gd name="connsiteX53" fmla="*/ 9572438 w 9586368"/>
                <a:gd name="connsiteY53" fmla="*/ 6479388 h 6479439"/>
                <a:gd name="connsiteX54" fmla="*/ 9568419 w 9586368"/>
                <a:gd name="connsiteY54" fmla="*/ 6475349 h 6479439"/>
                <a:gd name="connsiteX55" fmla="*/ 9568419 w 9586368"/>
                <a:gd name="connsiteY55" fmla="*/ 6465478 h 6479439"/>
                <a:gd name="connsiteX56" fmla="*/ 9333125 w 9586368"/>
                <a:gd name="connsiteY56" fmla="*/ 6461440 h 6479439"/>
                <a:gd name="connsiteX57" fmla="*/ 9343036 w 9586368"/>
                <a:gd name="connsiteY57" fmla="*/ 6461440 h 6479439"/>
                <a:gd name="connsiteX58" fmla="*/ 9347055 w 9586368"/>
                <a:gd name="connsiteY58" fmla="*/ 6465478 h 6479439"/>
                <a:gd name="connsiteX59" fmla="*/ 9347055 w 9586368"/>
                <a:gd name="connsiteY59" fmla="*/ 6475349 h 6479439"/>
                <a:gd name="connsiteX60" fmla="*/ 9343036 w 9586368"/>
                <a:gd name="connsiteY60" fmla="*/ 6479388 h 6479439"/>
                <a:gd name="connsiteX61" fmla="*/ 9333125 w 9586368"/>
                <a:gd name="connsiteY61" fmla="*/ 6479388 h 6479439"/>
                <a:gd name="connsiteX62" fmla="*/ 9329106 w 9586368"/>
                <a:gd name="connsiteY62" fmla="*/ 6475349 h 6479439"/>
                <a:gd name="connsiteX63" fmla="*/ 9329106 w 9586368"/>
                <a:gd name="connsiteY63" fmla="*/ 6465478 h 6479439"/>
                <a:gd name="connsiteX64" fmla="*/ 9093811 w 9586368"/>
                <a:gd name="connsiteY64" fmla="*/ 6461440 h 6479439"/>
                <a:gd name="connsiteX65" fmla="*/ 9103722 w 9586368"/>
                <a:gd name="connsiteY65" fmla="*/ 6461440 h 6479439"/>
                <a:gd name="connsiteX66" fmla="*/ 9107741 w 9586368"/>
                <a:gd name="connsiteY66" fmla="*/ 6465478 h 6479439"/>
                <a:gd name="connsiteX67" fmla="*/ 9107741 w 9586368"/>
                <a:gd name="connsiteY67" fmla="*/ 6475349 h 6479439"/>
                <a:gd name="connsiteX68" fmla="*/ 9103722 w 9586368"/>
                <a:gd name="connsiteY68" fmla="*/ 6479388 h 6479439"/>
                <a:gd name="connsiteX69" fmla="*/ 9093811 w 9586368"/>
                <a:gd name="connsiteY69" fmla="*/ 6479388 h 6479439"/>
                <a:gd name="connsiteX70" fmla="*/ 9089792 w 9586368"/>
                <a:gd name="connsiteY70" fmla="*/ 6475349 h 6479439"/>
                <a:gd name="connsiteX71" fmla="*/ 9089792 w 9586368"/>
                <a:gd name="connsiteY71" fmla="*/ 6465478 h 6479439"/>
                <a:gd name="connsiteX72" fmla="*/ 8854496 w 9586368"/>
                <a:gd name="connsiteY72" fmla="*/ 6461440 h 6479439"/>
                <a:gd name="connsiteX73" fmla="*/ 8864407 w 9586368"/>
                <a:gd name="connsiteY73" fmla="*/ 6461440 h 6479439"/>
                <a:gd name="connsiteX74" fmla="*/ 8868426 w 9586368"/>
                <a:gd name="connsiteY74" fmla="*/ 6465478 h 6479439"/>
                <a:gd name="connsiteX75" fmla="*/ 8868426 w 9586368"/>
                <a:gd name="connsiteY75" fmla="*/ 6475349 h 6479439"/>
                <a:gd name="connsiteX76" fmla="*/ 8864407 w 9586368"/>
                <a:gd name="connsiteY76" fmla="*/ 6479388 h 6479439"/>
                <a:gd name="connsiteX77" fmla="*/ 8854496 w 9586368"/>
                <a:gd name="connsiteY77" fmla="*/ 6479388 h 6479439"/>
                <a:gd name="connsiteX78" fmla="*/ 8850477 w 9586368"/>
                <a:gd name="connsiteY78" fmla="*/ 6475349 h 6479439"/>
                <a:gd name="connsiteX79" fmla="*/ 8850477 w 9586368"/>
                <a:gd name="connsiteY79" fmla="*/ 6465478 h 6479439"/>
                <a:gd name="connsiteX80" fmla="*/ 8615184 w 9586368"/>
                <a:gd name="connsiteY80" fmla="*/ 6461440 h 6479439"/>
                <a:gd name="connsiteX81" fmla="*/ 8625095 w 9586368"/>
                <a:gd name="connsiteY81" fmla="*/ 6461440 h 6479439"/>
                <a:gd name="connsiteX82" fmla="*/ 8629114 w 9586368"/>
                <a:gd name="connsiteY82" fmla="*/ 6465478 h 6479439"/>
                <a:gd name="connsiteX83" fmla="*/ 8629114 w 9586368"/>
                <a:gd name="connsiteY83" fmla="*/ 6475349 h 6479439"/>
                <a:gd name="connsiteX84" fmla="*/ 8625095 w 9586368"/>
                <a:gd name="connsiteY84" fmla="*/ 6479388 h 6479439"/>
                <a:gd name="connsiteX85" fmla="*/ 8615184 w 9586368"/>
                <a:gd name="connsiteY85" fmla="*/ 6479388 h 6479439"/>
                <a:gd name="connsiteX86" fmla="*/ 8611165 w 9586368"/>
                <a:gd name="connsiteY86" fmla="*/ 6475349 h 6479439"/>
                <a:gd name="connsiteX87" fmla="*/ 8611165 w 9586368"/>
                <a:gd name="connsiteY87" fmla="*/ 6465478 h 6479439"/>
                <a:gd name="connsiteX88" fmla="*/ 8375869 w 9586368"/>
                <a:gd name="connsiteY88" fmla="*/ 6461440 h 6479439"/>
                <a:gd name="connsiteX89" fmla="*/ 8385779 w 9586368"/>
                <a:gd name="connsiteY89" fmla="*/ 6461440 h 6479439"/>
                <a:gd name="connsiteX90" fmla="*/ 8389799 w 9586368"/>
                <a:gd name="connsiteY90" fmla="*/ 6465478 h 6479439"/>
                <a:gd name="connsiteX91" fmla="*/ 8389799 w 9586368"/>
                <a:gd name="connsiteY91" fmla="*/ 6475349 h 6479439"/>
                <a:gd name="connsiteX92" fmla="*/ 8385779 w 9586368"/>
                <a:gd name="connsiteY92" fmla="*/ 6479388 h 6479439"/>
                <a:gd name="connsiteX93" fmla="*/ 8375869 w 9586368"/>
                <a:gd name="connsiteY93" fmla="*/ 6479388 h 6479439"/>
                <a:gd name="connsiteX94" fmla="*/ 8371850 w 9586368"/>
                <a:gd name="connsiteY94" fmla="*/ 6475349 h 6479439"/>
                <a:gd name="connsiteX95" fmla="*/ 8371850 w 9586368"/>
                <a:gd name="connsiteY95" fmla="*/ 6465478 h 6479439"/>
                <a:gd name="connsiteX96" fmla="*/ 8136553 w 9586368"/>
                <a:gd name="connsiteY96" fmla="*/ 6461440 h 6479439"/>
                <a:gd name="connsiteX97" fmla="*/ 8146464 w 9586368"/>
                <a:gd name="connsiteY97" fmla="*/ 6461440 h 6479439"/>
                <a:gd name="connsiteX98" fmla="*/ 8150483 w 9586368"/>
                <a:gd name="connsiteY98" fmla="*/ 6465478 h 6479439"/>
                <a:gd name="connsiteX99" fmla="*/ 8150483 w 9586368"/>
                <a:gd name="connsiteY99" fmla="*/ 6475349 h 6479439"/>
                <a:gd name="connsiteX100" fmla="*/ 8146464 w 9586368"/>
                <a:gd name="connsiteY100" fmla="*/ 6479388 h 6479439"/>
                <a:gd name="connsiteX101" fmla="*/ 8136553 w 9586368"/>
                <a:gd name="connsiteY101" fmla="*/ 6479388 h 6479439"/>
                <a:gd name="connsiteX102" fmla="*/ 8132534 w 9586368"/>
                <a:gd name="connsiteY102" fmla="*/ 6475349 h 6479439"/>
                <a:gd name="connsiteX103" fmla="*/ 8132534 w 9586368"/>
                <a:gd name="connsiteY103" fmla="*/ 6465478 h 6479439"/>
                <a:gd name="connsiteX104" fmla="*/ 7897241 w 9586368"/>
                <a:gd name="connsiteY104" fmla="*/ 6461440 h 6479439"/>
                <a:gd name="connsiteX105" fmla="*/ 7907151 w 9586368"/>
                <a:gd name="connsiteY105" fmla="*/ 6461440 h 6479439"/>
                <a:gd name="connsiteX106" fmla="*/ 7911170 w 9586368"/>
                <a:gd name="connsiteY106" fmla="*/ 6465478 h 6479439"/>
                <a:gd name="connsiteX107" fmla="*/ 7911170 w 9586368"/>
                <a:gd name="connsiteY107" fmla="*/ 6475349 h 6479439"/>
                <a:gd name="connsiteX108" fmla="*/ 7907151 w 9586368"/>
                <a:gd name="connsiteY108" fmla="*/ 6479388 h 6479439"/>
                <a:gd name="connsiteX109" fmla="*/ 7897241 w 9586368"/>
                <a:gd name="connsiteY109" fmla="*/ 6479388 h 6479439"/>
                <a:gd name="connsiteX110" fmla="*/ 7893222 w 9586368"/>
                <a:gd name="connsiteY110" fmla="*/ 6475349 h 6479439"/>
                <a:gd name="connsiteX111" fmla="*/ 7893222 w 9586368"/>
                <a:gd name="connsiteY111" fmla="*/ 6465478 h 6479439"/>
                <a:gd name="connsiteX112" fmla="*/ 7657926 w 9586368"/>
                <a:gd name="connsiteY112" fmla="*/ 6461440 h 6479439"/>
                <a:gd name="connsiteX113" fmla="*/ 7667836 w 9586368"/>
                <a:gd name="connsiteY113" fmla="*/ 6461440 h 6479439"/>
                <a:gd name="connsiteX114" fmla="*/ 7671855 w 9586368"/>
                <a:gd name="connsiteY114" fmla="*/ 6465478 h 6479439"/>
                <a:gd name="connsiteX115" fmla="*/ 7671855 w 9586368"/>
                <a:gd name="connsiteY115" fmla="*/ 6475349 h 6479439"/>
                <a:gd name="connsiteX116" fmla="*/ 7667836 w 9586368"/>
                <a:gd name="connsiteY116" fmla="*/ 6479388 h 6479439"/>
                <a:gd name="connsiteX117" fmla="*/ 7657926 w 9586368"/>
                <a:gd name="connsiteY117" fmla="*/ 6479388 h 6479439"/>
                <a:gd name="connsiteX118" fmla="*/ 7653906 w 9586368"/>
                <a:gd name="connsiteY118" fmla="*/ 6475349 h 6479439"/>
                <a:gd name="connsiteX119" fmla="*/ 7653906 w 9586368"/>
                <a:gd name="connsiteY119" fmla="*/ 6465478 h 6479439"/>
                <a:gd name="connsiteX120" fmla="*/ 7418611 w 9586368"/>
                <a:gd name="connsiteY120" fmla="*/ 6461440 h 6479439"/>
                <a:gd name="connsiteX121" fmla="*/ 7428521 w 9586368"/>
                <a:gd name="connsiteY121" fmla="*/ 6461440 h 6479439"/>
                <a:gd name="connsiteX122" fmla="*/ 7432540 w 9586368"/>
                <a:gd name="connsiteY122" fmla="*/ 6465478 h 6479439"/>
                <a:gd name="connsiteX123" fmla="*/ 7432540 w 9586368"/>
                <a:gd name="connsiteY123" fmla="*/ 6475349 h 6479439"/>
                <a:gd name="connsiteX124" fmla="*/ 7428521 w 9586368"/>
                <a:gd name="connsiteY124" fmla="*/ 6479388 h 6479439"/>
                <a:gd name="connsiteX125" fmla="*/ 7418611 w 9586368"/>
                <a:gd name="connsiteY125" fmla="*/ 6479388 h 6479439"/>
                <a:gd name="connsiteX126" fmla="*/ 7414592 w 9586368"/>
                <a:gd name="connsiteY126" fmla="*/ 6475349 h 6479439"/>
                <a:gd name="connsiteX127" fmla="*/ 7414592 w 9586368"/>
                <a:gd name="connsiteY127" fmla="*/ 6465478 h 6479439"/>
                <a:gd name="connsiteX128" fmla="*/ 7179298 w 9586368"/>
                <a:gd name="connsiteY128" fmla="*/ 6461440 h 6479439"/>
                <a:gd name="connsiteX129" fmla="*/ 7189209 w 9586368"/>
                <a:gd name="connsiteY129" fmla="*/ 6461440 h 6479439"/>
                <a:gd name="connsiteX130" fmla="*/ 7193228 w 9586368"/>
                <a:gd name="connsiteY130" fmla="*/ 6465478 h 6479439"/>
                <a:gd name="connsiteX131" fmla="*/ 7193228 w 9586368"/>
                <a:gd name="connsiteY131" fmla="*/ 6475349 h 6479439"/>
                <a:gd name="connsiteX132" fmla="*/ 7189209 w 9586368"/>
                <a:gd name="connsiteY132" fmla="*/ 6479388 h 6479439"/>
                <a:gd name="connsiteX133" fmla="*/ 7179298 w 9586368"/>
                <a:gd name="connsiteY133" fmla="*/ 6479388 h 6479439"/>
                <a:gd name="connsiteX134" fmla="*/ 7175279 w 9586368"/>
                <a:gd name="connsiteY134" fmla="*/ 6475349 h 6479439"/>
                <a:gd name="connsiteX135" fmla="*/ 7175279 w 9586368"/>
                <a:gd name="connsiteY135" fmla="*/ 6465478 h 6479439"/>
                <a:gd name="connsiteX136" fmla="*/ 6939983 w 9586368"/>
                <a:gd name="connsiteY136" fmla="*/ 6461440 h 6479439"/>
                <a:gd name="connsiteX137" fmla="*/ 6949894 w 9586368"/>
                <a:gd name="connsiteY137" fmla="*/ 6461440 h 6479439"/>
                <a:gd name="connsiteX138" fmla="*/ 6953913 w 9586368"/>
                <a:gd name="connsiteY138" fmla="*/ 6465478 h 6479439"/>
                <a:gd name="connsiteX139" fmla="*/ 6953913 w 9586368"/>
                <a:gd name="connsiteY139" fmla="*/ 6475349 h 6479439"/>
                <a:gd name="connsiteX140" fmla="*/ 6949894 w 9586368"/>
                <a:gd name="connsiteY140" fmla="*/ 6479388 h 6479439"/>
                <a:gd name="connsiteX141" fmla="*/ 6939983 w 9586368"/>
                <a:gd name="connsiteY141" fmla="*/ 6479388 h 6479439"/>
                <a:gd name="connsiteX142" fmla="*/ 6935964 w 9586368"/>
                <a:gd name="connsiteY142" fmla="*/ 6475349 h 6479439"/>
                <a:gd name="connsiteX143" fmla="*/ 6935964 w 9586368"/>
                <a:gd name="connsiteY143" fmla="*/ 6465478 h 6479439"/>
                <a:gd name="connsiteX144" fmla="*/ 6700670 w 9586368"/>
                <a:gd name="connsiteY144" fmla="*/ 6461440 h 6479439"/>
                <a:gd name="connsiteX145" fmla="*/ 6710581 w 9586368"/>
                <a:gd name="connsiteY145" fmla="*/ 6461440 h 6479439"/>
                <a:gd name="connsiteX146" fmla="*/ 6714600 w 9586368"/>
                <a:gd name="connsiteY146" fmla="*/ 6465478 h 6479439"/>
                <a:gd name="connsiteX147" fmla="*/ 6714600 w 9586368"/>
                <a:gd name="connsiteY147" fmla="*/ 6475349 h 6479439"/>
                <a:gd name="connsiteX148" fmla="*/ 6710581 w 9586368"/>
                <a:gd name="connsiteY148" fmla="*/ 6479388 h 6479439"/>
                <a:gd name="connsiteX149" fmla="*/ 6700670 w 9586368"/>
                <a:gd name="connsiteY149" fmla="*/ 6479388 h 6479439"/>
                <a:gd name="connsiteX150" fmla="*/ 6696651 w 9586368"/>
                <a:gd name="connsiteY150" fmla="*/ 6475349 h 6479439"/>
                <a:gd name="connsiteX151" fmla="*/ 6696651 w 9586368"/>
                <a:gd name="connsiteY151" fmla="*/ 6465478 h 6479439"/>
                <a:gd name="connsiteX152" fmla="*/ 6461356 w 9586368"/>
                <a:gd name="connsiteY152" fmla="*/ 6461440 h 6479439"/>
                <a:gd name="connsiteX153" fmla="*/ 6471266 w 9586368"/>
                <a:gd name="connsiteY153" fmla="*/ 6461440 h 6479439"/>
                <a:gd name="connsiteX154" fmla="*/ 6475285 w 9586368"/>
                <a:gd name="connsiteY154" fmla="*/ 6465478 h 6479439"/>
                <a:gd name="connsiteX155" fmla="*/ 6475285 w 9586368"/>
                <a:gd name="connsiteY155" fmla="*/ 6475349 h 6479439"/>
                <a:gd name="connsiteX156" fmla="*/ 6471266 w 9586368"/>
                <a:gd name="connsiteY156" fmla="*/ 6479388 h 6479439"/>
                <a:gd name="connsiteX157" fmla="*/ 6461356 w 9586368"/>
                <a:gd name="connsiteY157" fmla="*/ 6479388 h 6479439"/>
                <a:gd name="connsiteX158" fmla="*/ 6457337 w 9586368"/>
                <a:gd name="connsiteY158" fmla="*/ 6475349 h 6479439"/>
                <a:gd name="connsiteX159" fmla="*/ 6457337 w 9586368"/>
                <a:gd name="connsiteY159" fmla="*/ 6465478 h 6479439"/>
                <a:gd name="connsiteX160" fmla="*/ 6222042 w 9586368"/>
                <a:gd name="connsiteY160" fmla="*/ 6461440 h 6479439"/>
                <a:gd name="connsiteX161" fmla="*/ 6231952 w 9586368"/>
                <a:gd name="connsiteY161" fmla="*/ 6461440 h 6479439"/>
                <a:gd name="connsiteX162" fmla="*/ 6235971 w 9586368"/>
                <a:gd name="connsiteY162" fmla="*/ 6465478 h 6479439"/>
                <a:gd name="connsiteX163" fmla="*/ 6235971 w 9586368"/>
                <a:gd name="connsiteY163" fmla="*/ 6475349 h 6479439"/>
                <a:gd name="connsiteX164" fmla="*/ 6231952 w 9586368"/>
                <a:gd name="connsiteY164" fmla="*/ 6479388 h 6479439"/>
                <a:gd name="connsiteX165" fmla="*/ 6222042 w 9586368"/>
                <a:gd name="connsiteY165" fmla="*/ 6479388 h 6479439"/>
                <a:gd name="connsiteX166" fmla="*/ 6218023 w 9586368"/>
                <a:gd name="connsiteY166" fmla="*/ 6475349 h 6479439"/>
                <a:gd name="connsiteX167" fmla="*/ 6218023 w 9586368"/>
                <a:gd name="connsiteY167" fmla="*/ 6465478 h 6479439"/>
                <a:gd name="connsiteX168" fmla="*/ 5982729 w 9586368"/>
                <a:gd name="connsiteY168" fmla="*/ 6461440 h 6479439"/>
                <a:gd name="connsiteX169" fmla="*/ 5992639 w 9586368"/>
                <a:gd name="connsiteY169" fmla="*/ 6461440 h 6479439"/>
                <a:gd name="connsiteX170" fmla="*/ 5996658 w 9586368"/>
                <a:gd name="connsiteY170" fmla="*/ 6465478 h 6479439"/>
                <a:gd name="connsiteX171" fmla="*/ 5996658 w 9586368"/>
                <a:gd name="connsiteY171" fmla="*/ 6475349 h 6479439"/>
                <a:gd name="connsiteX172" fmla="*/ 5992639 w 9586368"/>
                <a:gd name="connsiteY172" fmla="*/ 6479388 h 6479439"/>
                <a:gd name="connsiteX173" fmla="*/ 5982729 w 9586368"/>
                <a:gd name="connsiteY173" fmla="*/ 6479388 h 6479439"/>
                <a:gd name="connsiteX174" fmla="*/ 5978710 w 9586368"/>
                <a:gd name="connsiteY174" fmla="*/ 6475349 h 6479439"/>
                <a:gd name="connsiteX175" fmla="*/ 5978710 w 9586368"/>
                <a:gd name="connsiteY175" fmla="*/ 6465478 h 6479439"/>
                <a:gd name="connsiteX176" fmla="*/ 5743412 w 9586368"/>
                <a:gd name="connsiteY176" fmla="*/ 6461440 h 6479439"/>
                <a:gd name="connsiteX177" fmla="*/ 5753323 w 9586368"/>
                <a:gd name="connsiteY177" fmla="*/ 6461440 h 6479439"/>
                <a:gd name="connsiteX178" fmla="*/ 5757342 w 9586368"/>
                <a:gd name="connsiteY178" fmla="*/ 6465478 h 6479439"/>
                <a:gd name="connsiteX179" fmla="*/ 5757342 w 9586368"/>
                <a:gd name="connsiteY179" fmla="*/ 6475349 h 6479439"/>
                <a:gd name="connsiteX180" fmla="*/ 5753323 w 9586368"/>
                <a:gd name="connsiteY180" fmla="*/ 6479388 h 6479439"/>
                <a:gd name="connsiteX181" fmla="*/ 5743412 w 9586368"/>
                <a:gd name="connsiteY181" fmla="*/ 6479388 h 6479439"/>
                <a:gd name="connsiteX182" fmla="*/ 5739393 w 9586368"/>
                <a:gd name="connsiteY182" fmla="*/ 6475349 h 6479439"/>
                <a:gd name="connsiteX183" fmla="*/ 5739393 w 9586368"/>
                <a:gd name="connsiteY183" fmla="*/ 6465478 h 6479439"/>
                <a:gd name="connsiteX184" fmla="*/ 5504099 w 9586368"/>
                <a:gd name="connsiteY184" fmla="*/ 6461440 h 6479439"/>
                <a:gd name="connsiteX185" fmla="*/ 5514010 w 9586368"/>
                <a:gd name="connsiteY185" fmla="*/ 6461440 h 6479439"/>
                <a:gd name="connsiteX186" fmla="*/ 5518029 w 9586368"/>
                <a:gd name="connsiteY186" fmla="*/ 6465478 h 6479439"/>
                <a:gd name="connsiteX187" fmla="*/ 5518029 w 9586368"/>
                <a:gd name="connsiteY187" fmla="*/ 6475349 h 6479439"/>
                <a:gd name="connsiteX188" fmla="*/ 5514010 w 9586368"/>
                <a:gd name="connsiteY188" fmla="*/ 6479388 h 6479439"/>
                <a:gd name="connsiteX189" fmla="*/ 5504099 w 9586368"/>
                <a:gd name="connsiteY189" fmla="*/ 6479388 h 6479439"/>
                <a:gd name="connsiteX190" fmla="*/ 5500080 w 9586368"/>
                <a:gd name="connsiteY190" fmla="*/ 6475349 h 6479439"/>
                <a:gd name="connsiteX191" fmla="*/ 5500080 w 9586368"/>
                <a:gd name="connsiteY191" fmla="*/ 6465478 h 6479439"/>
                <a:gd name="connsiteX192" fmla="*/ 5264784 w 9586368"/>
                <a:gd name="connsiteY192" fmla="*/ 6461440 h 6479439"/>
                <a:gd name="connsiteX193" fmla="*/ 5274694 w 9586368"/>
                <a:gd name="connsiteY193" fmla="*/ 6461440 h 6479439"/>
                <a:gd name="connsiteX194" fmla="*/ 5278713 w 9586368"/>
                <a:gd name="connsiteY194" fmla="*/ 6465478 h 6479439"/>
                <a:gd name="connsiteX195" fmla="*/ 5278713 w 9586368"/>
                <a:gd name="connsiteY195" fmla="*/ 6475349 h 6479439"/>
                <a:gd name="connsiteX196" fmla="*/ 5274694 w 9586368"/>
                <a:gd name="connsiteY196" fmla="*/ 6479388 h 6479439"/>
                <a:gd name="connsiteX197" fmla="*/ 5264784 w 9586368"/>
                <a:gd name="connsiteY197" fmla="*/ 6479388 h 6479439"/>
                <a:gd name="connsiteX198" fmla="*/ 5260765 w 9586368"/>
                <a:gd name="connsiteY198" fmla="*/ 6475349 h 6479439"/>
                <a:gd name="connsiteX199" fmla="*/ 5260765 w 9586368"/>
                <a:gd name="connsiteY199" fmla="*/ 6465478 h 6479439"/>
                <a:gd name="connsiteX200" fmla="*/ 5025470 w 9586368"/>
                <a:gd name="connsiteY200" fmla="*/ 6461440 h 6479439"/>
                <a:gd name="connsiteX201" fmla="*/ 5035381 w 9586368"/>
                <a:gd name="connsiteY201" fmla="*/ 6461440 h 6479439"/>
                <a:gd name="connsiteX202" fmla="*/ 5039400 w 9586368"/>
                <a:gd name="connsiteY202" fmla="*/ 6465478 h 6479439"/>
                <a:gd name="connsiteX203" fmla="*/ 5039400 w 9586368"/>
                <a:gd name="connsiteY203" fmla="*/ 6475349 h 6479439"/>
                <a:gd name="connsiteX204" fmla="*/ 5035381 w 9586368"/>
                <a:gd name="connsiteY204" fmla="*/ 6479388 h 6479439"/>
                <a:gd name="connsiteX205" fmla="*/ 5025470 w 9586368"/>
                <a:gd name="connsiteY205" fmla="*/ 6479388 h 6479439"/>
                <a:gd name="connsiteX206" fmla="*/ 5021451 w 9586368"/>
                <a:gd name="connsiteY206" fmla="*/ 6475349 h 6479439"/>
                <a:gd name="connsiteX207" fmla="*/ 5021451 w 9586368"/>
                <a:gd name="connsiteY207" fmla="*/ 6465478 h 6479439"/>
                <a:gd name="connsiteX208" fmla="*/ 4786241 w 9586368"/>
                <a:gd name="connsiteY208" fmla="*/ 6461440 h 6479439"/>
                <a:gd name="connsiteX209" fmla="*/ 4796152 w 9586368"/>
                <a:gd name="connsiteY209" fmla="*/ 6461440 h 6479439"/>
                <a:gd name="connsiteX210" fmla="*/ 4800171 w 9586368"/>
                <a:gd name="connsiteY210" fmla="*/ 6465478 h 6479439"/>
                <a:gd name="connsiteX211" fmla="*/ 4800171 w 9586368"/>
                <a:gd name="connsiteY211" fmla="*/ 6475349 h 6479439"/>
                <a:gd name="connsiteX212" fmla="*/ 4796152 w 9586368"/>
                <a:gd name="connsiteY212" fmla="*/ 6479388 h 6479439"/>
                <a:gd name="connsiteX213" fmla="*/ 4786241 w 9586368"/>
                <a:gd name="connsiteY213" fmla="*/ 6479388 h 6479439"/>
                <a:gd name="connsiteX214" fmla="*/ 4782224 w 9586368"/>
                <a:gd name="connsiteY214" fmla="*/ 6475349 h 6479439"/>
                <a:gd name="connsiteX215" fmla="*/ 4782224 w 9586368"/>
                <a:gd name="connsiteY215" fmla="*/ 6465478 h 6479439"/>
                <a:gd name="connsiteX216" fmla="*/ 4546929 w 9586368"/>
                <a:gd name="connsiteY216" fmla="*/ 6461440 h 6479439"/>
                <a:gd name="connsiteX217" fmla="*/ 4556840 w 9586368"/>
                <a:gd name="connsiteY217" fmla="*/ 6461440 h 6479439"/>
                <a:gd name="connsiteX218" fmla="*/ 4560859 w 9586368"/>
                <a:gd name="connsiteY218" fmla="*/ 6465478 h 6479439"/>
                <a:gd name="connsiteX219" fmla="*/ 4560859 w 9586368"/>
                <a:gd name="connsiteY219" fmla="*/ 6475349 h 6479439"/>
                <a:gd name="connsiteX220" fmla="*/ 4556840 w 9586368"/>
                <a:gd name="connsiteY220" fmla="*/ 6479388 h 6479439"/>
                <a:gd name="connsiteX221" fmla="*/ 4546929 w 9586368"/>
                <a:gd name="connsiteY221" fmla="*/ 6479388 h 6479439"/>
                <a:gd name="connsiteX222" fmla="*/ 4542910 w 9586368"/>
                <a:gd name="connsiteY222" fmla="*/ 6475349 h 6479439"/>
                <a:gd name="connsiteX223" fmla="*/ 4542910 w 9586368"/>
                <a:gd name="connsiteY223" fmla="*/ 6465478 h 6479439"/>
                <a:gd name="connsiteX224" fmla="*/ 4307612 w 9586368"/>
                <a:gd name="connsiteY224" fmla="*/ 6461440 h 6479439"/>
                <a:gd name="connsiteX225" fmla="*/ 4317523 w 9586368"/>
                <a:gd name="connsiteY225" fmla="*/ 6461440 h 6479439"/>
                <a:gd name="connsiteX226" fmla="*/ 4321543 w 9586368"/>
                <a:gd name="connsiteY226" fmla="*/ 6465478 h 6479439"/>
                <a:gd name="connsiteX227" fmla="*/ 4321543 w 9586368"/>
                <a:gd name="connsiteY227" fmla="*/ 6475349 h 6479439"/>
                <a:gd name="connsiteX228" fmla="*/ 4317523 w 9586368"/>
                <a:gd name="connsiteY228" fmla="*/ 6479388 h 6479439"/>
                <a:gd name="connsiteX229" fmla="*/ 4307612 w 9586368"/>
                <a:gd name="connsiteY229" fmla="*/ 6479388 h 6479439"/>
                <a:gd name="connsiteX230" fmla="*/ 4303595 w 9586368"/>
                <a:gd name="connsiteY230" fmla="*/ 6475349 h 6479439"/>
                <a:gd name="connsiteX231" fmla="*/ 4303595 w 9586368"/>
                <a:gd name="connsiteY231" fmla="*/ 6465478 h 6479439"/>
                <a:gd name="connsiteX232" fmla="*/ 4068297 w 9586368"/>
                <a:gd name="connsiteY232" fmla="*/ 6461440 h 6479439"/>
                <a:gd name="connsiteX233" fmla="*/ 4078210 w 9586368"/>
                <a:gd name="connsiteY233" fmla="*/ 6461440 h 6479439"/>
                <a:gd name="connsiteX234" fmla="*/ 4082229 w 9586368"/>
                <a:gd name="connsiteY234" fmla="*/ 6465478 h 6479439"/>
                <a:gd name="connsiteX235" fmla="*/ 4082229 w 9586368"/>
                <a:gd name="connsiteY235" fmla="*/ 6475349 h 6479439"/>
                <a:gd name="connsiteX236" fmla="*/ 4078210 w 9586368"/>
                <a:gd name="connsiteY236" fmla="*/ 6479388 h 6479439"/>
                <a:gd name="connsiteX237" fmla="*/ 4068297 w 9586368"/>
                <a:gd name="connsiteY237" fmla="*/ 6479388 h 6479439"/>
                <a:gd name="connsiteX238" fmla="*/ 4064278 w 9586368"/>
                <a:gd name="connsiteY238" fmla="*/ 6475349 h 6479439"/>
                <a:gd name="connsiteX239" fmla="*/ 4064278 w 9586368"/>
                <a:gd name="connsiteY239" fmla="*/ 6465478 h 6479439"/>
                <a:gd name="connsiteX240" fmla="*/ 3828990 w 9586368"/>
                <a:gd name="connsiteY240" fmla="*/ 6461440 h 6479439"/>
                <a:gd name="connsiteX241" fmla="*/ 3838899 w 9586368"/>
                <a:gd name="connsiteY241" fmla="*/ 6461440 h 6479439"/>
                <a:gd name="connsiteX242" fmla="*/ 3842917 w 9586368"/>
                <a:gd name="connsiteY242" fmla="*/ 6465478 h 6479439"/>
                <a:gd name="connsiteX243" fmla="*/ 3842917 w 9586368"/>
                <a:gd name="connsiteY243" fmla="*/ 6475349 h 6479439"/>
                <a:gd name="connsiteX244" fmla="*/ 3838899 w 9586368"/>
                <a:gd name="connsiteY244" fmla="*/ 6479388 h 6479439"/>
                <a:gd name="connsiteX245" fmla="*/ 3828990 w 9586368"/>
                <a:gd name="connsiteY245" fmla="*/ 6479388 h 6479439"/>
                <a:gd name="connsiteX246" fmla="*/ 3824971 w 9586368"/>
                <a:gd name="connsiteY246" fmla="*/ 6475349 h 6479439"/>
                <a:gd name="connsiteX247" fmla="*/ 3824971 w 9586368"/>
                <a:gd name="connsiteY247" fmla="*/ 6465478 h 6479439"/>
                <a:gd name="connsiteX248" fmla="*/ 3589676 w 9586368"/>
                <a:gd name="connsiteY248" fmla="*/ 6461440 h 6479439"/>
                <a:gd name="connsiteX249" fmla="*/ 3599585 w 9586368"/>
                <a:gd name="connsiteY249" fmla="*/ 6461440 h 6479439"/>
                <a:gd name="connsiteX250" fmla="*/ 3603604 w 9586368"/>
                <a:gd name="connsiteY250" fmla="*/ 6465478 h 6479439"/>
                <a:gd name="connsiteX251" fmla="*/ 3603604 w 9586368"/>
                <a:gd name="connsiteY251" fmla="*/ 6475349 h 6479439"/>
                <a:gd name="connsiteX252" fmla="*/ 3599585 w 9586368"/>
                <a:gd name="connsiteY252" fmla="*/ 6479388 h 6479439"/>
                <a:gd name="connsiteX253" fmla="*/ 3589676 w 9586368"/>
                <a:gd name="connsiteY253" fmla="*/ 6479388 h 6479439"/>
                <a:gd name="connsiteX254" fmla="*/ 3585657 w 9586368"/>
                <a:gd name="connsiteY254" fmla="*/ 6475349 h 6479439"/>
                <a:gd name="connsiteX255" fmla="*/ 3585657 w 9586368"/>
                <a:gd name="connsiteY255" fmla="*/ 6465478 h 6479439"/>
                <a:gd name="connsiteX256" fmla="*/ 3350359 w 9586368"/>
                <a:gd name="connsiteY256" fmla="*/ 6461440 h 6479439"/>
                <a:gd name="connsiteX257" fmla="*/ 3360268 w 9586368"/>
                <a:gd name="connsiteY257" fmla="*/ 6461440 h 6479439"/>
                <a:gd name="connsiteX258" fmla="*/ 3364287 w 9586368"/>
                <a:gd name="connsiteY258" fmla="*/ 6465478 h 6479439"/>
                <a:gd name="connsiteX259" fmla="*/ 3364287 w 9586368"/>
                <a:gd name="connsiteY259" fmla="*/ 6475349 h 6479439"/>
                <a:gd name="connsiteX260" fmla="*/ 3360268 w 9586368"/>
                <a:gd name="connsiteY260" fmla="*/ 6479388 h 6479439"/>
                <a:gd name="connsiteX261" fmla="*/ 3350359 w 9586368"/>
                <a:gd name="connsiteY261" fmla="*/ 6479388 h 6479439"/>
                <a:gd name="connsiteX262" fmla="*/ 3346340 w 9586368"/>
                <a:gd name="connsiteY262" fmla="*/ 6475349 h 6479439"/>
                <a:gd name="connsiteX263" fmla="*/ 3346340 w 9586368"/>
                <a:gd name="connsiteY263" fmla="*/ 6465478 h 6479439"/>
                <a:gd name="connsiteX264" fmla="*/ 3111048 w 9586368"/>
                <a:gd name="connsiteY264" fmla="*/ 6461440 h 6479439"/>
                <a:gd name="connsiteX265" fmla="*/ 3120959 w 9586368"/>
                <a:gd name="connsiteY265" fmla="*/ 6461440 h 6479439"/>
                <a:gd name="connsiteX266" fmla="*/ 3124977 w 9586368"/>
                <a:gd name="connsiteY266" fmla="*/ 6465478 h 6479439"/>
                <a:gd name="connsiteX267" fmla="*/ 3124977 w 9586368"/>
                <a:gd name="connsiteY267" fmla="*/ 6475349 h 6479439"/>
                <a:gd name="connsiteX268" fmla="*/ 3120959 w 9586368"/>
                <a:gd name="connsiteY268" fmla="*/ 6479388 h 6479439"/>
                <a:gd name="connsiteX269" fmla="*/ 3111048 w 9586368"/>
                <a:gd name="connsiteY269" fmla="*/ 6479388 h 6479439"/>
                <a:gd name="connsiteX270" fmla="*/ 3107029 w 9586368"/>
                <a:gd name="connsiteY270" fmla="*/ 6475349 h 6479439"/>
                <a:gd name="connsiteX271" fmla="*/ 3107029 w 9586368"/>
                <a:gd name="connsiteY271" fmla="*/ 6465478 h 6479439"/>
                <a:gd name="connsiteX272" fmla="*/ 2871737 w 9586368"/>
                <a:gd name="connsiteY272" fmla="*/ 6461440 h 6479439"/>
                <a:gd name="connsiteX273" fmla="*/ 2881646 w 9586368"/>
                <a:gd name="connsiteY273" fmla="*/ 6461440 h 6479439"/>
                <a:gd name="connsiteX274" fmla="*/ 2885666 w 9586368"/>
                <a:gd name="connsiteY274" fmla="*/ 6465478 h 6479439"/>
                <a:gd name="connsiteX275" fmla="*/ 2885666 w 9586368"/>
                <a:gd name="connsiteY275" fmla="*/ 6475349 h 6479439"/>
                <a:gd name="connsiteX276" fmla="*/ 2881646 w 9586368"/>
                <a:gd name="connsiteY276" fmla="*/ 6479388 h 6479439"/>
                <a:gd name="connsiteX277" fmla="*/ 2871737 w 9586368"/>
                <a:gd name="connsiteY277" fmla="*/ 6479388 h 6479439"/>
                <a:gd name="connsiteX278" fmla="*/ 2867717 w 9586368"/>
                <a:gd name="connsiteY278" fmla="*/ 6475349 h 6479439"/>
                <a:gd name="connsiteX279" fmla="*/ 2867717 w 9586368"/>
                <a:gd name="connsiteY279" fmla="*/ 6465478 h 6479439"/>
                <a:gd name="connsiteX280" fmla="*/ 2632423 w 9586368"/>
                <a:gd name="connsiteY280" fmla="*/ 6461440 h 6479439"/>
                <a:gd name="connsiteX281" fmla="*/ 2642334 w 9586368"/>
                <a:gd name="connsiteY281" fmla="*/ 6461440 h 6479439"/>
                <a:gd name="connsiteX282" fmla="*/ 2646352 w 9586368"/>
                <a:gd name="connsiteY282" fmla="*/ 6465478 h 6479439"/>
                <a:gd name="connsiteX283" fmla="*/ 2646352 w 9586368"/>
                <a:gd name="connsiteY283" fmla="*/ 6475349 h 6479439"/>
                <a:gd name="connsiteX284" fmla="*/ 2642334 w 9586368"/>
                <a:gd name="connsiteY284" fmla="*/ 6479388 h 6479439"/>
                <a:gd name="connsiteX285" fmla="*/ 2632423 w 9586368"/>
                <a:gd name="connsiteY285" fmla="*/ 6479388 h 6479439"/>
                <a:gd name="connsiteX286" fmla="*/ 2628404 w 9586368"/>
                <a:gd name="connsiteY286" fmla="*/ 6475349 h 6479439"/>
                <a:gd name="connsiteX287" fmla="*/ 2628404 w 9586368"/>
                <a:gd name="connsiteY287" fmla="*/ 6465478 h 6479439"/>
                <a:gd name="connsiteX288" fmla="*/ 2393104 w 9586368"/>
                <a:gd name="connsiteY288" fmla="*/ 6461440 h 6479439"/>
                <a:gd name="connsiteX289" fmla="*/ 2403015 w 9586368"/>
                <a:gd name="connsiteY289" fmla="*/ 6461440 h 6479439"/>
                <a:gd name="connsiteX290" fmla="*/ 2407034 w 9586368"/>
                <a:gd name="connsiteY290" fmla="*/ 6465478 h 6479439"/>
                <a:gd name="connsiteX291" fmla="*/ 2407034 w 9586368"/>
                <a:gd name="connsiteY291" fmla="*/ 6475349 h 6479439"/>
                <a:gd name="connsiteX292" fmla="*/ 2403015 w 9586368"/>
                <a:gd name="connsiteY292" fmla="*/ 6479388 h 6479439"/>
                <a:gd name="connsiteX293" fmla="*/ 2393104 w 9586368"/>
                <a:gd name="connsiteY293" fmla="*/ 6479388 h 6479439"/>
                <a:gd name="connsiteX294" fmla="*/ 2389087 w 9586368"/>
                <a:gd name="connsiteY294" fmla="*/ 6475349 h 6479439"/>
                <a:gd name="connsiteX295" fmla="*/ 2389087 w 9586368"/>
                <a:gd name="connsiteY295" fmla="*/ 6465478 h 6479439"/>
                <a:gd name="connsiteX296" fmla="*/ 721958 w 9586368"/>
                <a:gd name="connsiteY296" fmla="*/ 6461440 h 6479439"/>
                <a:gd name="connsiteX297" fmla="*/ 731868 w 9586368"/>
                <a:gd name="connsiteY297" fmla="*/ 6461440 h 6479439"/>
                <a:gd name="connsiteX298" fmla="*/ 735887 w 9586368"/>
                <a:gd name="connsiteY298" fmla="*/ 6465478 h 6479439"/>
                <a:gd name="connsiteX299" fmla="*/ 735887 w 9586368"/>
                <a:gd name="connsiteY299" fmla="*/ 6475349 h 6479439"/>
                <a:gd name="connsiteX300" fmla="*/ 731868 w 9586368"/>
                <a:gd name="connsiteY300" fmla="*/ 6479388 h 6479439"/>
                <a:gd name="connsiteX301" fmla="*/ 721958 w 9586368"/>
                <a:gd name="connsiteY301" fmla="*/ 6479388 h 6479439"/>
                <a:gd name="connsiteX302" fmla="*/ 717939 w 9586368"/>
                <a:gd name="connsiteY302" fmla="*/ 6475349 h 6479439"/>
                <a:gd name="connsiteX303" fmla="*/ 717939 w 9586368"/>
                <a:gd name="connsiteY303" fmla="*/ 6465478 h 6479439"/>
                <a:gd name="connsiteX304" fmla="*/ 482646 w 9586368"/>
                <a:gd name="connsiteY304" fmla="*/ 6461440 h 6479439"/>
                <a:gd name="connsiteX305" fmla="*/ 492556 w 9586368"/>
                <a:gd name="connsiteY305" fmla="*/ 6461440 h 6479439"/>
                <a:gd name="connsiteX306" fmla="*/ 496575 w 9586368"/>
                <a:gd name="connsiteY306" fmla="*/ 6465478 h 6479439"/>
                <a:gd name="connsiteX307" fmla="*/ 496575 w 9586368"/>
                <a:gd name="connsiteY307" fmla="*/ 6475349 h 6479439"/>
                <a:gd name="connsiteX308" fmla="*/ 492556 w 9586368"/>
                <a:gd name="connsiteY308" fmla="*/ 6479388 h 6479439"/>
                <a:gd name="connsiteX309" fmla="*/ 482646 w 9586368"/>
                <a:gd name="connsiteY309" fmla="*/ 6479388 h 6479439"/>
                <a:gd name="connsiteX310" fmla="*/ 478627 w 9586368"/>
                <a:gd name="connsiteY310" fmla="*/ 6475349 h 6479439"/>
                <a:gd name="connsiteX311" fmla="*/ 478627 w 9586368"/>
                <a:gd name="connsiteY311" fmla="*/ 6465478 h 6479439"/>
                <a:gd name="connsiteX312" fmla="*/ 243332 w 9586368"/>
                <a:gd name="connsiteY312" fmla="*/ 6461440 h 6479439"/>
                <a:gd name="connsiteX313" fmla="*/ 253242 w 9586368"/>
                <a:gd name="connsiteY313" fmla="*/ 6461440 h 6479439"/>
                <a:gd name="connsiteX314" fmla="*/ 257261 w 9586368"/>
                <a:gd name="connsiteY314" fmla="*/ 6465478 h 6479439"/>
                <a:gd name="connsiteX315" fmla="*/ 257261 w 9586368"/>
                <a:gd name="connsiteY315" fmla="*/ 6475349 h 6479439"/>
                <a:gd name="connsiteX316" fmla="*/ 253242 w 9586368"/>
                <a:gd name="connsiteY316" fmla="*/ 6479388 h 6479439"/>
                <a:gd name="connsiteX317" fmla="*/ 243332 w 9586368"/>
                <a:gd name="connsiteY317" fmla="*/ 6479388 h 6479439"/>
                <a:gd name="connsiteX318" fmla="*/ 239313 w 9586368"/>
                <a:gd name="connsiteY318" fmla="*/ 6475349 h 6479439"/>
                <a:gd name="connsiteX319" fmla="*/ 239313 w 9586368"/>
                <a:gd name="connsiteY319" fmla="*/ 6465478 h 6479439"/>
                <a:gd name="connsiteX320" fmla="*/ 4019 w 9586368"/>
                <a:gd name="connsiteY320" fmla="*/ 6461440 h 6479439"/>
                <a:gd name="connsiteX321" fmla="*/ 13929 w 9586368"/>
                <a:gd name="connsiteY321" fmla="*/ 6461440 h 6479439"/>
                <a:gd name="connsiteX322" fmla="*/ 17949 w 9586368"/>
                <a:gd name="connsiteY322" fmla="*/ 6465478 h 6479439"/>
                <a:gd name="connsiteX323" fmla="*/ 17949 w 9586368"/>
                <a:gd name="connsiteY323" fmla="*/ 6475349 h 6479439"/>
                <a:gd name="connsiteX324" fmla="*/ 13929 w 9586368"/>
                <a:gd name="connsiteY324" fmla="*/ 6479388 h 6479439"/>
                <a:gd name="connsiteX325" fmla="*/ 4019 w 9586368"/>
                <a:gd name="connsiteY325" fmla="*/ 6479388 h 6479439"/>
                <a:gd name="connsiteX326" fmla="*/ 0 w 9586368"/>
                <a:gd name="connsiteY326" fmla="*/ 6475349 h 6479439"/>
                <a:gd name="connsiteX327" fmla="*/ 0 w 9586368"/>
                <a:gd name="connsiteY327" fmla="*/ 6465478 h 6479439"/>
                <a:gd name="connsiteX328" fmla="*/ 9572438 w 9586368"/>
                <a:gd name="connsiteY328" fmla="*/ 6222160 h 6479439"/>
                <a:gd name="connsiteX329" fmla="*/ 9582349 w 9586368"/>
                <a:gd name="connsiteY329" fmla="*/ 6222160 h 6479439"/>
                <a:gd name="connsiteX330" fmla="*/ 9586368 w 9586368"/>
                <a:gd name="connsiteY330" fmla="*/ 6226198 h 6479439"/>
                <a:gd name="connsiteX331" fmla="*/ 9586368 w 9586368"/>
                <a:gd name="connsiteY331" fmla="*/ 6236069 h 6479439"/>
                <a:gd name="connsiteX332" fmla="*/ 9582349 w 9586368"/>
                <a:gd name="connsiteY332" fmla="*/ 6240109 h 6479439"/>
                <a:gd name="connsiteX333" fmla="*/ 9572438 w 9586368"/>
                <a:gd name="connsiteY333" fmla="*/ 6240109 h 6479439"/>
                <a:gd name="connsiteX334" fmla="*/ 9568419 w 9586368"/>
                <a:gd name="connsiteY334" fmla="*/ 6236069 h 6479439"/>
                <a:gd name="connsiteX335" fmla="*/ 9568419 w 9586368"/>
                <a:gd name="connsiteY335" fmla="*/ 6226198 h 6479439"/>
                <a:gd name="connsiteX336" fmla="*/ 9333125 w 9586368"/>
                <a:gd name="connsiteY336" fmla="*/ 6222160 h 6479439"/>
                <a:gd name="connsiteX337" fmla="*/ 9343036 w 9586368"/>
                <a:gd name="connsiteY337" fmla="*/ 6222160 h 6479439"/>
                <a:gd name="connsiteX338" fmla="*/ 9347055 w 9586368"/>
                <a:gd name="connsiteY338" fmla="*/ 6226198 h 6479439"/>
                <a:gd name="connsiteX339" fmla="*/ 9347055 w 9586368"/>
                <a:gd name="connsiteY339" fmla="*/ 6236069 h 6479439"/>
                <a:gd name="connsiteX340" fmla="*/ 9343036 w 9586368"/>
                <a:gd name="connsiteY340" fmla="*/ 6240109 h 6479439"/>
                <a:gd name="connsiteX341" fmla="*/ 9333125 w 9586368"/>
                <a:gd name="connsiteY341" fmla="*/ 6240109 h 6479439"/>
                <a:gd name="connsiteX342" fmla="*/ 9329106 w 9586368"/>
                <a:gd name="connsiteY342" fmla="*/ 6236069 h 6479439"/>
                <a:gd name="connsiteX343" fmla="*/ 9329106 w 9586368"/>
                <a:gd name="connsiteY343" fmla="*/ 6226198 h 6479439"/>
                <a:gd name="connsiteX344" fmla="*/ 9093811 w 9586368"/>
                <a:gd name="connsiteY344" fmla="*/ 6222160 h 6479439"/>
                <a:gd name="connsiteX345" fmla="*/ 9103722 w 9586368"/>
                <a:gd name="connsiteY345" fmla="*/ 6222160 h 6479439"/>
                <a:gd name="connsiteX346" fmla="*/ 9107741 w 9586368"/>
                <a:gd name="connsiteY346" fmla="*/ 6226198 h 6479439"/>
                <a:gd name="connsiteX347" fmla="*/ 9107741 w 9586368"/>
                <a:gd name="connsiteY347" fmla="*/ 6236069 h 6479439"/>
                <a:gd name="connsiteX348" fmla="*/ 9103722 w 9586368"/>
                <a:gd name="connsiteY348" fmla="*/ 6240109 h 6479439"/>
                <a:gd name="connsiteX349" fmla="*/ 9093811 w 9586368"/>
                <a:gd name="connsiteY349" fmla="*/ 6240109 h 6479439"/>
                <a:gd name="connsiteX350" fmla="*/ 9089792 w 9586368"/>
                <a:gd name="connsiteY350" fmla="*/ 6236069 h 6479439"/>
                <a:gd name="connsiteX351" fmla="*/ 9089792 w 9586368"/>
                <a:gd name="connsiteY351" fmla="*/ 6226198 h 6479439"/>
                <a:gd name="connsiteX352" fmla="*/ 8854496 w 9586368"/>
                <a:gd name="connsiteY352" fmla="*/ 6222160 h 6479439"/>
                <a:gd name="connsiteX353" fmla="*/ 8864407 w 9586368"/>
                <a:gd name="connsiteY353" fmla="*/ 6222160 h 6479439"/>
                <a:gd name="connsiteX354" fmla="*/ 8868426 w 9586368"/>
                <a:gd name="connsiteY354" fmla="*/ 6226198 h 6479439"/>
                <a:gd name="connsiteX355" fmla="*/ 8868426 w 9586368"/>
                <a:gd name="connsiteY355" fmla="*/ 6236069 h 6479439"/>
                <a:gd name="connsiteX356" fmla="*/ 8864407 w 9586368"/>
                <a:gd name="connsiteY356" fmla="*/ 6240109 h 6479439"/>
                <a:gd name="connsiteX357" fmla="*/ 8854496 w 9586368"/>
                <a:gd name="connsiteY357" fmla="*/ 6240109 h 6479439"/>
                <a:gd name="connsiteX358" fmla="*/ 8850477 w 9586368"/>
                <a:gd name="connsiteY358" fmla="*/ 6236069 h 6479439"/>
                <a:gd name="connsiteX359" fmla="*/ 8850477 w 9586368"/>
                <a:gd name="connsiteY359" fmla="*/ 6226198 h 6479439"/>
                <a:gd name="connsiteX360" fmla="*/ 8615184 w 9586368"/>
                <a:gd name="connsiteY360" fmla="*/ 6222160 h 6479439"/>
                <a:gd name="connsiteX361" fmla="*/ 8625095 w 9586368"/>
                <a:gd name="connsiteY361" fmla="*/ 6222160 h 6479439"/>
                <a:gd name="connsiteX362" fmla="*/ 8629114 w 9586368"/>
                <a:gd name="connsiteY362" fmla="*/ 6226198 h 6479439"/>
                <a:gd name="connsiteX363" fmla="*/ 8629114 w 9586368"/>
                <a:gd name="connsiteY363" fmla="*/ 6236069 h 6479439"/>
                <a:gd name="connsiteX364" fmla="*/ 8625095 w 9586368"/>
                <a:gd name="connsiteY364" fmla="*/ 6240109 h 6479439"/>
                <a:gd name="connsiteX365" fmla="*/ 8615184 w 9586368"/>
                <a:gd name="connsiteY365" fmla="*/ 6240109 h 6479439"/>
                <a:gd name="connsiteX366" fmla="*/ 8611165 w 9586368"/>
                <a:gd name="connsiteY366" fmla="*/ 6236069 h 6479439"/>
                <a:gd name="connsiteX367" fmla="*/ 8611165 w 9586368"/>
                <a:gd name="connsiteY367" fmla="*/ 6226198 h 6479439"/>
                <a:gd name="connsiteX368" fmla="*/ 8375869 w 9586368"/>
                <a:gd name="connsiteY368" fmla="*/ 6222160 h 6479439"/>
                <a:gd name="connsiteX369" fmla="*/ 8385779 w 9586368"/>
                <a:gd name="connsiteY369" fmla="*/ 6222160 h 6479439"/>
                <a:gd name="connsiteX370" fmla="*/ 8389799 w 9586368"/>
                <a:gd name="connsiteY370" fmla="*/ 6226198 h 6479439"/>
                <a:gd name="connsiteX371" fmla="*/ 8389799 w 9586368"/>
                <a:gd name="connsiteY371" fmla="*/ 6236069 h 6479439"/>
                <a:gd name="connsiteX372" fmla="*/ 8385779 w 9586368"/>
                <a:gd name="connsiteY372" fmla="*/ 6240109 h 6479439"/>
                <a:gd name="connsiteX373" fmla="*/ 8375869 w 9586368"/>
                <a:gd name="connsiteY373" fmla="*/ 6240109 h 6479439"/>
                <a:gd name="connsiteX374" fmla="*/ 8371850 w 9586368"/>
                <a:gd name="connsiteY374" fmla="*/ 6236069 h 6479439"/>
                <a:gd name="connsiteX375" fmla="*/ 8371850 w 9586368"/>
                <a:gd name="connsiteY375" fmla="*/ 6226198 h 6479439"/>
                <a:gd name="connsiteX376" fmla="*/ 8136553 w 9586368"/>
                <a:gd name="connsiteY376" fmla="*/ 6222160 h 6479439"/>
                <a:gd name="connsiteX377" fmla="*/ 8146464 w 9586368"/>
                <a:gd name="connsiteY377" fmla="*/ 6222160 h 6479439"/>
                <a:gd name="connsiteX378" fmla="*/ 8150483 w 9586368"/>
                <a:gd name="connsiteY378" fmla="*/ 6226198 h 6479439"/>
                <a:gd name="connsiteX379" fmla="*/ 8150483 w 9586368"/>
                <a:gd name="connsiteY379" fmla="*/ 6236069 h 6479439"/>
                <a:gd name="connsiteX380" fmla="*/ 8146464 w 9586368"/>
                <a:gd name="connsiteY380" fmla="*/ 6240109 h 6479439"/>
                <a:gd name="connsiteX381" fmla="*/ 8136553 w 9586368"/>
                <a:gd name="connsiteY381" fmla="*/ 6240109 h 6479439"/>
                <a:gd name="connsiteX382" fmla="*/ 8132534 w 9586368"/>
                <a:gd name="connsiteY382" fmla="*/ 6236069 h 6479439"/>
                <a:gd name="connsiteX383" fmla="*/ 8132534 w 9586368"/>
                <a:gd name="connsiteY383" fmla="*/ 6226198 h 6479439"/>
                <a:gd name="connsiteX384" fmla="*/ 7897241 w 9586368"/>
                <a:gd name="connsiteY384" fmla="*/ 6222160 h 6479439"/>
                <a:gd name="connsiteX385" fmla="*/ 7907151 w 9586368"/>
                <a:gd name="connsiteY385" fmla="*/ 6222160 h 6479439"/>
                <a:gd name="connsiteX386" fmla="*/ 7911170 w 9586368"/>
                <a:gd name="connsiteY386" fmla="*/ 6226198 h 6479439"/>
                <a:gd name="connsiteX387" fmla="*/ 7911170 w 9586368"/>
                <a:gd name="connsiteY387" fmla="*/ 6236069 h 6479439"/>
                <a:gd name="connsiteX388" fmla="*/ 7907151 w 9586368"/>
                <a:gd name="connsiteY388" fmla="*/ 6240109 h 6479439"/>
                <a:gd name="connsiteX389" fmla="*/ 7897241 w 9586368"/>
                <a:gd name="connsiteY389" fmla="*/ 6240109 h 6479439"/>
                <a:gd name="connsiteX390" fmla="*/ 7893222 w 9586368"/>
                <a:gd name="connsiteY390" fmla="*/ 6236069 h 6479439"/>
                <a:gd name="connsiteX391" fmla="*/ 7893222 w 9586368"/>
                <a:gd name="connsiteY391" fmla="*/ 6226198 h 6479439"/>
                <a:gd name="connsiteX392" fmla="*/ 7657926 w 9586368"/>
                <a:gd name="connsiteY392" fmla="*/ 6222160 h 6479439"/>
                <a:gd name="connsiteX393" fmla="*/ 7667836 w 9586368"/>
                <a:gd name="connsiteY393" fmla="*/ 6222160 h 6479439"/>
                <a:gd name="connsiteX394" fmla="*/ 7671855 w 9586368"/>
                <a:gd name="connsiteY394" fmla="*/ 6226198 h 6479439"/>
                <a:gd name="connsiteX395" fmla="*/ 7671855 w 9586368"/>
                <a:gd name="connsiteY395" fmla="*/ 6236069 h 6479439"/>
                <a:gd name="connsiteX396" fmla="*/ 7667836 w 9586368"/>
                <a:gd name="connsiteY396" fmla="*/ 6240109 h 6479439"/>
                <a:gd name="connsiteX397" fmla="*/ 7657926 w 9586368"/>
                <a:gd name="connsiteY397" fmla="*/ 6240109 h 6479439"/>
                <a:gd name="connsiteX398" fmla="*/ 7653906 w 9586368"/>
                <a:gd name="connsiteY398" fmla="*/ 6236069 h 6479439"/>
                <a:gd name="connsiteX399" fmla="*/ 7653906 w 9586368"/>
                <a:gd name="connsiteY399" fmla="*/ 6226198 h 6479439"/>
                <a:gd name="connsiteX400" fmla="*/ 7418611 w 9586368"/>
                <a:gd name="connsiteY400" fmla="*/ 6222160 h 6479439"/>
                <a:gd name="connsiteX401" fmla="*/ 7428521 w 9586368"/>
                <a:gd name="connsiteY401" fmla="*/ 6222160 h 6479439"/>
                <a:gd name="connsiteX402" fmla="*/ 7432540 w 9586368"/>
                <a:gd name="connsiteY402" fmla="*/ 6226198 h 6479439"/>
                <a:gd name="connsiteX403" fmla="*/ 7432540 w 9586368"/>
                <a:gd name="connsiteY403" fmla="*/ 6236069 h 6479439"/>
                <a:gd name="connsiteX404" fmla="*/ 7428521 w 9586368"/>
                <a:gd name="connsiteY404" fmla="*/ 6240109 h 6479439"/>
                <a:gd name="connsiteX405" fmla="*/ 7418611 w 9586368"/>
                <a:gd name="connsiteY405" fmla="*/ 6240109 h 6479439"/>
                <a:gd name="connsiteX406" fmla="*/ 7414592 w 9586368"/>
                <a:gd name="connsiteY406" fmla="*/ 6236069 h 6479439"/>
                <a:gd name="connsiteX407" fmla="*/ 7414592 w 9586368"/>
                <a:gd name="connsiteY407" fmla="*/ 6226198 h 6479439"/>
                <a:gd name="connsiteX408" fmla="*/ 7179298 w 9586368"/>
                <a:gd name="connsiteY408" fmla="*/ 6222160 h 6479439"/>
                <a:gd name="connsiteX409" fmla="*/ 7189209 w 9586368"/>
                <a:gd name="connsiteY409" fmla="*/ 6222160 h 6479439"/>
                <a:gd name="connsiteX410" fmla="*/ 7193228 w 9586368"/>
                <a:gd name="connsiteY410" fmla="*/ 6226198 h 6479439"/>
                <a:gd name="connsiteX411" fmla="*/ 7193228 w 9586368"/>
                <a:gd name="connsiteY411" fmla="*/ 6236069 h 6479439"/>
                <a:gd name="connsiteX412" fmla="*/ 7189209 w 9586368"/>
                <a:gd name="connsiteY412" fmla="*/ 6240109 h 6479439"/>
                <a:gd name="connsiteX413" fmla="*/ 7179298 w 9586368"/>
                <a:gd name="connsiteY413" fmla="*/ 6240109 h 6479439"/>
                <a:gd name="connsiteX414" fmla="*/ 7175279 w 9586368"/>
                <a:gd name="connsiteY414" fmla="*/ 6236069 h 6479439"/>
                <a:gd name="connsiteX415" fmla="*/ 7175279 w 9586368"/>
                <a:gd name="connsiteY415" fmla="*/ 6226198 h 6479439"/>
                <a:gd name="connsiteX416" fmla="*/ 6939983 w 9586368"/>
                <a:gd name="connsiteY416" fmla="*/ 6222160 h 6479439"/>
                <a:gd name="connsiteX417" fmla="*/ 6949894 w 9586368"/>
                <a:gd name="connsiteY417" fmla="*/ 6222160 h 6479439"/>
                <a:gd name="connsiteX418" fmla="*/ 6953913 w 9586368"/>
                <a:gd name="connsiteY418" fmla="*/ 6226198 h 6479439"/>
                <a:gd name="connsiteX419" fmla="*/ 6953913 w 9586368"/>
                <a:gd name="connsiteY419" fmla="*/ 6236069 h 6479439"/>
                <a:gd name="connsiteX420" fmla="*/ 6949894 w 9586368"/>
                <a:gd name="connsiteY420" fmla="*/ 6240109 h 6479439"/>
                <a:gd name="connsiteX421" fmla="*/ 6939983 w 9586368"/>
                <a:gd name="connsiteY421" fmla="*/ 6240109 h 6479439"/>
                <a:gd name="connsiteX422" fmla="*/ 6935964 w 9586368"/>
                <a:gd name="connsiteY422" fmla="*/ 6236069 h 6479439"/>
                <a:gd name="connsiteX423" fmla="*/ 6935964 w 9586368"/>
                <a:gd name="connsiteY423" fmla="*/ 6226198 h 6479439"/>
                <a:gd name="connsiteX424" fmla="*/ 6700670 w 9586368"/>
                <a:gd name="connsiteY424" fmla="*/ 6222160 h 6479439"/>
                <a:gd name="connsiteX425" fmla="*/ 6710581 w 9586368"/>
                <a:gd name="connsiteY425" fmla="*/ 6222160 h 6479439"/>
                <a:gd name="connsiteX426" fmla="*/ 6714600 w 9586368"/>
                <a:gd name="connsiteY426" fmla="*/ 6226198 h 6479439"/>
                <a:gd name="connsiteX427" fmla="*/ 6714600 w 9586368"/>
                <a:gd name="connsiteY427" fmla="*/ 6236069 h 6479439"/>
                <a:gd name="connsiteX428" fmla="*/ 6710581 w 9586368"/>
                <a:gd name="connsiteY428" fmla="*/ 6240109 h 6479439"/>
                <a:gd name="connsiteX429" fmla="*/ 6700670 w 9586368"/>
                <a:gd name="connsiteY429" fmla="*/ 6240109 h 6479439"/>
                <a:gd name="connsiteX430" fmla="*/ 6696651 w 9586368"/>
                <a:gd name="connsiteY430" fmla="*/ 6236069 h 6479439"/>
                <a:gd name="connsiteX431" fmla="*/ 6696651 w 9586368"/>
                <a:gd name="connsiteY431" fmla="*/ 6226198 h 6479439"/>
                <a:gd name="connsiteX432" fmla="*/ 6461356 w 9586368"/>
                <a:gd name="connsiteY432" fmla="*/ 6222160 h 6479439"/>
                <a:gd name="connsiteX433" fmla="*/ 6471266 w 9586368"/>
                <a:gd name="connsiteY433" fmla="*/ 6222160 h 6479439"/>
                <a:gd name="connsiteX434" fmla="*/ 6475285 w 9586368"/>
                <a:gd name="connsiteY434" fmla="*/ 6226198 h 6479439"/>
                <a:gd name="connsiteX435" fmla="*/ 6475285 w 9586368"/>
                <a:gd name="connsiteY435" fmla="*/ 6236069 h 6479439"/>
                <a:gd name="connsiteX436" fmla="*/ 6471266 w 9586368"/>
                <a:gd name="connsiteY436" fmla="*/ 6240109 h 6479439"/>
                <a:gd name="connsiteX437" fmla="*/ 6461356 w 9586368"/>
                <a:gd name="connsiteY437" fmla="*/ 6240109 h 6479439"/>
                <a:gd name="connsiteX438" fmla="*/ 6457337 w 9586368"/>
                <a:gd name="connsiteY438" fmla="*/ 6236069 h 6479439"/>
                <a:gd name="connsiteX439" fmla="*/ 6457337 w 9586368"/>
                <a:gd name="connsiteY439" fmla="*/ 6226198 h 6479439"/>
                <a:gd name="connsiteX440" fmla="*/ 6222042 w 9586368"/>
                <a:gd name="connsiteY440" fmla="*/ 6222160 h 6479439"/>
                <a:gd name="connsiteX441" fmla="*/ 6231952 w 9586368"/>
                <a:gd name="connsiteY441" fmla="*/ 6222160 h 6479439"/>
                <a:gd name="connsiteX442" fmla="*/ 6235971 w 9586368"/>
                <a:gd name="connsiteY442" fmla="*/ 6226198 h 6479439"/>
                <a:gd name="connsiteX443" fmla="*/ 6235971 w 9586368"/>
                <a:gd name="connsiteY443" fmla="*/ 6236069 h 6479439"/>
                <a:gd name="connsiteX444" fmla="*/ 6231952 w 9586368"/>
                <a:gd name="connsiteY444" fmla="*/ 6240109 h 6479439"/>
                <a:gd name="connsiteX445" fmla="*/ 6222042 w 9586368"/>
                <a:gd name="connsiteY445" fmla="*/ 6240109 h 6479439"/>
                <a:gd name="connsiteX446" fmla="*/ 6218023 w 9586368"/>
                <a:gd name="connsiteY446" fmla="*/ 6236069 h 6479439"/>
                <a:gd name="connsiteX447" fmla="*/ 6218023 w 9586368"/>
                <a:gd name="connsiteY447" fmla="*/ 6226198 h 6479439"/>
                <a:gd name="connsiteX448" fmla="*/ 5982729 w 9586368"/>
                <a:gd name="connsiteY448" fmla="*/ 6222160 h 6479439"/>
                <a:gd name="connsiteX449" fmla="*/ 5992639 w 9586368"/>
                <a:gd name="connsiteY449" fmla="*/ 6222160 h 6479439"/>
                <a:gd name="connsiteX450" fmla="*/ 5996658 w 9586368"/>
                <a:gd name="connsiteY450" fmla="*/ 6226198 h 6479439"/>
                <a:gd name="connsiteX451" fmla="*/ 5996658 w 9586368"/>
                <a:gd name="connsiteY451" fmla="*/ 6236069 h 6479439"/>
                <a:gd name="connsiteX452" fmla="*/ 5992639 w 9586368"/>
                <a:gd name="connsiteY452" fmla="*/ 6240109 h 6479439"/>
                <a:gd name="connsiteX453" fmla="*/ 5982729 w 9586368"/>
                <a:gd name="connsiteY453" fmla="*/ 6240109 h 6479439"/>
                <a:gd name="connsiteX454" fmla="*/ 5978710 w 9586368"/>
                <a:gd name="connsiteY454" fmla="*/ 6236069 h 6479439"/>
                <a:gd name="connsiteX455" fmla="*/ 5978710 w 9586368"/>
                <a:gd name="connsiteY455" fmla="*/ 6226198 h 6479439"/>
                <a:gd name="connsiteX456" fmla="*/ 5743412 w 9586368"/>
                <a:gd name="connsiteY456" fmla="*/ 6222160 h 6479439"/>
                <a:gd name="connsiteX457" fmla="*/ 5753323 w 9586368"/>
                <a:gd name="connsiteY457" fmla="*/ 6222160 h 6479439"/>
                <a:gd name="connsiteX458" fmla="*/ 5757342 w 9586368"/>
                <a:gd name="connsiteY458" fmla="*/ 6226198 h 6479439"/>
                <a:gd name="connsiteX459" fmla="*/ 5757342 w 9586368"/>
                <a:gd name="connsiteY459" fmla="*/ 6236069 h 6479439"/>
                <a:gd name="connsiteX460" fmla="*/ 5753323 w 9586368"/>
                <a:gd name="connsiteY460" fmla="*/ 6240109 h 6479439"/>
                <a:gd name="connsiteX461" fmla="*/ 5743412 w 9586368"/>
                <a:gd name="connsiteY461" fmla="*/ 6240109 h 6479439"/>
                <a:gd name="connsiteX462" fmla="*/ 5739393 w 9586368"/>
                <a:gd name="connsiteY462" fmla="*/ 6236069 h 6479439"/>
                <a:gd name="connsiteX463" fmla="*/ 5739393 w 9586368"/>
                <a:gd name="connsiteY463" fmla="*/ 6226198 h 6479439"/>
                <a:gd name="connsiteX464" fmla="*/ 5504099 w 9586368"/>
                <a:gd name="connsiteY464" fmla="*/ 6222160 h 6479439"/>
                <a:gd name="connsiteX465" fmla="*/ 5514010 w 9586368"/>
                <a:gd name="connsiteY465" fmla="*/ 6222160 h 6479439"/>
                <a:gd name="connsiteX466" fmla="*/ 5518029 w 9586368"/>
                <a:gd name="connsiteY466" fmla="*/ 6226198 h 6479439"/>
                <a:gd name="connsiteX467" fmla="*/ 5518029 w 9586368"/>
                <a:gd name="connsiteY467" fmla="*/ 6236069 h 6479439"/>
                <a:gd name="connsiteX468" fmla="*/ 5514010 w 9586368"/>
                <a:gd name="connsiteY468" fmla="*/ 6240109 h 6479439"/>
                <a:gd name="connsiteX469" fmla="*/ 5504099 w 9586368"/>
                <a:gd name="connsiteY469" fmla="*/ 6240109 h 6479439"/>
                <a:gd name="connsiteX470" fmla="*/ 5500080 w 9586368"/>
                <a:gd name="connsiteY470" fmla="*/ 6236069 h 6479439"/>
                <a:gd name="connsiteX471" fmla="*/ 5500080 w 9586368"/>
                <a:gd name="connsiteY471" fmla="*/ 6226198 h 6479439"/>
                <a:gd name="connsiteX472" fmla="*/ 5264784 w 9586368"/>
                <a:gd name="connsiteY472" fmla="*/ 6222160 h 6479439"/>
                <a:gd name="connsiteX473" fmla="*/ 5274694 w 9586368"/>
                <a:gd name="connsiteY473" fmla="*/ 6222160 h 6479439"/>
                <a:gd name="connsiteX474" fmla="*/ 5278713 w 9586368"/>
                <a:gd name="connsiteY474" fmla="*/ 6226198 h 6479439"/>
                <a:gd name="connsiteX475" fmla="*/ 5278713 w 9586368"/>
                <a:gd name="connsiteY475" fmla="*/ 6236069 h 6479439"/>
                <a:gd name="connsiteX476" fmla="*/ 5274694 w 9586368"/>
                <a:gd name="connsiteY476" fmla="*/ 6240109 h 6479439"/>
                <a:gd name="connsiteX477" fmla="*/ 5264784 w 9586368"/>
                <a:gd name="connsiteY477" fmla="*/ 6240109 h 6479439"/>
                <a:gd name="connsiteX478" fmla="*/ 5260765 w 9586368"/>
                <a:gd name="connsiteY478" fmla="*/ 6236069 h 6479439"/>
                <a:gd name="connsiteX479" fmla="*/ 5260765 w 9586368"/>
                <a:gd name="connsiteY479" fmla="*/ 6226198 h 6479439"/>
                <a:gd name="connsiteX480" fmla="*/ 5025470 w 9586368"/>
                <a:gd name="connsiteY480" fmla="*/ 6222160 h 6479439"/>
                <a:gd name="connsiteX481" fmla="*/ 5035381 w 9586368"/>
                <a:gd name="connsiteY481" fmla="*/ 6222160 h 6479439"/>
                <a:gd name="connsiteX482" fmla="*/ 5039400 w 9586368"/>
                <a:gd name="connsiteY482" fmla="*/ 6226198 h 6479439"/>
                <a:gd name="connsiteX483" fmla="*/ 5039400 w 9586368"/>
                <a:gd name="connsiteY483" fmla="*/ 6236069 h 6479439"/>
                <a:gd name="connsiteX484" fmla="*/ 5035381 w 9586368"/>
                <a:gd name="connsiteY484" fmla="*/ 6240109 h 6479439"/>
                <a:gd name="connsiteX485" fmla="*/ 5025470 w 9586368"/>
                <a:gd name="connsiteY485" fmla="*/ 6240109 h 6479439"/>
                <a:gd name="connsiteX486" fmla="*/ 5021451 w 9586368"/>
                <a:gd name="connsiteY486" fmla="*/ 6236069 h 6479439"/>
                <a:gd name="connsiteX487" fmla="*/ 5021451 w 9586368"/>
                <a:gd name="connsiteY487" fmla="*/ 6226198 h 6479439"/>
                <a:gd name="connsiteX488" fmla="*/ 4786241 w 9586368"/>
                <a:gd name="connsiteY488" fmla="*/ 6222160 h 6479439"/>
                <a:gd name="connsiteX489" fmla="*/ 4796152 w 9586368"/>
                <a:gd name="connsiteY489" fmla="*/ 6222160 h 6479439"/>
                <a:gd name="connsiteX490" fmla="*/ 4800171 w 9586368"/>
                <a:gd name="connsiteY490" fmla="*/ 6226198 h 6479439"/>
                <a:gd name="connsiteX491" fmla="*/ 4800171 w 9586368"/>
                <a:gd name="connsiteY491" fmla="*/ 6236069 h 6479439"/>
                <a:gd name="connsiteX492" fmla="*/ 4796152 w 9586368"/>
                <a:gd name="connsiteY492" fmla="*/ 6240109 h 6479439"/>
                <a:gd name="connsiteX493" fmla="*/ 4786241 w 9586368"/>
                <a:gd name="connsiteY493" fmla="*/ 6240109 h 6479439"/>
                <a:gd name="connsiteX494" fmla="*/ 4782224 w 9586368"/>
                <a:gd name="connsiteY494" fmla="*/ 6236069 h 6479439"/>
                <a:gd name="connsiteX495" fmla="*/ 4782224 w 9586368"/>
                <a:gd name="connsiteY495" fmla="*/ 6226198 h 6479439"/>
                <a:gd name="connsiteX496" fmla="*/ 4546929 w 9586368"/>
                <a:gd name="connsiteY496" fmla="*/ 6222160 h 6479439"/>
                <a:gd name="connsiteX497" fmla="*/ 4556840 w 9586368"/>
                <a:gd name="connsiteY497" fmla="*/ 6222160 h 6479439"/>
                <a:gd name="connsiteX498" fmla="*/ 4560859 w 9586368"/>
                <a:gd name="connsiteY498" fmla="*/ 6226198 h 6479439"/>
                <a:gd name="connsiteX499" fmla="*/ 4560859 w 9586368"/>
                <a:gd name="connsiteY499" fmla="*/ 6236069 h 6479439"/>
                <a:gd name="connsiteX500" fmla="*/ 4556840 w 9586368"/>
                <a:gd name="connsiteY500" fmla="*/ 6240109 h 6479439"/>
                <a:gd name="connsiteX501" fmla="*/ 4546929 w 9586368"/>
                <a:gd name="connsiteY501" fmla="*/ 6240109 h 6479439"/>
                <a:gd name="connsiteX502" fmla="*/ 4542910 w 9586368"/>
                <a:gd name="connsiteY502" fmla="*/ 6236069 h 6479439"/>
                <a:gd name="connsiteX503" fmla="*/ 4542910 w 9586368"/>
                <a:gd name="connsiteY503" fmla="*/ 6226198 h 6479439"/>
                <a:gd name="connsiteX504" fmla="*/ 4307612 w 9586368"/>
                <a:gd name="connsiteY504" fmla="*/ 6222160 h 6479439"/>
                <a:gd name="connsiteX505" fmla="*/ 4317523 w 9586368"/>
                <a:gd name="connsiteY505" fmla="*/ 6222160 h 6479439"/>
                <a:gd name="connsiteX506" fmla="*/ 4321543 w 9586368"/>
                <a:gd name="connsiteY506" fmla="*/ 6226198 h 6479439"/>
                <a:gd name="connsiteX507" fmla="*/ 4321543 w 9586368"/>
                <a:gd name="connsiteY507" fmla="*/ 6236069 h 6479439"/>
                <a:gd name="connsiteX508" fmla="*/ 4317523 w 9586368"/>
                <a:gd name="connsiteY508" fmla="*/ 6240109 h 6479439"/>
                <a:gd name="connsiteX509" fmla="*/ 4307612 w 9586368"/>
                <a:gd name="connsiteY509" fmla="*/ 6240109 h 6479439"/>
                <a:gd name="connsiteX510" fmla="*/ 4303595 w 9586368"/>
                <a:gd name="connsiteY510" fmla="*/ 6236069 h 6479439"/>
                <a:gd name="connsiteX511" fmla="*/ 4303595 w 9586368"/>
                <a:gd name="connsiteY511" fmla="*/ 6226198 h 6479439"/>
                <a:gd name="connsiteX512" fmla="*/ 4068297 w 9586368"/>
                <a:gd name="connsiteY512" fmla="*/ 6222160 h 6479439"/>
                <a:gd name="connsiteX513" fmla="*/ 4078210 w 9586368"/>
                <a:gd name="connsiteY513" fmla="*/ 6222160 h 6479439"/>
                <a:gd name="connsiteX514" fmla="*/ 4082229 w 9586368"/>
                <a:gd name="connsiteY514" fmla="*/ 6226198 h 6479439"/>
                <a:gd name="connsiteX515" fmla="*/ 4082229 w 9586368"/>
                <a:gd name="connsiteY515" fmla="*/ 6236069 h 6479439"/>
                <a:gd name="connsiteX516" fmla="*/ 4078210 w 9586368"/>
                <a:gd name="connsiteY516" fmla="*/ 6240109 h 6479439"/>
                <a:gd name="connsiteX517" fmla="*/ 4068297 w 9586368"/>
                <a:gd name="connsiteY517" fmla="*/ 6240109 h 6479439"/>
                <a:gd name="connsiteX518" fmla="*/ 4064278 w 9586368"/>
                <a:gd name="connsiteY518" fmla="*/ 6236069 h 6479439"/>
                <a:gd name="connsiteX519" fmla="*/ 4064278 w 9586368"/>
                <a:gd name="connsiteY519" fmla="*/ 6226198 h 6479439"/>
                <a:gd name="connsiteX520" fmla="*/ 3828990 w 9586368"/>
                <a:gd name="connsiteY520" fmla="*/ 6222160 h 6479439"/>
                <a:gd name="connsiteX521" fmla="*/ 3838899 w 9586368"/>
                <a:gd name="connsiteY521" fmla="*/ 6222160 h 6479439"/>
                <a:gd name="connsiteX522" fmla="*/ 3842917 w 9586368"/>
                <a:gd name="connsiteY522" fmla="*/ 6226198 h 6479439"/>
                <a:gd name="connsiteX523" fmla="*/ 3842917 w 9586368"/>
                <a:gd name="connsiteY523" fmla="*/ 6236069 h 6479439"/>
                <a:gd name="connsiteX524" fmla="*/ 3838899 w 9586368"/>
                <a:gd name="connsiteY524" fmla="*/ 6240109 h 6479439"/>
                <a:gd name="connsiteX525" fmla="*/ 3828990 w 9586368"/>
                <a:gd name="connsiteY525" fmla="*/ 6240109 h 6479439"/>
                <a:gd name="connsiteX526" fmla="*/ 3824971 w 9586368"/>
                <a:gd name="connsiteY526" fmla="*/ 6236069 h 6479439"/>
                <a:gd name="connsiteX527" fmla="*/ 3824971 w 9586368"/>
                <a:gd name="connsiteY527" fmla="*/ 6226198 h 6479439"/>
                <a:gd name="connsiteX528" fmla="*/ 3589676 w 9586368"/>
                <a:gd name="connsiteY528" fmla="*/ 6222160 h 6479439"/>
                <a:gd name="connsiteX529" fmla="*/ 3599585 w 9586368"/>
                <a:gd name="connsiteY529" fmla="*/ 6222160 h 6479439"/>
                <a:gd name="connsiteX530" fmla="*/ 3603604 w 9586368"/>
                <a:gd name="connsiteY530" fmla="*/ 6226198 h 6479439"/>
                <a:gd name="connsiteX531" fmla="*/ 3603604 w 9586368"/>
                <a:gd name="connsiteY531" fmla="*/ 6236069 h 6479439"/>
                <a:gd name="connsiteX532" fmla="*/ 3599585 w 9586368"/>
                <a:gd name="connsiteY532" fmla="*/ 6240109 h 6479439"/>
                <a:gd name="connsiteX533" fmla="*/ 3589676 w 9586368"/>
                <a:gd name="connsiteY533" fmla="*/ 6240109 h 6479439"/>
                <a:gd name="connsiteX534" fmla="*/ 3585657 w 9586368"/>
                <a:gd name="connsiteY534" fmla="*/ 6236069 h 6479439"/>
                <a:gd name="connsiteX535" fmla="*/ 3585657 w 9586368"/>
                <a:gd name="connsiteY535" fmla="*/ 6226198 h 6479439"/>
                <a:gd name="connsiteX536" fmla="*/ 3350359 w 9586368"/>
                <a:gd name="connsiteY536" fmla="*/ 6222160 h 6479439"/>
                <a:gd name="connsiteX537" fmla="*/ 3360268 w 9586368"/>
                <a:gd name="connsiteY537" fmla="*/ 6222160 h 6479439"/>
                <a:gd name="connsiteX538" fmla="*/ 3364287 w 9586368"/>
                <a:gd name="connsiteY538" fmla="*/ 6226198 h 6479439"/>
                <a:gd name="connsiteX539" fmla="*/ 3364287 w 9586368"/>
                <a:gd name="connsiteY539" fmla="*/ 6236069 h 6479439"/>
                <a:gd name="connsiteX540" fmla="*/ 3360268 w 9586368"/>
                <a:gd name="connsiteY540" fmla="*/ 6240109 h 6479439"/>
                <a:gd name="connsiteX541" fmla="*/ 3350359 w 9586368"/>
                <a:gd name="connsiteY541" fmla="*/ 6240109 h 6479439"/>
                <a:gd name="connsiteX542" fmla="*/ 3346340 w 9586368"/>
                <a:gd name="connsiteY542" fmla="*/ 6236069 h 6479439"/>
                <a:gd name="connsiteX543" fmla="*/ 3346340 w 9586368"/>
                <a:gd name="connsiteY543" fmla="*/ 6226198 h 6479439"/>
                <a:gd name="connsiteX544" fmla="*/ 3111048 w 9586368"/>
                <a:gd name="connsiteY544" fmla="*/ 6222160 h 6479439"/>
                <a:gd name="connsiteX545" fmla="*/ 3120959 w 9586368"/>
                <a:gd name="connsiteY545" fmla="*/ 6222160 h 6479439"/>
                <a:gd name="connsiteX546" fmla="*/ 3124977 w 9586368"/>
                <a:gd name="connsiteY546" fmla="*/ 6226198 h 6479439"/>
                <a:gd name="connsiteX547" fmla="*/ 3124977 w 9586368"/>
                <a:gd name="connsiteY547" fmla="*/ 6236069 h 6479439"/>
                <a:gd name="connsiteX548" fmla="*/ 3120959 w 9586368"/>
                <a:gd name="connsiteY548" fmla="*/ 6240109 h 6479439"/>
                <a:gd name="connsiteX549" fmla="*/ 3111048 w 9586368"/>
                <a:gd name="connsiteY549" fmla="*/ 6240109 h 6479439"/>
                <a:gd name="connsiteX550" fmla="*/ 3107029 w 9586368"/>
                <a:gd name="connsiteY550" fmla="*/ 6236069 h 6479439"/>
                <a:gd name="connsiteX551" fmla="*/ 3107029 w 9586368"/>
                <a:gd name="connsiteY551" fmla="*/ 6226198 h 6479439"/>
                <a:gd name="connsiteX552" fmla="*/ 2871737 w 9586368"/>
                <a:gd name="connsiteY552" fmla="*/ 6222160 h 6479439"/>
                <a:gd name="connsiteX553" fmla="*/ 2881646 w 9586368"/>
                <a:gd name="connsiteY553" fmla="*/ 6222160 h 6479439"/>
                <a:gd name="connsiteX554" fmla="*/ 2885666 w 9586368"/>
                <a:gd name="connsiteY554" fmla="*/ 6226198 h 6479439"/>
                <a:gd name="connsiteX555" fmla="*/ 2885666 w 9586368"/>
                <a:gd name="connsiteY555" fmla="*/ 6236069 h 6479439"/>
                <a:gd name="connsiteX556" fmla="*/ 2881646 w 9586368"/>
                <a:gd name="connsiteY556" fmla="*/ 6240109 h 6479439"/>
                <a:gd name="connsiteX557" fmla="*/ 2871737 w 9586368"/>
                <a:gd name="connsiteY557" fmla="*/ 6240109 h 6479439"/>
                <a:gd name="connsiteX558" fmla="*/ 2867717 w 9586368"/>
                <a:gd name="connsiteY558" fmla="*/ 6236069 h 6479439"/>
                <a:gd name="connsiteX559" fmla="*/ 2867717 w 9586368"/>
                <a:gd name="connsiteY559" fmla="*/ 6226198 h 6479439"/>
                <a:gd name="connsiteX560" fmla="*/ 2632423 w 9586368"/>
                <a:gd name="connsiteY560" fmla="*/ 6222160 h 6479439"/>
                <a:gd name="connsiteX561" fmla="*/ 2642334 w 9586368"/>
                <a:gd name="connsiteY561" fmla="*/ 6222160 h 6479439"/>
                <a:gd name="connsiteX562" fmla="*/ 2646352 w 9586368"/>
                <a:gd name="connsiteY562" fmla="*/ 6226198 h 6479439"/>
                <a:gd name="connsiteX563" fmla="*/ 2646352 w 9586368"/>
                <a:gd name="connsiteY563" fmla="*/ 6236069 h 6479439"/>
                <a:gd name="connsiteX564" fmla="*/ 2642334 w 9586368"/>
                <a:gd name="connsiteY564" fmla="*/ 6240109 h 6479439"/>
                <a:gd name="connsiteX565" fmla="*/ 2632423 w 9586368"/>
                <a:gd name="connsiteY565" fmla="*/ 6240109 h 6479439"/>
                <a:gd name="connsiteX566" fmla="*/ 2628404 w 9586368"/>
                <a:gd name="connsiteY566" fmla="*/ 6236069 h 6479439"/>
                <a:gd name="connsiteX567" fmla="*/ 2628404 w 9586368"/>
                <a:gd name="connsiteY567" fmla="*/ 6226198 h 6479439"/>
                <a:gd name="connsiteX568" fmla="*/ 2393104 w 9586368"/>
                <a:gd name="connsiteY568" fmla="*/ 6222160 h 6479439"/>
                <a:gd name="connsiteX569" fmla="*/ 2403015 w 9586368"/>
                <a:gd name="connsiteY569" fmla="*/ 6222160 h 6479439"/>
                <a:gd name="connsiteX570" fmla="*/ 2407034 w 9586368"/>
                <a:gd name="connsiteY570" fmla="*/ 6226198 h 6479439"/>
                <a:gd name="connsiteX571" fmla="*/ 2407034 w 9586368"/>
                <a:gd name="connsiteY571" fmla="*/ 6236069 h 6479439"/>
                <a:gd name="connsiteX572" fmla="*/ 2403015 w 9586368"/>
                <a:gd name="connsiteY572" fmla="*/ 6240109 h 6479439"/>
                <a:gd name="connsiteX573" fmla="*/ 2393104 w 9586368"/>
                <a:gd name="connsiteY573" fmla="*/ 6240109 h 6479439"/>
                <a:gd name="connsiteX574" fmla="*/ 2389087 w 9586368"/>
                <a:gd name="connsiteY574" fmla="*/ 6236069 h 6479439"/>
                <a:gd name="connsiteX575" fmla="*/ 2389087 w 9586368"/>
                <a:gd name="connsiteY575" fmla="*/ 6226198 h 6479439"/>
                <a:gd name="connsiteX576" fmla="*/ 2157818 w 9586368"/>
                <a:gd name="connsiteY576" fmla="*/ 6222160 h 6479439"/>
                <a:gd name="connsiteX577" fmla="*/ 2167728 w 9586368"/>
                <a:gd name="connsiteY577" fmla="*/ 6222160 h 6479439"/>
                <a:gd name="connsiteX578" fmla="*/ 2171746 w 9586368"/>
                <a:gd name="connsiteY578" fmla="*/ 6226198 h 6479439"/>
                <a:gd name="connsiteX579" fmla="*/ 2171746 w 9586368"/>
                <a:gd name="connsiteY579" fmla="*/ 6236069 h 6479439"/>
                <a:gd name="connsiteX580" fmla="*/ 2167728 w 9586368"/>
                <a:gd name="connsiteY580" fmla="*/ 6240109 h 6479439"/>
                <a:gd name="connsiteX581" fmla="*/ 2157818 w 9586368"/>
                <a:gd name="connsiteY581" fmla="*/ 6240109 h 6479439"/>
                <a:gd name="connsiteX582" fmla="*/ 2153799 w 9586368"/>
                <a:gd name="connsiteY582" fmla="*/ 6236069 h 6479439"/>
                <a:gd name="connsiteX583" fmla="*/ 2153799 w 9586368"/>
                <a:gd name="connsiteY583" fmla="*/ 6226198 h 6479439"/>
                <a:gd name="connsiteX584" fmla="*/ 1918509 w 9586368"/>
                <a:gd name="connsiteY584" fmla="*/ 6222160 h 6479439"/>
                <a:gd name="connsiteX585" fmla="*/ 1928419 w 9586368"/>
                <a:gd name="connsiteY585" fmla="*/ 6222160 h 6479439"/>
                <a:gd name="connsiteX586" fmla="*/ 1932438 w 9586368"/>
                <a:gd name="connsiteY586" fmla="*/ 6226198 h 6479439"/>
                <a:gd name="connsiteX587" fmla="*/ 1932438 w 9586368"/>
                <a:gd name="connsiteY587" fmla="*/ 6236069 h 6479439"/>
                <a:gd name="connsiteX588" fmla="*/ 1928419 w 9586368"/>
                <a:gd name="connsiteY588" fmla="*/ 6240109 h 6479439"/>
                <a:gd name="connsiteX589" fmla="*/ 1918509 w 9586368"/>
                <a:gd name="connsiteY589" fmla="*/ 6240109 h 6479439"/>
                <a:gd name="connsiteX590" fmla="*/ 1914490 w 9586368"/>
                <a:gd name="connsiteY590" fmla="*/ 6236069 h 6479439"/>
                <a:gd name="connsiteX591" fmla="*/ 1914490 w 9586368"/>
                <a:gd name="connsiteY591" fmla="*/ 6226198 h 6479439"/>
                <a:gd name="connsiteX592" fmla="*/ 1679200 w 9586368"/>
                <a:gd name="connsiteY592" fmla="*/ 6222160 h 6479439"/>
                <a:gd name="connsiteX593" fmla="*/ 1689110 w 9586368"/>
                <a:gd name="connsiteY593" fmla="*/ 6222160 h 6479439"/>
                <a:gd name="connsiteX594" fmla="*/ 1693129 w 9586368"/>
                <a:gd name="connsiteY594" fmla="*/ 6226198 h 6479439"/>
                <a:gd name="connsiteX595" fmla="*/ 1693129 w 9586368"/>
                <a:gd name="connsiteY595" fmla="*/ 6236069 h 6479439"/>
                <a:gd name="connsiteX596" fmla="*/ 1689110 w 9586368"/>
                <a:gd name="connsiteY596" fmla="*/ 6240109 h 6479439"/>
                <a:gd name="connsiteX597" fmla="*/ 1679200 w 9586368"/>
                <a:gd name="connsiteY597" fmla="*/ 6240109 h 6479439"/>
                <a:gd name="connsiteX598" fmla="*/ 1675182 w 9586368"/>
                <a:gd name="connsiteY598" fmla="*/ 6236069 h 6479439"/>
                <a:gd name="connsiteX599" fmla="*/ 1675182 w 9586368"/>
                <a:gd name="connsiteY599" fmla="*/ 6226198 h 6479439"/>
                <a:gd name="connsiteX600" fmla="*/ 1439885 w 9586368"/>
                <a:gd name="connsiteY600" fmla="*/ 6222160 h 6479439"/>
                <a:gd name="connsiteX601" fmla="*/ 1449795 w 9586368"/>
                <a:gd name="connsiteY601" fmla="*/ 6222160 h 6479439"/>
                <a:gd name="connsiteX602" fmla="*/ 1453814 w 9586368"/>
                <a:gd name="connsiteY602" fmla="*/ 6226198 h 6479439"/>
                <a:gd name="connsiteX603" fmla="*/ 1453814 w 9586368"/>
                <a:gd name="connsiteY603" fmla="*/ 6236069 h 6479439"/>
                <a:gd name="connsiteX604" fmla="*/ 1449795 w 9586368"/>
                <a:gd name="connsiteY604" fmla="*/ 6240109 h 6479439"/>
                <a:gd name="connsiteX605" fmla="*/ 1439885 w 9586368"/>
                <a:gd name="connsiteY605" fmla="*/ 6240109 h 6479439"/>
                <a:gd name="connsiteX606" fmla="*/ 1435866 w 9586368"/>
                <a:gd name="connsiteY606" fmla="*/ 6236069 h 6479439"/>
                <a:gd name="connsiteX607" fmla="*/ 1435866 w 9586368"/>
                <a:gd name="connsiteY607" fmla="*/ 6226198 h 6479439"/>
                <a:gd name="connsiteX608" fmla="*/ 1200570 w 9586368"/>
                <a:gd name="connsiteY608" fmla="*/ 6222160 h 6479439"/>
                <a:gd name="connsiteX609" fmla="*/ 1210481 w 9586368"/>
                <a:gd name="connsiteY609" fmla="*/ 6222160 h 6479439"/>
                <a:gd name="connsiteX610" fmla="*/ 1214499 w 9586368"/>
                <a:gd name="connsiteY610" fmla="*/ 6226198 h 6479439"/>
                <a:gd name="connsiteX611" fmla="*/ 1214499 w 9586368"/>
                <a:gd name="connsiteY611" fmla="*/ 6236069 h 6479439"/>
                <a:gd name="connsiteX612" fmla="*/ 1210481 w 9586368"/>
                <a:gd name="connsiteY612" fmla="*/ 6240109 h 6479439"/>
                <a:gd name="connsiteX613" fmla="*/ 1200570 w 9586368"/>
                <a:gd name="connsiteY613" fmla="*/ 6240109 h 6479439"/>
                <a:gd name="connsiteX614" fmla="*/ 1196551 w 9586368"/>
                <a:gd name="connsiteY614" fmla="*/ 6236069 h 6479439"/>
                <a:gd name="connsiteX615" fmla="*/ 1196551 w 9586368"/>
                <a:gd name="connsiteY615" fmla="*/ 6226198 h 6479439"/>
                <a:gd name="connsiteX616" fmla="*/ 961258 w 9586368"/>
                <a:gd name="connsiteY616" fmla="*/ 6222160 h 6479439"/>
                <a:gd name="connsiteX617" fmla="*/ 971167 w 9586368"/>
                <a:gd name="connsiteY617" fmla="*/ 6222160 h 6479439"/>
                <a:gd name="connsiteX618" fmla="*/ 975186 w 9586368"/>
                <a:gd name="connsiteY618" fmla="*/ 6226198 h 6479439"/>
                <a:gd name="connsiteX619" fmla="*/ 975186 w 9586368"/>
                <a:gd name="connsiteY619" fmla="*/ 6236069 h 6479439"/>
                <a:gd name="connsiteX620" fmla="*/ 971167 w 9586368"/>
                <a:gd name="connsiteY620" fmla="*/ 6240109 h 6479439"/>
                <a:gd name="connsiteX621" fmla="*/ 961258 w 9586368"/>
                <a:gd name="connsiteY621" fmla="*/ 6240109 h 6479439"/>
                <a:gd name="connsiteX622" fmla="*/ 957239 w 9586368"/>
                <a:gd name="connsiteY622" fmla="*/ 6236069 h 6479439"/>
                <a:gd name="connsiteX623" fmla="*/ 957239 w 9586368"/>
                <a:gd name="connsiteY623" fmla="*/ 6226198 h 6479439"/>
                <a:gd name="connsiteX624" fmla="*/ 721959 w 9586368"/>
                <a:gd name="connsiteY624" fmla="*/ 6222160 h 6479439"/>
                <a:gd name="connsiteX625" fmla="*/ 731869 w 9586368"/>
                <a:gd name="connsiteY625" fmla="*/ 6222160 h 6479439"/>
                <a:gd name="connsiteX626" fmla="*/ 735888 w 9586368"/>
                <a:gd name="connsiteY626" fmla="*/ 6226198 h 6479439"/>
                <a:gd name="connsiteX627" fmla="*/ 735888 w 9586368"/>
                <a:gd name="connsiteY627" fmla="*/ 6236069 h 6479439"/>
                <a:gd name="connsiteX628" fmla="*/ 731869 w 9586368"/>
                <a:gd name="connsiteY628" fmla="*/ 6240109 h 6479439"/>
                <a:gd name="connsiteX629" fmla="*/ 721959 w 9586368"/>
                <a:gd name="connsiteY629" fmla="*/ 6240109 h 6479439"/>
                <a:gd name="connsiteX630" fmla="*/ 717940 w 9586368"/>
                <a:gd name="connsiteY630" fmla="*/ 6236069 h 6479439"/>
                <a:gd name="connsiteX631" fmla="*/ 717940 w 9586368"/>
                <a:gd name="connsiteY631" fmla="*/ 6226198 h 6479439"/>
                <a:gd name="connsiteX632" fmla="*/ 482646 w 9586368"/>
                <a:gd name="connsiteY632" fmla="*/ 6222160 h 6479439"/>
                <a:gd name="connsiteX633" fmla="*/ 492557 w 9586368"/>
                <a:gd name="connsiteY633" fmla="*/ 6222160 h 6479439"/>
                <a:gd name="connsiteX634" fmla="*/ 496576 w 9586368"/>
                <a:gd name="connsiteY634" fmla="*/ 6226198 h 6479439"/>
                <a:gd name="connsiteX635" fmla="*/ 496576 w 9586368"/>
                <a:gd name="connsiteY635" fmla="*/ 6236069 h 6479439"/>
                <a:gd name="connsiteX636" fmla="*/ 492557 w 9586368"/>
                <a:gd name="connsiteY636" fmla="*/ 6240109 h 6479439"/>
                <a:gd name="connsiteX637" fmla="*/ 482646 w 9586368"/>
                <a:gd name="connsiteY637" fmla="*/ 6240109 h 6479439"/>
                <a:gd name="connsiteX638" fmla="*/ 478627 w 9586368"/>
                <a:gd name="connsiteY638" fmla="*/ 6236069 h 6479439"/>
                <a:gd name="connsiteX639" fmla="*/ 478627 w 9586368"/>
                <a:gd name="connsiteY639" fmla="*/ 6226198 h 6479439"/>
                <a:gd name="connsiteX640" fmla="*/ 243333 w 9586368"/>
                <a:gd name="connsiteY640" fmla="*/ 6222160 h 6479439"/>
                <a:gd name="connsiteX641" fmla="*/ 253243 w 9586368"/>
                <a:gd name="connsiteY641" fmla="*/ 6222160 h 6479439"/>
                <a:gd name="connsiteX642" fmla="*/ 257263 w 9586368"/>
                <a:gd name="connsiteY642" fmla="*/ 6226198 h 6479439"/>
                <a:gd name="connsiteX643" fmla="*/ 257263 w 9586368"/>
                <a:gd name="connsiteY643" fmla="*/ 6236069 h 6479439"/>
                <a:gd name="connsiteX644" fmla="*/ 253243 w 9586368"/>
                <a:gd name="connsiteY644" fmla="*/ 6240109 h 6479439"/>
                <a:gd name="connsiteX645" fmla="*/ 243333 w 9586368"/>
                <a:gd name="connsiteY645" fmla="*/ 6240109 h 6479439"/>
                <a:gd name="connsiteX646" fmla="*/ 239314 w 9586368"/>
                <a:gd name="connsiteY646" fmla="*/ 6236069 h 6479439"/>
                <a:gd name="connsiteX647" fmla="*/ 239314 w 9586368"/>
                <a:gd name="connsiteY647" fmla="*/ 6226198 h 6479439"/>
                <a:gd name="connsiteX648" fmla="*/ 4020 w 9586368"/>
                <a:gd name="connsiteY648" fmla="*/ 6222160 h 6479439"/>
                <a:gd name="connsiteX649" fmla="*/ 13930 w 9586368"/>
                <a:gd name="connsiteY649" fmla="*/ 6222160 h 6479439"/>
                <a:gd name="connsiteX650" fmla="*/ 17949 w 9586368"/>
                <a:gd name="connsiteY650" fmla="*/ 6226198 h 6479439"/>
                <a:gd name="connsiteX651" fmla="*/ 17949 w 9586368"/>
                <a:gd name="connsiteY651" fmla="*/ 6236069 h 6479439"/>
                <a:gd name="connsiteX652" fmla="*/ 13930 w 9586368"/>
                <a:gd name="connsiteY652" fmla="*/ 6240109 h 6479439"/>
                <a:gd name="connsiteX653" fmla="*/ 4020 w 9586368"/>
                <a:gd name="connsiteY653" fmla="*/ 6240109 h 6479439"/>
                <a:gd name="connsiteX654" fmla="*/ 1 w 9586368"/>
                <a:gd name="connsiteY654" fmla="*/ 6236069 h 6479439"/>
                <a:gd name="connsiteX655" fmla="*/ 1 w 9586368"/>
                <a:gd name="connsiteY655" fmla="*/ 6226198 h 6479439"/>
                <a:gd name="connsiteX656" fmla="*/ 2157818 w 9586368"/>
                <a:gd name="connsiteY656" fmla="*/ 5982881 h 6479439"/>
                <a:gd name="connsiteX657" fmla="*/ 2167728 w 9586368"/>
                <a:gd name="connsiteY657" fmla="*/ 5982881 h 6479439"/>
                <a:gd name="connsiteX658" fmla="*/ 2171747 w 9586368"/>
                <a:gd name="connsiteY658" fmla="*/ 5986919 h 6479439"/>
                <a:gd name="connsiteX659" fmla="*/ 2171747 w 9586368"/>
                <a:gd name="connsiteY659" fmla="*/ 5996790 h 6479439"/>
                <a:gd name="connsiteX660" fmla="*/ 2167728 w 9586368"/>
                <a:gd name="connsiteY660" fmla="*/ 6000829 h 6479439"/>
                <a:gd name="connsiteX661" fmla="*/ 2157818 w 9586368"/>
                <a:gd name="connsiteY661" fmla="*/ 6000829 h 6479439"/>
                <a:gd name="connsiteX662" fmla="*/ 2153799 w 9586368"/>
                <a:gd name="connsiteY662" fmla="*/ 5996790 h 6479439"/>
                <a:gd name="connsiteX663" fmla="*/ 2153799 w 9586368"/>
                <a:gd name="connsiteY663" fmla="*/ 5986919 h 6479439"/>
                <a:gd name="connsiteX664" fmla="*/ 1918509 w 9586368"/>
                <a:gd name="connsiteY664" fmla="*/ 5982881 h 6479439"/>
                <a:gd name="connsiteX665" fmla="*/ 1928420 w 9586368"/>
                <a:gd name="connsiteY665" fmla="*/ 5982881 h 6479439"/>
                <a:gd name="connsiteX666" fmla="*/ 1932438 w 9586368"/>
                <a:gd name="connsiteY666" fmla="*/ 5986919 h 6479439"/>
                <a:gd name="connsiteX667" fmla="*/ 1932438 w 9586368"/>
                <a:gd name="connsiteY667" fmla="*/ 5996790 h 6479439"/>
                <a:gd name="connsiteX668" fmla="*/ 1928420 w 9586368"/>
                <a:gd name="connsiteY668" fmla="*/ 6000829 h 6479439"/>
                <a:gd name="connsiteX669" fmla="*/ 1918509 w 9586368"/>
                <a:gd name="connsiteY669" fmla="*/ 6000829 h 6479439"/>
                <a:gd name="connsiteX670" fmla="*/ 1914490 w 9586368"/>
                <a:gd name="connsiteY670" fmla="*/ 5996790 h 6479439"/>
                <a:gd name="connsiteX671" fmla="*/ 1914490 w 9586368"/>
                <a:gd name="connsiteY671" fmla="*/ 5986919 h 6479439"/>
                <a:gd name="connsiteX672" fmla="*/ 1679201 w 9586368"/>
                <a:gd name="connsiteY672" fmla="*/ 5982881 h 6479439"/>
                <a:gd name="connsiteX673" fmla="*/ 1689111 w 9586368"/>
                <a:gd name="connsiteY673" fmla="*/ 5982881 h 6479439"/>
                <a:gd name="connsiteX674" fmla="*/ 1693129 w 9586368"/>
                <a:gd name="connsiteY674" fmla="*/ 5986919 h 6479439"/>
                <a:gd name="connsiteX675" fmla="*/ 1693129 w 9586368"/>
                <a:gd name="connsiteY675" fmla="*/ 5996790 h 6479439"/>
                <a:gd name="connsiteX676" fmla="*/ 1689111 w 9586368"/>
                <a:gd name="connsiteY676" fmla="*/ 6000829 h 6479439"/>
                <a:gd name="connsiteX677" fmla="*/ 1679201 w 9586368"/>
                <a:gd name="connsiteY677" fmla="*/ 6000829 h 6479439"/>
                <a:gd name="connsiteX678" fmla="*/ 1675182 w 9586368"/>
                <a:gd name="connsiteY678" fmla="*/ 5996790 h 6479439"/>
                <a:gd name="connsiteX679" fmla="*/ 1675182 w 9586368"/>
                <a:gd name="connsiteY679" fmla="*/ 5986919 h 6479439"/>
                <a:gd name="connsiteX680" fmla="*/ 1439886 w 9586368"/>
                <a:gd name="connsiteY680" fmla="*/ 5982881 h 6479439"/>
                <a:gd name="connsiteX681" fmla="*/ 1449796 w 9586368"/>
                <a:gd name="connsiteY681" fmla="*/ 5982881 h 6479439"/>
                <a:gd name="connsiteX682" fmla="*/ 1453814 w 9586368"/>
                <a:gd name="connsiteY682" fmla="*/ 5986919 h 6479439"/>
                <a:gd name="connsiteX683" fmla="*/ 1453814 w 9586368"/>
                <a:gd name="connsiteY683" fmla="*/ 5996790 h 6479439"/>
                <a:gd name="connsiteX684" fmla="*/ 1449796 w 9586368"/>
                <a:gd name="connsiteY684" fmla="*/ 6000829 h 6479439"/>
                <a:gd name="connsiteX685" fmla="*/ 1439886 w 9586368"/>
                <a:gd name="connsiteY685" fmla="*/ 6000829 h 6479439"/>
                <a:gd name="connsiteX686" fmla="*/ 1435866 w 9586368"/>
                <a:gd name="connsiteY686" fmla="*/ 5996790 h 6479439"/>
                <a:gd name="connsiteX687" fmla="*/ 1435866 w 9586368"/>
                <a:gd name="connsiteY687" fmla="*/ 5986919 h 6479439"/>
                <a:gd name="connsiteX688" fmla="*/ 1200571 w 9586368"/>
                <a:gd name="connsiteY688" fmla="*/ 5982881 h 6479439"/>
                <a:gd name="connsiteX689" fmla="*/ 1210481 w 9586368"/>
                <a:gd name="connsiteY689" fmla="*/ 5982881 h 6479439"/>
                <a:gd name="connsiteX690" fmla="*/ 1214500 w 9586368"/>
                <a:gd name="connsiteY690" fmla="*/ 5986919 h 6479439"/>
                <a:gd name="connsiteX691" fmla="*/ 1214500 w 9586368"/>
                <a:gd name="connsiteY691" fmla="*/ 5996790 h 6479439"/>
                <a:gd name="connsiteX692" fmla="*/ 1210481 w 9586368"/>
                <a:gd name="connsiteY692" fmla="*/ 6000829 h 6479439"/>
                <a:gd name="connsiteX693" fmla="*/ 1200571 w 9586368"/>
                <a:gd name="connsiteY693" fmla="*/ 6000829 h 6479439"/>
                <a:gd name="connsiteX694" fmla="*/ 1196553 w 9586368"/>
                <a:gd name="connsiteY694" fmla="*/ 5996790 h 6479439"/>
                <a:gd name="connsiteX695" fmla="*/ 1196553 w 9586368"/>
                <a:gd name="connsiteY695" fmla="*/ 5986919 h 6479439"/>
                <a:gd name="connsiteX696" fmla="*/ 961258 w 9586368"/>
                <a:gd name="connsiteY696" fmla="*/ 5982881 h 6479439"/>
                <a:gd name="connsiteX697" fmla="*/ 971168 w 9586368"/>
                <a:gd name="connsiteY697" fmla="*/ 5982881 h 6479439"/>
                <a:gd name="connsiteX698" fmla="*/ 975187 w 9586368"/>
                <a:gd name="connsiteY698" fmla="*/ 5986919 h 6479439"/>
                <a:gd name="connsiteX699" fmla="*/ 975187 w 9586368"/>
                <a:gd name="connsiteY699" fmla="*/ 5996790 h 6479439"/>
                <a:gd name="connsiteX700" fmla="*/ 971168 w 9586368"/>
                <a:gd name="connsiteY700" fmla="*/ 6000829 h 6479439"/>
                <a:gd name="connsiteX701" fmla="*/ 961258 w 9586368"/>
                <a:gd name="connsiteY701" fmla="*/ 6000829 h 6479439"/>
                <a:gd name="connsiteX702" fmla="*/ 957239 w 9586368"/>
                <a:gd name="connsiteY702" fmla="*/ 5996790 h 6479439"/>
                <a:gd name="connsiteX703" fmla="*/ 957239 w 9586368"/>
                <a:gd name="connsiteY703" fmla="*/ 5986919 h 6479439"/>
                <a:gd name="connsiteX704" fmla="*/ 9572438 w 9586368"/>
                <a:gd name="connsiteY704" fmla="*/ 5982829 h 6479439"/>
                <a:gd name="connsiteX705" fmla="*/ 9582349 w 9586368"/>
                <a:gd name="connsiteY705" fmla="*/ 5982829 h 6479439"/>
                <a:gd name="connsiteX706" fmla="*/ 9586368 w 9586368"/>
                <a:gd name="connsiteY706" fmla="*/ 5986868 h 6479439"/>
                <a:gd name="connsiteX707" fmla="*/ 9586368 w 9586368"/>
                <a:gd name="connsiteY707" fmla="*/ 5996739 h 6479439"/>
                <a:gd name="connsiteX708" fmla="*/ 9582349 w 9586368"/>
                <a:gd name="connsiteY708" fmla="*/ 6000778 h 6479439"/>
                <a:gd name="connsiteX709" fmla="*/ 9572438 w 9586368"/>
                <a:gd name="connsiteY709" fmla="*/ 6000778 h 6479439"/>
                <a:gd name="connsiteX710" fmla="*/ 9568419 w 9586368"/>
                <a:gd name="connsiteY710" fmla="*/ 5996739 h 6479439"/>
                <a:gd name="connsiteX711" fmla="*/ 9568419 w 9586368"/>
                <a:gd name="connsiteY711" fmla="*/ 5986868 h 6479439"/>
                <a:gd name="connsiteX712" fmla="*/ 9333125 w 9586368"/>
                <a:gd name="connsiteY712" fmla="*/ 5982829 h 6479439"/>
                <a:gd name="connsiteX713" fmla="*/ 9343036 w 9586368"/>
                <a:gd name="connsiteY713" fmla="*/ 5982829 h 6479439"/>
                <a:gd name="connsiteX714" fmla="*/ 9347055 w 9586368"/>
                <a:gd name="connsiteY714" fmla="*/ 5986868 h 6479439"/>
                <a:gd name="connsiteX715" fmla="*/ 9347055 w 9586368"/>
                <a:gd name="connsiteY715" fmla="*/ 5996739 h 6479439"/>
                <a:gd name="connsiteX716" fmla="*/ 9343036 w 9586368"/>
                <a:gd name="connsiteY716" fmla="*/ 6000778 h 6479439"/>
                <a:gd name="connsiteX717" fmla="*/ 9333125 w 9586368"/>
                <a:gd name="connsiteY717" fmla="*/ 6000778 h 6479439"/>
                <a:gd name="connsiteX718" fmla="*/ 9329106 w 9586368"/>
                <a:gd name="connsiteY718" fmla="*/ 5996739 h 6479439"/>
                <a:gd name="connsiteX719" fmla="*/ 9329106 w 9586368"/>
                <a:gd name="connsiteY719" fmla="*/ 5986868 h 6479439"/>
                <a:gd name="connsiteX720" fmla="*/ 9093811 w 9586368"/>
                <a:gd name="connsiteY720" fmla="*/ 5982829 h 6479439"/>
                <a:gd name="connsiteX721" fmla="*/ 9103722 w 9586368"/>
                <a:gd name="connsiteY721" fmla="*/ 5982829 h 6479439"/>
                <a:gd name="connsiteX722" fmla="*/ 9107741 w 9586368"/>
                <a:gd name="connsiteY722" fmla="*/ 5986868 h 6479439"/>
                <a:gd name="connsiteX723" fmla="*/ 9107741 w 9586368"/>
                <a:gd name="connsiteY723" fmla="*/ 5996739 h 6479439"/>
                <a:gd name="connsiteX724" fmla="*/ 9103722 w 9586368"/>
                <a:gd name="connsiteY724" fmla="*/ 6000778 h 6479439"/>
                <a:gd name="connsiteX725" fmla="*/ 9093811 w 9586368"/>
                <a:gd name="connsiteY725" fmla="*/ 6000778 h 6479439"/>
                <a:gd name="connsiteX726" fmla="*/ 9089792 w 9586368"/>
                <a:gd name="connsiteY726" fmla="*/ 5996739 h 6479439"/>
                <a:gd name="connsiteX727" fmla="*/ 9089792 w 9586368"/>
                <a:gd name="connsiteY727" fmla="*/ 5986868 h 6479439"/>
                <a:gd name="connsiteX728" fmla="*/ 8854496 w 9586368"/>
                <a:gd name="connsiteY728" fmla="*/ 5982829 h 6479439"/>
                <a:gd name="connsiteX729" fmla="*/ 8864407 w 9586368"/>
                <a:gd name="connsiteY729" fmla="*/ 5982829 h 6479439"/>
                <a:gd name="connsiteX730" fmla="*/ 8868426 w 9586368"/>
                <a:gd name="connsiteY730" fmla="*/ 5986868 h 6479439"/>
                <a:gd name="connsiteX731" fmla="*/ 8868426 w 9586368"/>
                <a:gd name="connsiteY731" fmla="*/ 5996739 h 6479439"/>
                <a:gd name="connsiteX732" fmla="*/ 8864407 w 9586368"/>
                <a:gd name="connsiteY732" fmla="*/ 6000778 h 6479439"/>
                <a:gd name="connsiteX733" fmla="*/ 8854496 w 9586368"/>
                <a:gd name="connsiteY733" fmla="*/ 6000778 h 6479439"/>
                <a:gd name="connsiteX734" fmla="*/ 8850477 w 9586368"/>
                <a:gd name="connsiteY734" fmla="*/ 5996739 h 6479439"/>
                <a:gd name="connsiteX735" fmla="*/ 8850477 w 9586368"/>
                <a:gd name="connsiteY735" fmla="*/ 5986868 h 6479439"/>
                <a:gd name="connsiteX736" fmla="*/ 8615184 w 9586368"/>
                <a:gd name="connsiteY736" fmla="*/ 5982829 h 6479439"/>
                <a:gd name="connsiteX737" fmla="*/ 8625095 w 9586368"/>
                <a:gd name="connsiteY737" fmla="*/ 5982829 h 6479439"/>
                <a:gd name="connsiteX738" fmla="*/ 8629114 w 9586368"/>
                <a:gd name="connsiteY738" fmla="*/ 5986868 h 6479439"/>
                <a:gd name="connsiteX739" fmla="*/ 8629114 w 9586368"/>
                <a:gd name="connsiteY739" fmla="*/ 5996739 h 6479439"/>
                <a:gd name="connsiteX740" fmla="*/ 8625095 w 9586368"/>
                <a:gd name="connsiteY740" fmla="*/ 6000778 h 6479439"/>
                <a:gd name="connsiteX741" fmla="*/ 8615184 w 9586368"/>
                <a:gd name="connsiteY741" fmla="*/ 6000778 h 6479439"/>
                <a:gd name="connsiteX742" fmla="*/ 8611165 w 9586368"/>
                <a:gd name="connsiteY742" fmla="*/ 5996739 h 6479439"/>
                <a:gd name="connsiteX743" fmla="*/ 8611165 w 9586368"/>
                <a:gd name="connsiteY743" fmla="*/ 5986868 h 6479439"/>
                <a:gd name="connsiteX744" fmla="*/ 8375869 w 9586368"/>
                <a:gd name="connsiteY744" fmla="*/ 5982829 h 6479439"/>
                <a:gd name="connsiteX745" fmla="*/ 8385779 w 9586368"/>
                <a:gd name="connsiteY745" fmla="*/ 5982829 h 6479439"/>
                <a:gd name="connsiteX746" fmla="*/ 8389799 w 9586368"/>
                <a:gd name="connsiteY746" fmla="*/ 5986868 h 6479439"/>
                <a:gd name="connsiteX747" fmla="*/ 8389799 w 9586368"/>
                <a:gd name="connsiteY747" fmla="*/ 5996739 h 6479439"/>
                <a:gd name="connsiteX748" fmla="*/ 8385779 w 9586368"/>
                <a:gd name="connsiteY748" fmla="*/ 6000778 h 6479439"/>
                <a:gd name="connsiteX749" fmla="*/ 8375869 w 9586368"/>
                <a:gd name="connsiteY749" fmla="*/ 6000778 h 6479439"/>
                <a:gd name="connsiteX750" fmla="*/ 8371850 w 9586368"/>
                <a:gd name="connsiteY750" fmla="*/ 5996739 h 6479439"/>
                <a:gd name="connsiteX751" fmla="*/ 8371850 w 9586368"/>
                <a:gd name="connsiteY751" fmla="*/ 5986868 h 6479439"/>
                <a:gd name="connsiteX752" fmla="*/ 8136553 w 9586368"/>
                <a:gd name="connsiteY752" fmla="*/ 5982829 h 6479439"/>
                <a:gd name="connsiteX753" fmla="*/ 8146464 w 9586368"/>
                <a:gd name="connsiteY753" fmla="*/ 5982829 h 6479439"/>
                <a:gd name="connsiteX754" fmla="*/ 8150483 w 9586368"/>
                <a:gd name="connsiteY754" fmla="*/ 5986868 h 6479439"/>
                <a:gd name="connsiteX755" fmla="*/ 8150483 w 9586368"/>
                <a:gd name="connsiteY755" fmla="*/ 5996739 h 6479439"/>
                <a:gd name="connsiteX756" fmla="*/ 8146464 w 9586368"/>
                <a:gd name="connsiteY756" fmla="*/ 6000778 h 6479439"/>
                <a:gd name="connsiteX757" fmla="*/ 8136553 w 9586368"/>
                <a:gd name="connsiteY757" fmla="*/ 6000778 h 6479439"/>
                <a:gd name="connsiteX758" fmla="*/ 8132534 w 9586368"/>
                <a:gd name="connsiteY758" fmla="*/ 5996739 h 6479439"/>
                <a:gd name="connsiteX759" fmla="*/ 8132534 w 9586368"/>
                <a:gd name="connsiteY759" fmla="*/ 5986868 h 6479439"/>
                <a:gd name="connsiteX760" fmla="*/ 7897241 w 9586368"/>
                <a:gd name="connsiteY760" fmla="*/ 5982829 h 6479439"/>
                <a:gd name="connsiteX761" fmla="*/ 7907151 w 9586368"/>
                <a:gd name="connsiteY761" fmla="*/ 5982829 h 6479439"/>
                <a:gd name="connsiteX762" fmla="*/ 7911170 w 9586368"/>
                <a:gd name="connsiteY762" fmla="*/ 5986868 h 6479439"/>
                <a:gd name="connsiteX763" fmla="*/ 7911170 w 9586368"/>
                <a:gd name="connsiteY763" fmla="*/ 5996739 h 6479439"/>
                <a:gd name="connsiteX764" fmla="*/ 7907151 w 9586368"/>
                <a:gd name="connsiteY764" fmla="*/ 6000778 h 6479439"/>
                <a:gd name="connsiteX765" fmla="*/ 7897241 w 9586368"/>
                <a:gd name="connsiteY765" fmla="*/ 6000778 h 6479439"/>
                <a:gd name="connsiteX766" fmla="*/ 7893222 w 9586368"/>
                <a:gd name="connsiteY766" fmla="*/ 5996739 h 6479439"/>
                <a:gd name="connsiteX767" fmla="*/ 7893222 w 9586368"/>
                <a:gd name="connsiteY767" fmla="*/ 5986868 h 6479439"/>
                <a:gd name="connsiteX768" fmla="*/ 7657926 w 9586368"/>
                <a:gd name="connsiteY768" fmla="*/ 5982829 h 6479439"/>
                <a:gd name="connsiteX769" fmla="*/ 7667836 w 9586368"/>
                <a:gd name="connsiteY769" fmla="*/ 5982829 h 6479439"/>
                <a:gd name="connsiteX770" fmla="*/ 7671855 w 9586368"/>
                <a:gd name="connsiteY770" fmla="*/ 5986868 h 6479439"/>
                <a:gd name="connsiteX771" fmla="*/ 7671855 w 9586368"/>
                <a:gd name="connsiteY771" fmla="*/ 5996739 h 6479439"/>
                <a:gd name="connsiteX772" fmla="*/ 7667836 w 9586368"/>
                <a:gd name="connsiteY772" fmla="*/ 6000778 h 6479439"/>
                <a:gd name="connsiteX773" fmla="*/ 7657926 w 9586368"/>
                <a:gd name="connsiteY773" fmla="*/ 6000778 h 6479439"/>
                <a:gd name="connsiteX774" fmla="*/ 7653906 w 9586368"/>
                <a:gd name="connsiteY774" fmla="*/ 5996739 h 6479439"/>
                <a:gd name="connsiteX775" fmla="*/ 7653906 w 9586368"/>
                <a:gd name="connsiteY775" fmla="*/ 5986868 h 6479439"/>
                <a:gd name="connsiteX776" fmla="*/ 7418611 w 9586368"/>
                <a:gd name="connsiteY776" fmla="*/ 5982829 h 6479439"/>
                <a:gd name="connsiteX777" fmla="*/ 7428521 w 9586368"/>
                <a:gd name="connsiteY777" fmla="*/ 5982829 h 6479439"/>
                <a:gd name="connsiteX778" fmla="*/ 7432540 w 9586368"/>
                <a:gd name="connsiteY778" fmla="*/ 5986868 h 6479439"/>
                <a:gd name="connsiteX779" fmla="*/ 7432540 w 9586368"/>
                <a:gd name="connsiteY779" fmla="*/ 5996739 h 6479439"/>
                <a:gd name="connsiteX780" fmla="*/ 7428521 w 9586368"/>
                <a:gd name="connsiteY780" fmla="*/ 6000778 h 6479439"/>
                <a:gd name="connsiteX781" fmla="*/ 7418611 w 9586368"/>
                <a:gd name="connsiteY781" fmla="*/ 6000778 h 6479439"/>
                <a:gd name="connsiteX782" fmla="*/ 7414592 w 9586368"/>
                <a:gd name="connsiteY782" fmla="*/ 5996739 h 6479439"/>
                <a:gd name="connsiteX783" fmla="*/ 7414592 w 9586368"/>
                <a:gd name="connsiteY783" fmla="*/ 5986868 h 6479439"/>
                <a:gd name="connsiteX784" fmla="*/ 7179298 w 9586368"/>
                <a:gd name="connsiteY784" fmla="*/ 5982829 h 6479439"/>
                <a:gd name="connsiteX785" fmla="*/ 7189209 w 9586368"/>
                <a:gd name="connsiteY785" fmla="*/ 5982829 h 6479439"/>
                <a:gd name="connsiteX786" fmla="*/ 7193228 w 9586368"/>
                <a:gd name="connsiteY786" fmla="*/ 5986868 h 6479439"/>
                <a:gd name="connsiteX787" fmla="*/ 7193228 w 9586368"/>
                <a:gd name="connsiteY787" fmla="*/ 5996739 h 6479439"/>
                <a:gd name="connsiteX788" fmla="*/ 7189209 w 9586368"/>
                <a:gd name="connsiteY788" fmla="*/ 6000778 h 6479439"/>
                <a:gd name="connsiteX789" fmla="*/ 7179298 w 9586368"/>
                <a:gd name="connsiteY789" fmla="*/ 6000778 h 6479439"/>
                <a:gd name="connsiteX790" fmla="*/ 7175279 w 9586368"/>
                <a:gd name="connsiteY790" fmla="*/ 5996739 h 6479439"/>
                <a:gd name="connsiteX791" fmla="*/ 7175279 w 9586368"/>
                <a:gd name="connsiteY791" fmla="*/ 5986868 h 6479439"/>
                <a:gd name="connsiteX792" fmla="*/ 6939983 w 9586368"/>
                <a:gd name="connsiteY792" fmla="*/ 5982829 h 6479439"/>
                <a:gd name="connsiteX793" fmla="*/ 6949894 w 9586368"/>
                <a:gd name="connsiteY793" fmla="*/ 5982829 h 6479439"/>
                <a:gd name="connsiteX794" fmla="*/ 6953913 w 9586368"/>
                <a:gd name="connsiteY794" fmla="*/ 5986868 h 6479439"/>
                <a:gd name="connsiteX795" fmla="*/ 6953913 w 9586368"/>
                <a:gd name="connsiteY795" fmla="*/ 5996739 h 6479439"/>
                <a:gd name="connsiteX796" fmla="*/ 6949894 w 9586368"/>
                <a:gd name="connsiteY796" fmla="*/ 6000778 h 6479439"/>
                <a:gd name="connsiteX797" fmla="*/ 6939983 w 9586368"/>
                <a:gd name="connsiteY797" fmla="*/ 6000778 h 6479439"/>
                <a:gd name="connsiteX798" fmla="*/ 6935964 w 9586368"/>
                <a:gd name="connsiteY798" fmla="*/ 5996739 h 6479439"/>
                <a:gd name="connsiteX799" fmla="*/ 6935964 w 9586368"/>
                <a:gd name="connsiteY799" fmla="*/ 5986868 h 6479439"/>
                <a:gd name="connsiteX800" fmla="*/ 6700670 w 9586368"/>
                <a:gd name="connsiteY800" fmla="*/ 5982829 h 6479439"/>
                <a:gd name="connsiteX801" fmla="*/ 6710581 w 9586368"/>
                <a:gd name="connsiteY801" fmla="*/ 5982829 h 6479439"/>
                <a:gd name="connsiteX802" fmla="*/ 6714600 w 9586368"/>
                <a:gd name="connsiteY802" fmla="*/ 5986868 h 6479439"/>
                <a:gd name="connsiteX803" fmla="*/ 6714600 w 9586368"/>
                <a:gd name="connsiteY803" fmla="*/ 5996739 h 6479439"/>
                <a:gd name="connsiteX804" fmla="*/ 6710581 w 9586368"/>
                <a:gd name="connsiteY804" fmla="*/ 6000778 h 6479439"/>
                <a:gd name="connsiteX805" fmla="*/ 6700670 w 9586368"/>
                <a:gd name="connsiteY805" fmla="*/ 6000778 h 6479439"/>
                <a:gd name="connsiteX806" fmla="*/ 6696651 w 9586368"/>
                <a:gd name="connsiteY806" fmla="*/ 5996739 h 6479439"/>
                <a:gd name="connsiteX807" fmla="*/ 6696651 w 9586368"/>
                <a:gd name="connsiteY807" fmla="*/ 5986868 h 6479439"/>
                <a:gd name="connsiteX808" fmla="*/ 6461356 w 9586368"/>
                <a:gd name="connsiteY808" fmla="*/ 5982829 h 6479439"/>
                <a:gd name="connsiteX809" fmla="*/ 6471266 w 9586368"/>
                <a:gd name="connsiteY809" fmla="*/ 5982829 h 6479439"/>
                <a:gd name="connsiteX810" fmla="*/ 6475285 w 9586368"/>
                <a:gd name="connsiteY810" fmla="*/ 5986868 h 6479439"/>
                <a:gd name="connsiteX811" fmla="*/ 6475285 w 9586368"/>
                <a:gd name="connsiteY811" fmla="*/ 5996739 h 6479439"/>
                <a:gd name="connsiteX812" fmla="*/ 6471266 w 9586368"/>
                <a:gd name="connsiteY812" fmla="*/ 6000778 h 6479439"/>
                <a:gd name="connsiteX813" fmla="*/ 6461356 w 9586368"/>
                <a:gd name="connsiteY813" fmla="*/ 6000778 h 6479439"/>
                <a:gd name="connsiteX814" fmla="*/ 6457337 w 9586368"/>
                <a:gd name="connsiteY814" fmla="*/ 5996739 h 6479439"/>
                <a:gd name="connsiteX815" fmla="*/ 6457337 w 9586368"/>
                <a:gd name="connsiteY815" fmla="*/ 5986868 h 6479439"/>
                <a:gd name="connsiteX816" fmla="*/ 6222042 w 9586368"/>
                <a:gd name="connsiteY816" fmla="*/ 5982829 h 6479439"/>
                <a:gd name="connsiteX817" fmla="*/ 6231952 w 9586368"/>
                <a:gd name="connsiteY817" fmla="*/ 5982829 h 6479439"/>
                <a:gd name="connsiteX818" fmla="*/ 6235971 w 9586368"/>
                <a:gd name="connsiteY818" fmla="*/ 5986868 h 6479439"/>
                <a:gd name="connsiteX819" fmla="*/ 6235971 w 9586368"/>
                <a:gd name="connsiteY819" fmla="*/ 5996739 h 6479439"/>
                <a:gd name="connsiteX820" fmla="*/ 6231952 w 9586368"/>
                <a:gd name="connsiteY820" fmla="*/ 6000778 h 6479439"/>
                <a:gd name="connsiteX821" fmla="*/ 6222042 w 9586368"/>
                <a:gd name="connsiteY821" fmla="*/ 6000778 h 6479439"/>
                <a:gd name="connsiteX822" fmla="*/ 6218023 w 9586368"/>
                <a:gd name="connsiteY822" fmla="*/ 5996739 h 6479439"/>
                <a:gd name="connsiteX823" fmla="*/ 6218023 w 9586368"/>
                <a:gd name="connsiteY823" fmla="*/ 5986868 h 6479439"/>
                <a:gd name="connsiteX824" fmla="*/ 5982729 w 9586368"/>
                <a:gd name="connsiteY824" fmla="*/ 5982829 h 6479439"/>
                <a:gd name="connsiteX825" fmla="*/ 5992639 w 9586368"/>
                <a:gd name="connsiteY825" fmla="*/ 5982829 h 6479439"/>
                <a:gd name="connsiteX826" fmla="*/ 5996658 w 9586368"/>
                <a:gd name="connsiteY826" fmla="*/ 5986868 h 6479439"/>
                <a:gd name="connsiteX827" fmla="*/ 5996658 w 9586368"/>
                <a:gd name="connsiteY827" fmla="*/ 5996739 h 6479439"/>
                <a:gd name="connsiteX828" fmla="*/ 5992639 w 9586368"/>
                <a:gd name="connsiteY828" fmla="*/ 6000778 h 6479439"/>
                <a:gd name="connsiteX829" fmla="*/ 5982729 w 9586368"/>
                <a:gd name="connsiteY829" fmla="*/ 6000778 h 6479439"/>
                <a:gd name="connsiteX830" fmla="*/ 5978710 w 9586368"/>
                <a:gd name="connsiteY830" fmla="*/ 5996739 h 6479439"/>
                <a:gd name="connsiteX831" fmla="*/ 5978710 w 9586368"/>
                <a:gd name="connsiteY831" fmla="*/ 5986868 h 6479439"/>
                <a:gd name="connsiteX832" fmla="*/ 5743412 w 9586368"/>
                <a:gd name="connsiteY832" fmla="*/ 5982829 h 6479439"/>
                <a:gd name="connsiteX833" fmla="*/ 5753323 w 9586368"/>
                <a:gd name="connsiteY833" fmla="*/ 5982829 h 6479439"/>
                <a:gd name="connsiteX834" fmla="*/ 5757342 w 9586368"/>
                <a:gd name="connsiteY834" fmla="*/ 5986868 h 6479439"/>
                <a:gd name="connsiteX835" fmla="*/ 5757342 w 9586368"/>
                <a:gd name="connsiteY835" fmla="*/ 5996739 h 6479439"/>
                <a:gd name="connsiteX836" fmla="*/ 5753323 w 9586368"/>
                <a:gd name="connsiteY836" fmla="*/ 6000778 h 6479439"/>
                <a:gd name="connsiteX837" fmla="*/ 5743412 w 9586368"/>
                <a:gd name="connsiteY837" fmla="*/ 6000778 h 6479439"/>
                <a:gd name="connsiteX838" fmla="*/ 5739393 w 9586368"/>
                <a:gd name="connsiteY838" fmla="*/ 5996739 h 6479439"/>
                <a:gd name="connsiteX839" fmla="*/ 5739393 w 9586368"/>
                <a:gd name="connsiteY839" fmla="*/ 5986868 h 6479439"/>
                <a:gd name="connsiteX840" fmla="*/ 5504099 w 9586368"/>
                <a:gd name="connsiteY840" fmla="*/ 5982829 h 6479439"/>
                <a:gd name="connsiteX841" fmla="*/ 5514010 w 9586368"/>
                <a:gd name="connsiteY841" fmla="*/ 5982829 h 6479439"/>
                <a:gd name="connsiteX842" fmla="*/ 5518029 w 9586368"/>
                <a:gd name="connsiteY842" fmla="*/ 5986868 h 6479439"/>
                <a:gd name="connsiteX843" fmla="*/ 5518029 w 9586368"/>
                <a:gd name="connsiteY843" fmla="*/ 5996739 h 6479439"/>
                <a:gd name="connsiteX844" fmla="*/ 5514010 w 9586368"/>
                <a:gd name="connsiteY844" fmla="*/ 6000778 h 6479439"/>
                <a:gd name="connsiteX845" fmla="*/ 5504099 w 9586368"/>
                <a:gd name="connsiteY845" fmla="*/ 6000778 h 6479439"/>
                <a:gd name="connsiteX846" fmla="*/ 5500080 w 9586368"/>
                <a:gd name="connsiteY846" fmla="*/ 5996739 h 6479439"/>
                <a:gd name="connsiteX847" fmla="*/ 5500080 w 9586368"/>
                <a:gd name="connsiteY847" fmla="*/ 5986868 h 6479439"/>
                <a:gd name="connsiteX848" fmla="*/ 5264784 w 9586368"/>
                <a:gd name="connsiteY848" fmla="*/ 5982829 h 6479439"/>
                <a:gd name="connsiteX849" fmla="*/ 5274694 w 9586368"/>
                <a:gd name="connsiteY849" fmla="*/ 5982829 h 6479439"/>
                <a:gd name="connsiteX850" fmla="*/ 5278713 w 9586368"/>
                <a:gd name="connsiteY850" fmla="*/ 5986868 h 6479439"/>
                <a:gd name="connsiteX851" fmla="*/ 5278713 w 9586368"/>
                <a:gd name="connsiteY851" fmla="*/ 5996739 h 6479439"/>
                <a:gd name="connsiteX852" fmla="*/ 5274694 w 9586368"/>
                <a:gd name="connsiteY852" fmla="*/ 6000778 h 6479439"/>
                <a:gd name="connsiteX853" fmla="*/ 5264784 w 9586368"/>
                <a:gd name="connsiteY853" fmla="*/ 6000778 h 6479439"/>
                <a:gd name="connsiteX854" fmla="*/ 5260765 w 9586368"/>
                <a:gd name="connsiteY854" fmla="*/ 5996739 h 6479439"/>
                <a:gd name="connsiteX855" fmla="*/ 5260765 w 9586368"/>
                <a:gd name="connsiteY855" fmla="*/ 5986868 h 6479439"/>
                <a:gd name="connsiteX856" fmla="*/ 5025470 w 9586368"/>
                <a:gd name="connsiteY856" fmla="*/ 5982829 h 6479439"/>
                <a:gd name="connsiteX857" fmla="*/ 5035381 w 9586368"/>
                <a:gd name="connsiteY857" fmla="*/ 5982829 h 6479439"/>
                <a:gd name="connsiteX858" fmla="*/ 5039400 w 9586368"/>
                <a:gd name="connsiteY858" fmla="*/ 5986868 h 6479439"/>
                <a:gd name="connsiteX859" fmla="*/ 5039400 w 9586368"/>
                <a:gd name="connsiteY859" fmla="*/ 5996739 h 6479439"/>
                <a:gd name="connsiteX860" fmla="*/ 5035381 w 9586368"/>
                <a:gd name="connsiteY860" fmla="*/ 6000778 h 6479439"/>
                <a:gd name="connsiteX861" fmla="*/ 5025470 w 9586368"/>
                <a:gd name="connsiteY861" fmla="*/ 6000778 h 6479439"/>
                <a:gd name="connsiteX862" fmla="*/ 5021451 w 9586368"/>
                <a:gd name="connsiteY862" fmla="*/ 5996739 h 6479439"/>
                <a:gd name="connsiteX863" fmla="*/ 5021451 w 9586368"/>
                <a:gd name="connsiteY863" fmla="*/ 5986868 h 6479439"/>
                <a:gd name="connsiteX864" fmla="*/ 4786241 w 9586368"/>
                <a:gd name="connsiteY864" fmla="*/ 5982829 h 6479439"/>
                <a:gd name="connsiteX865" fmla="*/ 4796152 w 9586368"/>
                <a:gd name="connsiteY865" fmla="*/ 5982829 h 6479439"/>
                <a:gd name="connsiteX866" fmla="*/ 4800171 w 9586368"/>
                <a:gd name="connsiteY866" fmla="*/ 5986868 h 6479439"/>
                <a:gd name="connsiteX867" fmla="*/ 4800171 w 9586368"/>
                <a:gd name="connsiteY867" fmla="*/ 5996739 h 6479439"/>
                <a:gd name="connsiteX868" fmla="*/ 4796152 w 9586368"/>
                <a:gd name="connsiteY868" fmla="*/ 6000778 h 6479439"/>
                <a:gd name="connsiteX869" fmla="*/ 4786241 w 9586368"/>
                <a:gd name="connsiteY869" fmla="*/ 6000778 h 6479439"/>
                <a:gd name="connsiteX870" fmla="*/ 4782224 w 9586368"/>
                <a:gd name="connsiteY870" fmla="*/ 5996739 h 6479439"/>
                <a:gd name="connsiteX871" fmla="*/ 4782224 w 9586368"/>
                <a:gd name="connsiteY871" fmla="*/ 5986868 h 6479439"/>
                <a:gd name="connsiteX872" fmla="*/ 4546929 w 9586368"/>
                <a:gd name="connsiteY872" fmla="*/ 5982829 h 6479439"/>
                <a:gd name="connsiteX873" fmla="*/ 4556840 w 9586368"/>
                <a:gd name="connsiteY873" fmla="*/ 5982829 h 6479439"/>
                <a:gd name="connsiteX874" fmla="*/ 4560859 w 9586368"/>
                <a:gd name="connsiteY874" fmla="*/ 5986868 h 6479439"/>
                <a:gd name="connsiteX875" fmla="*/ 4560859 w 9586368"/>
                <a:gd name="connsiteY875" fmla="*/ 5996739 h 6479439"/>
                <a:gd name="connsiteX876" fmla="*/ 4556840 w 9586368"/>
                <a:gd name="connsiteY876" fmla="*/ 6000778 h 6479439"/>
                <a:gd name="connsiteX877" fmla="*/ 4546929 w 9586368"/>
                <a:gd name="connsiteY877" fmla="*/ 6000778 h 6479439"/>
                <a:gd name="connsiteX878" fmla="*/ 4542910 w 9586368"/>
                <a:gd name="connsiteY878" fmla="*/ 5996739 h 6479439"/>
                <a:gd name="connsiteX879" fmla="*/ 4542910 w 9586368"/>
                <a:gd name="connsiteY879" fmla="*/ 5986868 h 6479439"/>
                <a:gd name="connsiteX880" fmla="*/ 4307612 w 9586368"/>
                <a:gd name="connsiteY880" fmla="*/ 5982829 h 6479439"/>
                <a:gd name="connsiteX881" fmla="*/ 4317523 w 9586368"/>
                <a:gd name="connsiteY881" fmla="*/ 5982829 h 6479439"/>
                <a:gd name="connsiteX882" fmla="*/ 4321543 w 9586368"/>
                <a:gd name="connsiteY882" fmla="*/ 5986868 h 6479439"/>
                <a:gd name="connsiteX883" fmla="*/ 4321543 w 9586368"/>
                <a:gd name="connsiteY883" fmla="*/ 5996739 h 6479439"/>
                <a:gd name="connsiteX884" fmla="*/ 4317523 w 9586368"/>
                <a:gd name="connsiteY884" fmla="*/ 6000778 h 6479439"/>
                <a:gd name="connsiteX885" fmla="*/ 4307612 w 9586368"/>
                <a:gd name="connsiteY885" fmla="*/ 6000778 h 6479439"/>
                <a:gd name="connsiteX886" fmla="*/ 4303595 w 9586368"/>
                <a:gd name="connsiteY886" fmla="*/ 5996739 h 6479439"/>
                <a:gd name="connsiteX887" fmla="*/ 4303595 w 9586368"/>
                <a:gd name="connsiteY887" fmla="*/ 5986868 h 6479439"/>
                <a:gd name="connsiteX888" fmla="*/ 4068297 w 9586368"/>
                <a:gd name="connsiteY888" fmla="*/ 5982829 h 6479439"/>
                <a:gd name="connsiteX889" fmla="*/ 4078210 w 9586368"/>
                <a:gd name="connsiteY889" fmla="*/ 5982829 h 6479439"/>
                <a:gd name="connsiteX890" fmla="*/ 4082229 w 9586368"/>
                <a:gd name="connsiteY890" fmla="*/ 5986868 h 6479439"/>
                <a:gd name="connsiteX891" fmla="*/ 4082229 w 9586368"/>
                <a:gd name="connsiteY891" fmla="*/ 5996739 h 6479439"/>
                <a:gd name="connsiteX892" fmla="*/ 4078210 w 9586368"/>
                <a:gd name="connsiteY892" fmla="*/ 6000778 h 6479439"/>
                <a:gd name="connsiteX893" fmla="*/ 4068297 w 9586368"/>
                <a:gd name="connsiteY893" fmla="*/ 6000778 h 6479439"/>
                <a:gd name="connsiteX894" fmla="*/ 4064278 w 9586368"/>
                <a:gd name="connsiteY894" fmla="*/ 5996739 h 6479439"/>
                <a:gd name="connsiteX895" fmla="*/ 4064278 w 9586368"/>
                <a:gd name="connsiteY895" fmla="*/ 5986868 h 6479439"/>
                <a:gd name="connsiteX896" fmla="*/ 3828990 w 9586368"/>
                <a:gd name="connsiteY896" fmla="*/ 5982829 h 6479439"/>
                <a:gd name="connsiteX897" fmla="*/ 3838899 w 9586368"/>
                <a:gd name="connsiteY897" fmla="*/ 5982829 h 6479439"/>
                <a:gd name="connsiteX898" fmla="*/ 3842917 w 9586368"/>
                <a:gd name="connsiteY898" fmla="*/ 5986868 h 6479439"/>
                <a:gd name="connsiteX899" fmla="*/ 3842917 w 9586368"/>
                <a:gd name="connsiteY899" fmla="*/ 5996739 h 6479439"/>
                <a:gd name="connsiteX900" fmla="*/ 3838899 w 9586368"/>
                <a:gd name="connsiteY900" fmla="*/ 6000778 h 6479439"/>
                <a:gd name="connsiteX901" fmla="*/ 3828990 w 9586368"/>
                <a:gd name="connsiteY901" fmla="*/ 6000778 h 6479439"/>
                <a:gd name="connsiteX902" fmla="*/ 3824971 w 9586368"/>
                <a:gd name="connsiteY902" fmla="*/ 5996739 h 6479439"/>
                <a:gd name="connsiteX903" fmla="*/ 3824971 w 9586368"/>
                <a:gd name="connsiteY903" fmla="*/ 5986868 h 6479439"/>
                <a:gd name="connsiteX904" fmla="*/ 3589676 w 9586368"/>
                <a:gd name="connsiteY904" fmla="*/ 5982829 h 6479439"/>
                <a:gd name="connsiteX905" fmla="*/ 3599585 w 9586368"/>
                <a:gd name="connsiteY905" fmla="*/ 5982829 h 6479439"/>
                <a:gd name="connsiteX906" fmla="*/ 3603604 w 9586368"/>
                <a:gd name="connsiteY906" fmla="*/ 5986868 h 6479439"/>
                <a:gd name="connsiteX907" fmla="*/ 3603604 w 9586368"/>
                <a:gd name="connsiteY907" fmla="*/ 5996739 h 6479439"/>
                <a:gd name="connsiteX908" fmla="*/ 3599585 w 9586368"/>
                <a:gd name="connsiteY908" fmla="*/ 6000778 h 6479439"/>
                <a:gd name="connsiteX909" fmla="*/ 3589676 w 9586368"/>
                <a:gd name="connsiteY909" fmla="*/ 6000778 h 6479439"/>
                <a:gd name="connsiteX910" fmla="*/ 3585657 w 9586368"/>
                <a:gd name="connsiteY910" fmla="*/ 5996739 h 6479439"/>
                <a:gd name="connsiteX911" fmla="*/ 3585657 w 9586368"/>
                <a:gd name="connsiteY911" fmla="*/ 5986868 h 6479439"/>
                <a:gd name="connsiteX912" fmla="*/ 3350359 w 9586368"/>
                <a:gd name="connsiteY912" fmla="*/ 5982829 h 6479439"/>
                <a:gd name="connsiteX913" fmla="*/ 3360268 w 9586368"/>
                <a:gd name="connsiteY913" fmla="*/ 5982829 h 6479439"/>
                <a:gd name="connsiteX914" fmla="*/ 3364287 w 9586368"/>
                <a:gd name="connsiteY914" fmla="*/ 5986868 h 6479439"/>
                <a:gd name="connsiteX915" fmla="*/ 3364287 w 9586368"/>
                <a:gd name="connsiteY915" fmla="*/ 5996739 h 6479439"/>
                <a:gd name="connsiteX916" fmla="*/ 3360268 w 9586368"/>
                <a:gd name="connsiteY916" fmla="*/ 6000778 h 6479439"/>
                <a:gd name="connsiteX917" fmla="*/ 3350359 w 9586368"/>
                <a:gd name="connsiteY917" fmla="*/ 6000778 h 6479439"/>
                <a:gd name="connsiteX918" fmla="*/ 3346340 w 9586368"/>
                <a:gd name="connsiteY918" fmla="*/ 5996739 h 6479439"/>
                <a:gd name="connsiteX919" fmla="*/ 3346340 w 9586368"/>
                <a:gd name="connsiteY919" fmla="*/ 5986868 h 6479439"/>
                <a:gd name="connsiteX920" fmla="*/ 3111048 w 9586368"/>
                <a:gd name="connsiteY920" fmla="*/ 5982829 h 6479439"/>
                <a:gd name="connsiteX921" fmla="*/ 3120959 w 9586368"/>
                <a:gd name="connsiteY921" fmla="*/ 5982829 h 6479439"/>
                <a:gd name="connsiteX922" fmla="*/ 3124977 w 9586368"/>
                <a:gd name="connsiteY922" fmla="*/ 5986868 h 6479439"/>
                <a:gd name="connsiteX923" fmla="*/ 3124977 w 9586368"/>
                <a:gd name="connsiteY923" fmla="*/ 5996739 h 6479439"/>
                <a:gd name="connsiteX924" fmla="*/ 3120959 w 9586368"/>
                <a:gd name="connsiteY924" fmla="*/ 6000778 h 6479439"/>
                <a:gd name="connsiteX925" fmla="*/ 3111048 w 9586368"/>
                <a:gd name="connsiteY925" fmla="*/ 6000778 h 6479439"/>
                <a:gd name="connsiteX926" fmla="*/ 3107029 w 9586368"/>
                <a:gd name="connsiteY926" fmla="*/ 5996739 h 6479439"/>
                <a:gd name="connsiteX927" fmla="*/ 3107029 w 9586368"/>
                <a:gd name="connsiteY927" fmla="*/ 5986868 h 6479439"/>
                <a:gd name="connsiteX928" fmla="*/ 2871737 w 9586368"/>
                <a:gd name="connsiteY928" fmla="*/ 5982829 h 6479439"/>
                <a:gd name="connsiteX929" fmla="*/ 2881646 w 9586368"/>
                <a:gd name="connsiteY929" fmla="*/ 5982829 h 6479439"/>
                <a:gd name="connsiteX930" fmla="*/ 2885666 w 9586368"/>
                <a:gd name="connsiteY930" fmla="*/ 5986868 h 6479439"/>
                <a:gd name="connsiteX931" fmla="*/ 2885666 w 9586368"/>
                <a:gd name="connsiteY931" fmla="*/ 5996739 h 6479439"/>
                <a:gd name="connsiteX932" fmla="*/ 2881646 w 9586368"/>
                <a:gd name="connsiteY932" fmla="*/ 6000778 h 6479439"/>
                <a:gd name="connsiteX933" fmla="*/ 2871737 w 9586368"/>
                <a:gd name="connsiteY933" fmla="*/ 6000778 h 6479439"/>
                <a:gd name="connsiteX934" fmla="*/ 2867717 w 9586368"/>
                <a:gd name="connsiteY934" fmla="*/ 5996739 h 6479439"/>
                <a:gd name="connsiteX935" fmla="*/ 2867717 w 9586368"/>
                <a:gd name="connsiteY935" fmla="*/ 5986868 h 6479439"/>
                <a:gd name="connsiteX936" fmla="*/ 2632423 w 9586368"/>
                <a:gd name="connsiteY936" fmla="*/ 5982829 h 6479439"/>
                <a:gd name="connsiteX937" fmla="*/ 2642334 w 9586368"/>
                <a:gd name="connsiteY937" fmla="*/ 5982829 h 6479439"/>
                <a:gd name="connsiteX938" fmla="*/ 2646352 w 9586368"/>
                <a:gd name="connsiteY938" fmla="*/ 5986868 h 6479439"/>
                <a:gd name="connsiteX939" fmla="*/ 2646352 w 9586368"/>
                <a:gd name="connsiteY939" fmla="*/ 5996739 h 6479439"/>
                <a:gd name="connsiteX940" fmla="*/ 2642334 w 9586368"/>
                <a:gd name="connsiteY940" fmla="*/ 6000778 h 6479439"/>
                <a:gd name="connsiteX941" fmla="*/ 2632423 w 9586368"/>
                <a:gd name="connsiteY941" fmla="*/ 6000778 h 6479439"/>
                <a:gd name="connsiteX942" fmla="*/ 2628404 w 9586368"/>
                <a:gd name="connsiteY942" fmla="*/ 5996739 h 6479439"/>
                <a:gd name="connsiteX943" fmla="*/ 2628404 w 9586368"/>
                <a:gd name="connsiteY943" fmla="*/ 5986868 h 6479439"/>
                <a:gd name="connsiteX944" fmla="*/ 2393104 w 9586368"/>
                <a:gd name="connsiteY944" fmla="*/ 5982829 h 6479439"/>
                <a:gd name="connsiteX945" fmla="*/ 2403015 w 9586368"/>
                <a:gd name="connsiteY945" fmla="*/ 5982829 h 6479439"/>
                <a:gd name="connsiteX946" fmla="*/ 2407034 w 9586368"/>
                <a:gd name="connsiteY946" fmla="*/ 5986868 h 6479439"/>
                <a:gd name="connsiteX947" fmla="*/ 2407034 w 9586368"/>
                <a:gd name="connsiteY947" fmla="*/ 5996739 h 6479439"/>
                <a:gd name="connsiteX948" fmla="*/ 2403015 w 9586368"/>
                <a:gd name="connsiteY948" fmla="*/ 6000778 h 6479439"/>
                <a:gd name="connsiteX949" fmla="*/ 2393104 w 9586368"/>
                <a:gd name="connsiteY949" fmla="*/ 6000778 h 6479439"/>
                <a:gd name="connsiteX950" fmla="*/ 2389087 w 9586368"/>
                <a:gd name="connsiteY950" fmla="*/ 5996739 h 6479439"/>
                <a:gd name="connsiteX951" fmla="*/ 2389087 w 9586368"/>
                <a:gd name="connsiteY951" fmla="*/ 5986868 h 6479439"/>
                <a:gd name="connsiteX952" fmla="*/ 721960 w 9586368"/>
                <a:gd name="connsiteY952" fmla="*/ 5982829 h 6479439"/>
                <a:gd name="connsiteX953" fmla="*/ 731869 w 9586368"/>
                <a:gd name="connsiteY953" fmla="*/ 5982829 h 6479439"/>
                <a:gd name="connsiteX954" fmla="*/ 735888 w 9586368"/>
                <a:gd name="connsiteY954" fmla="*/ 5986868 h 6479439"/>
                <a:gd name="connsiteX955" fmla="*/ 735888 w 9586368"/>
                <a:gd name="connsiteY955" fmla="*/ 5996739 h 6479439"/>
                <a:gd name="connsiteX956" fmla="*/ 731869 w 9586368"/>
                <a:gd name="connsiteY956" fmla="*/ 6000778 h 6479439"/>
                <a:gd name="connsiteX957" fmla="*/ 721960 w 9586368"/>
                <a:gd name="connsiteY957" fmla="*/ 6000778 h 6479439"/>
                <a:gd name="connsiteX958" fmla="*/ 717940 w 9586368"/>
                <a:gd name="connsiteY958" fmla="*/ 5996739 h 6479439"/>
                <a:gd name="connsiteX959" fmla="*/ 717940 w 9586368"/>
                <a:gd name="connsiteY959" fmla="*/ 5986868 h 6479439"/>
                <a:gd name="connsiteX960" fmla="*/ 482647 w 9586368"/>
                <a:gd name="connsiteY960" fmla="*/ 5982829 h 6479439"/>
                <a:gd name="connsiteX961" fmla="*/ 492557 w 9586368"/>
                <a:gd name="connsiteY961" fmla="*/ 5982829 h 6479439"/>
                <a:gd name="connsiteX962" fmla="*/ 496576 w 9586368"/>
                <a:gd name="connsiteY962" fmla="*/ 5986868 h 6479439"/>
                <a:gd name="connsiteX963" fmla="*/ 496576 w 9586368"/>
                <a:gd name="connsiteY963" fmla="*/ 5996739 h 6479439"/>
                <a:gd name="connsiteX964" fmla="*/ 492557 w 9586368"/>
                <a:gd name="connsiteY964" fmla="*/ 6000778 h 6479439"/>
                <a:gd name="connsiteX965" fmla="*/ 482647 w 9586368"/>
                <a:gd name="connsiteY965" fmla="*/ 6000778 h 6479439"/>
                <a:gd name="connsiteX966" fmla="*/ 478628 w 9586368"/>
                <a:gd name="connsiteY966" fmla="*/ 5996739 h 6479439"/>
                <a:gd name="connsiteX967" fmla="*/ 478628 w 9586368"/>
                <a:gd name="connsiteY967" fmla="*/ 5986868 h 6479439"/>
                <a:gd name="connsiteX968" fmla="*/ 243334 w 9586368"/>
                <a:gd name="connsiteY968" fmla="*/ 5982829 h 6479439"/>
                <a:gd name="connsiteX969" fmla="*/ 253244 w 9586368"/>
                <a:gd name="connsiteY969" fmla="*/ 5982829 h 6479439"/>
                <a:gd name="connsiteX970" fmla="*/ 257263 w 9586368"/>
                <a:gd name="connsiteY970" fmla="*/ 5986868 h 6479439"/>
                <a:gd name="connsiteX971" fmla="*/ 257263 w 9586368"/>
                <a:gd name="connsiteY971" fmla="*/ 5996739 h 6479439"/>
                <a:gd name="connsiteX972" fmla="*/ 253244 w 9586368"/>
                <a:gd name="connsiteY972" fmla="*/ 6000778 h 6479439"/>
                <a:gd name="connsiteX973" fmla="*/ 243334 w 9586368"/>
                <a:gd name="connsiteY973" fmla="*/ 6000778 h 6479439"/>
                <a:gd name="connsiteX974" fmla="*/ 239315 w 9586368"/>
                <a:gd name="connsiteY974" fmla="*/ 5996739 h 6479439"/>
                <a:gd name="connsiteX975" fmla="*/ 239315 w 9586368"/>
                <a:gd name="connsiteY975" fmla="*/ 5986868 h 6479439"/>
                <a:gd name="connsiteX976" fmla="*/ 4021 w 9586368"/>
                <a:gd name="connsiteY976" fmla="*/ 5982829 h 6479439"/>
                <a:gd name="connsiteX977" fmla="*/ 13931 w 9586368"/>
                <a:gd name="connsiteY977" fmla="*/ 5982829 h 6479439"/>
                <a:gd name="connsiteX978" fmla="*/ 17950 w 9586368"/>
                <a:gd name="connsiteY978" fmla="*/ 5986868 h 6479439"/>
                <a:gd name="connsiteX979" fmla="*/ 17950 w 9586368"/>
                <a:gd name="connsiteY979" fmla="*/ 5996739 h 6479439"/>
                <a:gd name="connsiteX980" fmla="*/ 13931 w 9586368"/>
                <a:gd name="connsiteY980" fmla="*/ 6000778 h 6479439"/>
                <a:gd name="connsiteX981" fmla="*/ 4021 w 9586368"/>
                <a:gd name="connsiteY981" fmla="*/ 6000778 h 6479439"/>
                <a:gd name="connsiteX982" fmla="*/ 1 w 9586368"/>
                <a:gd name="connsiteY982" fmla="*/ 5996739 h 6479439"/>
                <a:gd name="connsiteX983" fmla="*/ 1 w 9586368"/>
                <a:gd name="connsiteY983" fmla="*/ 5986868 h 6479439"/>
                <a:gd name="connsiteX984" fmla="*/ 2157818 w 9586368"/>
                <a:gd name="connsiteY984" fmla="*/ 5743551 h 6479439"/>
                <a:gd name="connsiteX985" fmla="*/ 2167728 w 9586368"/>
                <a:gd name="connsiteY985" fmla="*/ 5743551 h 6479439"/>
                <a:gd name="connsiteX986" fmla="*/ 2171747 w 9586368"/>
                <a:gd name="connsiteY986" fmla="*/ 5747589 h 6479439"/>
                <a:gd name="connsiteX987" fmla="*/ 2171747 w 9586368"/>
                <a:gd name="connsiteY987" fmla="*/ 5757460 h 6479439"/>
                <a:gd name="connsiteX988" fmla="*/ 2167728 w 9586368"/>
                <a:gd name="connsiteY988" fmla="*/ 5761499 h 6479439"/>
                <a:gd name="connsiteX989" fmla="*/ 2157818 w 9586368"/>
                <a:gd name="connsiteY989" fmla="*/ 5761499 h 6479439"/>
                <a:gd name="connsiteX990" fmla="*/ 2153799 w 9586368"/>
                <a:gd name="connsiteY990" fmla="*/ 5757460 h 6479439"/>
                <a:gd name="connsiteX991" fmla="*/ 2153799 w 9586368"/>
                <a:gd name="connsiteY991" fmla="*/ 5747589 h 6479439"/>
                <a:gd name="connsiteX992" fmla="*/ 1918510 w 9586368"/>
                <a:gd name="connsiteY992" fmla="*/ 5743551 h 6479439"/>
                <a:gd name="connsiteX993" fmla="*/ 1928420 w 9586368"/>
                <a:gd name="connsiteY993" fmla="*/ 5743551 h 6479439"/>
                <a:gd name="connsiteX994" fmla="*/ 1932438 w 9586368"/>
                <a:gd name="connsiteY994" fmla="*/ 5747589 h 6479439"/>
                <a:gd name="connsiteX995" fmla="*/ 1932438 w 9586368"/>
                <a:gd name="connsiteY995" fmla="*/ 5757460 h 6479439"/>
                <a:gd name="connsiteX996" fmla="*/ 1928420 w 9586368"/>
                <a:gd name="connsiteY996" fmla="*/ 5761499 h 6479439"/>
                <a:gd name="connsiteX997" fmla="*/ 1918510 w 9586368"/>
                <a:gd name="connsiteY997" fmla="*/ 5761499 h 6479439"/>
                <a:gd name="connsiteX998" fmla="*/ 1914490 w 9586368"/>
                <a:gd name="connsiteY998" fmla="*/ 5757460 h 6479439"/>
                <a:gd name="connsiteX999" fmla="*/ 1914490 w 9586368"/>
                <a:gd name="connsiteY999" fmla="*/ 5747589 h 6479439"/>
                <a:gd name="connsiteX1000" fmla="*/ 1679201 w 9586368"/>
                <a:gd name="connsiteY1000" fmla="*/ 5743551 h 6479439"/>
                <a:gd name="connsiteX1001" fmla="*/ 1689112 w 9586368"/>
                <a:gd name="connsiteY1001" fmla="*/ 5743551 h 6479439"/>
                <a:gd name="connsiteX1002" fmla="*/ 1693131 w 9586368"/>
                <a:gd name="connsiteY1002" fmla="*/ 5747589 h 6479439"/>
                <a:gd name="connsiteX1003" fmla="*/ 1693131 w 9586368"/>
                <a:gd name="connsiteY1003" fmla="*/ 5757460 h 6479439"/>
                <a:gd name="connsiteX1004" fmla="*/ 1689112 w 9586368"/>
                <a:gd name="connsiteY1004" fmla="*/ 5761499 h 6479439"/>
                <a:gd name="connsiteX1005" fmla="*/ 1679201 w 9586368"/>
                <a:gd name="connsiteY1005" fmla="*/ 5761499 h 6479439"/>
                <a:gd name="connsiteX1006" fmla="*/ 1675183 w 9586368"/>
                <a:gd name="connsiteY1006" fmla="*/ 5757460 h 6479439"/>
                <a:gd name="connsiteX1007" fmla="*/ 1675183 w 9586368"/>
                <a:gd name="connsiteY1007" fmla="*/ 5747589 h 6479439"/>
                <a:gd name="connsiteX1008" fmla="*/ 1439886 w 9586368"/>
                <a:gd name="connsiteY1008" fmla="*/ 5743551 h 6479439"/>
                <a:gd name="connsiteX1009" fmla="*/ 1449797 w 9586368"/>
                <a:gd name="connsiteY1009" fmla="*/ 5743551 h 6479439"/>
                <a:gd name="connsiteX1010" fmla="*/ 1453815 w 9586368"/>
                <a:gd name="connsiteY1010" fmla="*/ 5747589 h 6479439"/>
                <a:gd name="connsiteX1011" fmla="*/ 1453815 w 9586368"/>
                <a:gd name="connsiteY1011" fmla="*/ 5757460 h 6479439"/>
                <a:gd name="connsiteX1012" fmla="*/ 1449797 w 9586368"/>
                <a:gd name="connsiteY1012" fmla="*/ 5761499 h 6479439"/>
                <a:gd name="connsiteX1013" fmla="*/ 1439886 w 9586368"/>
                <a:gd name="connsiteY1013" fmla="*/ 5761499 h 6479439"/>
                <a:gd name="connsiteX1014" fmla="*/ 1435868 w 9586368"/>
                <a:gd name="connsiteY1014" fmla="*/ 5757460 h 6479439"/>
                <a:gd name="connsiteX1015" fmla="*/ 1435868 w 9586368"/>
                <a:gd name="connsiteY1015" fmla="*/ 5747589 h 6479439"/>
                <a:gd name="connsiteX1016" fmla="*/ 1200572 w 9586368"/>
                <a:gd name="connsiteY1016" fmla="*/ 5743551 h 6479439"/>
                <a:gd name="connsiteX1017" fmla="*/ 1210482 w 9586368"/>
                <a:gd name="connsiteY1017" fmla="*/ 5743551 h 6479439"/>
                <a:gd name="connsiteX1018" fmla="*/ 1214500 w 9586368"/>
                <a:gd name="connsiteY1018" fmla="*/ 5747589 h 6479439"/>
                <a:gd name="connsiteX1019" fmla="*/ 1214500 w 9586368"/>
                <a:gd name="connsiteY1019" fmla="*/ 5757460 h 6479439"/>
                <a:gd name="connsiteX1020" fmla="*/ 1210482 w 9586368"/>
                <a:gd name="connsiteY1020" fmla="*/ 5761499 h 6479439"/>
                <a:gd name="connsiteX1021" fmla="*/ 1200572 w 9586368"/>
                <a:gd name="connsiteY1021" fmla="*/ 5761499 h 6479439"/>
                <a:gd name="connsiteX1022" fmla="*/ 1196553 w 9586368"/>
                <a:gd name="connsiteY1022" fmla="*/ 5757460 h 6479439"/>
                <a:gd name="connsiteX1023" fmla="*/ 1196553 w 9586368"/>
                <a:gd name="connsiteY1023" fmla="*/ 5747589 h 6479439"/>
                <a:gd name="connsiteX1024" fmla="*/ 961259 w 9586368"/>
                <a:gd name="connsiteY1024" fmla="*/ 5743551 h 6479439"/>
                <a:gd name="connsiteX1025" fmla="*/ 971169 w 9586368"/>
                <a:gd name="connsiteY1025" fmla="*/ 5743551 h 6479439"/>
                <a:gd name="connsiteX1026" fmla="*/ 975188 w 9586368"/>
                <a:gd name="connsiteY1026" fmla="*/ 5747589 h 6479439"/>
                <a:gd name="connsiteX1027" fmla="*/ 975188 w 9586368"/>
                <a:gd name="connsiteY1027" fmla="*/ 5757460 h 6479439"/>
                <a:gd name="connsiteX1028" fmla="*/ 971169 w 9586368"/>
                <a:gd name="connsiteY1028" fmla="*/ 5761499 h 6479439"/>
                <a:gd name="connsiteX1029" fmla="*/ 961259 w 9586368"/>
                <a:gd name="connsiteY1029" fmla="*/ 5761499 h 6479439"/>
                <a:gd name="connsiteX1030" fmla="*/ 957240 w 9586368"/>
                <a:gd name="connsiteY1030" fmla="*/ 5757460 h 6479439"/>
                <a:gd name="connsiteX1031" fmla="*/ 957240 w 9586368"/>
                <a:gd name="connsiteY1031" fmla="*/ 5747589 h 6479439"/>
                <a:gd name="connsiteX1032" fmla="*/ 9572438 w 9586368"/>
                <a:gd name="connsiteY1032" fmla="*/ 5743499 h 6479439"/>
                <a:gd name="connsiteX1033" fmla="*/ 9582349 w 9586368"/>
                <a:gd name="connsiteY1033" fmla="*/ 5743499 h 6479439"/>
                <a:gd name="connsiteX1034" fmla="*/ 9586368 w 9586368"/>
                <a:gd name="connsiteY1034" fmla="*/ 5747537 h 6479439"/>
                <a:gd name="connsiteX1035" fmla="*/ 9586368 w 9586368"/>
                <a:gd name="connsiteY1035" fmla="*/ 5757408 h 6479439"/>
                <a:gd name="connsiteX1036" fmla="*/ 9582349 w 9586368"/>
                <a:gd name="connsiteY1036" fmla="*/ 5761447 h 6479439"/>
                <a:gd name="connsiteX1037" fmla="*/ 9572438 w 9586368"/>
                <a:gd name="connsiteY1037" fmla="*/ 5761447 h 6479439"/>
                <a:gd name="connsiteX1038" fmla="*/ 9568419 w 9586368"/>
                <a:gd name="connsiteY1038" fmla="*/ 5757408 h 6479439"/>
                <a:gd name="connsiteX1039" fmla="*/ 9568419 w 9586368"/>
                <a:gd name="connsiteY1039" fmla="*/ 5747537 h 6479439"/>
                <a:gd name="connsiteX1040" fmla="*/ 9333125 w 9586368"/>
                <a:gd name="connsiteY1040" fmla="*/ 5743499 h 6479439"/>
                <a:gd name="connsiteX1041" fmla="*/ 9343036 w 9586368"/>
                <a:gd name="connsiteY1041" fmla="*/ 5743499 h 6479439"/>
                <a:gd name="connsiteX1042" fmla="*/ 9347055 w 9586368"/>
                <a:gd name="connsiteY1042" fmla="*/ 5747537 h 6479439"/>
                <a:gd name="connsiteX1043" fmla="*/ 9347055 w 9586368"/>
                <a:gd name="connsiteY1043" fmla="*/ 5757408 h 6479439"/>
                <a:gd name="connsiteX1044" fmla="*/ 9343036 w 9586368"/>
                <a:gd name="connsiteY1044" fmla="*/ 5761447 h 6479439"/>
                <a:gd name="connsiteX1045" fmla="*/ 9333125 w 9586368"/>
                <a:gd name="connsiteY1045" fmla="*/ 5761447 h 6479439"/>
                <a:gd name="connsiteX1046" fmla="*/ 9329106 w 9586368"/>
                <a:gd name="connsiteY1046" fmla="*/ 5757408 h 6479439"/>
                <a:gd name="connsiteX1047" fmla="*/ 9329106 w 9586368"/>
                <a:gd name="connsiteY1047" fmla="*/ 5747537 h 6479439"/>
                <a:gd name="connsiteX1048" fmla="*/ 9093811 w 9586368"/>
                <a:gd name="connsiteY1048" fmla="*/ 5743499 h 6479439"/>
                <a:gd name="connsiteX1049" fmla="*/ 9103722 w 9586368"/>
                <a:gd name="connsiteY1049" fmla="*/ 5743499 h 6479439"/>
                <a:gd name="connsiteX1050" fmla="*/ 9107741 w 9586368"/>
                <a:gd name="connsiteY1050" fmla="*/ 5747537 h 6479439"/>
                <a:gd name="connsiteX1051" fmla="*/ 9107741 w 9586368"/>
                <a:gd name="connsiteY1051" fmla="*/ 5757408 h 6479439"/>
                <a:gd name="connsiteX1052" fmla="*/ 9103722 w 9586368"/>
                <a:gd name="connsiteY1052" fmla="*/ 5761447 h 6479439"/>
                <a:gd name="connsiteX1053" fmla="*/ 9093811 w 9586368"/>
                <a:gd name="connsiteY1053" fmla="*/ 5761447 h 6479439"/>
                <a:gd name="connsiteX1054" fmla="*/ 9089792 w 9586368"/>
                <a:gd name="connsiteY1054" fmla="*/ 5757408 h 6479439"/>
                <a:gd name="connsiteX1055" fmla="*/ 9089792 w 9586368"/>
                <a:gd name="connsiteY1055" fmla="*/ 5747537 h 6479439"/>
                <a:gd name="connsiteX1056" fmla="*/ 8854496 w 9586368"/>
                <a:gd name="connsiteY1056" fmla="*/ 5743499 h 6479439"/>
                <a:gd name="connsiteX1057" fmla="*/ 8864407 w 9586368"/>
                <a:gd name="connsiteY1057" fmla="*/ 5743499 h 6479439"/>
                <a:gd name="connsiteX1058" fmla="*/ 8868426 w 9586368"/>
                <a:gd name="connsiteY1058" fmla="*/ 5747537 h 6479439"/>
                <a:gd name="connsiteX1059" fmla="*/ 8868426 w 9586368"/>
                <a:gd name="connsiteY1059" fmla="*/ 5757408 h 6479439"/>
                <a:gd name="connsiteX1060" fmla="*/ 8864407 w 9586368"/>
                <a:gd name="connsiteY1060" fmla="*/ 5761447 h 6479439"/>
                <a:gd name="connsiteX1061" fmla="*/ 8854496 w 9586368"/>
                <a:gd name="connsiteY1061" fmla="*/ 5761447 h 6479439"/>
                <a:gd name="connsiteX1062" fmla="*/ 8850477 w 9586368"/>
                <a:gd name="connsiteY1062" fmla="*/ 5757408 h 6479439"/>
                <a:gd name="connsiteX1063" fmla="*/ 8850477 w 9586368"/>
                <a:gd name="connsiteY1063" fmla="*/ 5747537 h 6479439"/>
                <a:gd name="connsiteX1064" fmla="*/ 8615184 w 9586368"/>
                <a:gd name="connsiteY1064" fmla="*/ 5743499 h 6479439"/>
                <a:gd name="connsiteX1065" fmla="*/ 8625095 w 9586368"/>
                <a:gd name="connsiteY1065" fmla="*/ 5743499 h 6479439"/>
                <a:gd name="connsiteX1066" fmla="*/ 8629114 w 9586368"/>
                <a:gd name="connsiteY1066" fmla="*/ 5747537 h 6479439"/>
                <a:gd name="connsiteX1067" fmla="*/ 8629114 w 9586368"/>
                <a:gd name="connsiteY1067" fmla="*/ 5757408 h 6479439"/>
                <a:gd name="connsiteX1068" fmla="*/ 8625095 w 9586368"/>
                <a:gd name="connsiteY1068" fmla="*/ 5761447 h 6479439"/>
                <a:gd name="connsiteX1069" fmla="*/ 8615184 w 9586368"/>
                <a:gd name="connsiteY1069" fmla="*/ 5761447 h 6479439"/>
                <a:gd name="connsiteX1070" fmla="*/ 8611165 w 9586368"/>
                <a:gd name="connsiteY1070" fmla="*/ 5757408 h 6479439"/>
                <a:gd name="connsiteX1071" fmla="*/ 8611165 w 9586368"/>
                <a:gd name="connsiteY1071" fmla="*/ 5747537 h 6479439"/>
                <a:gd name="connsiteX1072" fmla="*/ 8375869 w 9586368"/>
                <a:gd name="connsiteY1072" fmla="*/ 5743499 h 6479439"/>
                <a:gd name="connsiteX1073" fmla="*/ 8385779 w 9586368"/>
                <a:gd name="connsiteY1073" fmla="*/ 5743499 h 6479439"/>
                <a:gd name="connsiteX1074" fmla="*/ 8389799 w 9586368"/>
                <a:gd name="connsiteY1074" fmla="*/ 5747537 h 6479439"/>
                <a:gd name="connsiteX1075" fmla="*/ 8389799 w 9586368"/>
                <a:gd name="connsiteY1075" fmla="*/ 5757408 h 6479439"/>
                <a:gd name="connsiteX1076" fmla="*/ 8385779 w 9586368"/>
                <a:gd name="connsiteY1076" fmla="*/ 5761447 h 6479439"/>
                <a:gd name="connsiteX1077" fmla="*/ 8375869 w 9586368"/>
                <a:gd name="connsiteY1077" fmla="*/ 5761447 h 6479439"/>
                <a:gd name="connsiteX1078" fmla="*/ 8371850 w 9586368"/>
                <a:gd name="connsiteY1078" fmla="*/ 5757408 h 6479439"/>
                <a:gd name="connsiteX1079" fmla="*/ 8371850 w 9586368"/>
                <a:gd name="connsiteY1079" fmla="*/ 5747537 h 6479439"/>
                <a:gd name="connsiteX1080" fmla="*/ 8136553 w 9586368"/>
                <a:gd name="connsiteY1080" fmla="*/ 5743499 h 6479439"/>
                <a:gd name="connsiteX1081" fmla="*/ 8146464 w 9586368"/>
                <a:gd name="connsiteY1081" fmla="*/ 5743499 h 6479439"/>
                <a:gd name="connsiteX1082" fmla="*/ 8150483 w 9586368"/>
                <a:gd name="connsiteY1082" fmla="*/ 5747537 h 6479439"/>
                <a:gd name="connsiteX1083" fmla="*/ 8150483 w 9586368"/>
                <a:gd name="connsiteY1083" fmla="*/ 5757408 h 6479439"/>
                <a:gd name="connsiteX1084" fmla="*/ 8146464 w 9586368"/>
                <a:gd name="connsiteY1084" fmla="*/ 5761447 h 6479439"/>
                <a:gd name="connsiteX1085" fmla="*/ 8136553 w 9586368"/>
                <a:gd name="connsiteY1085" fmla="*/ 5761447 h 6479439"/>
                <a:gd name="connsiteX1086" fmla="*/ 8132534 w 9586368"/>
                <a:gd name="connsiteY1086" fmla="*/ 5757408 h 6479439"/>
                <a:gd name="connsiteX1087" fmla="*/ 8132534 w 9586368"/>
                <a:gd name="connsiteY1087" fmla="*/ 5747537 h 6479439"/>
                <a:gd name="connsiteX1088" fmla="*/ 7897241 w 9586368"/>
                <a:gd name="connsiteY1088" fmla="*/ 5743499 h 6479439"/>
                <a:gd name="connsiteX1089" fmla="*/ 7907151 w 9586368"/>
                <a:gd name="connsiteY1089" fmla="*/ 5743499 h 6479439"/>
                <a:gd name="connsiteX1090" fmla="*/ 7911170 w 9586368"/>
                <a:gd name="connsiteY1090" fmla="*/ 5747537 h 6479439"/>
                <a:gd name="connsiteX1091" fmla="*/ 7911170 w 9586368"/>
                <a:gd name="connsiteY1091" fmla="*/ 5757408 h 6479439"/>
                <a:gd name="connsiteX1092" fmla="*/ 7907151 w 9586368"/>
                <a:gd name="connsiteY1092" fmla="*/ 5761447 h 6479439"/>
                <a:gd name="connsiteX1093" fmla="*/ 7897241 w 9586368"/>
                <a:gd name="connsiteY1093" fmla="*/ 5761447 h 6479439"/>
                <a:gd name="connsiteX1094" fmla="*/ 7893222 w 9586368"/>
                <a:gd name="connsiteY1094" fmla="*/ 5757408 h 6479439"/>
                <a:gd name="connsiteX1095" fmla="*/ 7893222 w 9586368"/>
                <a:gd name="connsiteY1095" fmla="*/ 5747537 h 6479439"/>
                <a:gd name="connsiteX1096" fmla="*/ 7657926 w 9586368"/>
                <a:gd name="connsiteY1096" fmla="*/ 5743499 h 6479439"/>
                <a:gd name="connsiteX1097" fmla="*/ 7667836 w 9586368"/>
                <a:gd name="connsiteY1097" fmla="*/ 5743499 h 6479439"/>
                <a:gd name="connsiteX1098" fmla="*/ 7671855 w 9586368"/>
                <a:gd name="connsiteY1098" fmla="*/ 5747537 h 6479439"/>
                <a:gd name="connsiteX1099" fmla="*/ 7671855 w 9586368"/>
                <a:gd name="connsiteY1099" fmla="*/ 5757408 h 6479439"/>
                <a:gd name="connsiteX1100" fmla="*/ 7667836 w 9586368"/>
                <a:gd name="connsiteY1100" fmla="*/ 5761447 h 6479439"/>
                <a:gd name="connsiteX1101" fmla="*/ 7657926 w 9586368"/>
                <a:gd name="connsiteY1101" fmla="*/ 5761447 h 6479439"/>
                <a:gd name="connsiteX1102" fmla="*/ 7653906 w 9586368"/>
                <a:gd name="connsiteY1102" fmla="*/ 5757408 h 6479439"/>
                <a:gd name="connsiteX1103" fmla="*/ 7653906 w 9586368"/>
                <a:gd name="connsiteY1103" fmla="*/ 5747537 h 6479439"/>
                <a:gd name="connsiteX1104" fmla="*/ 7418611 w 9586368"/>
                <a:gd name="connsiteY1104" fmla="*/ 5743499 h 6479439"/>
                <a:gd name="connsiteX1105" fmla="*/ 7428521 w 9586368"/>
                <a:gd name="connsiteY1105" fmla="*/ 5743499 h 6479439"/>
                <a:gd name="connsiteX1106" fmla="*/ 7432540 w 9586368"/>
                <a:gd name="connsiteY1106" fmla="*/ 5747537 h 6479439"/>
                <a:gd name="connsiteX1107" fmla="*/ 7432540 w 9586368"/>
                <a:gd name="connsiteY1107" fmla="*/ 5757408 h 6479439"/>
                <a:gd name="connsiteX1108" fmla="*/ 7428521 w 9586368"/>
                <a:gd name="connsiteY1108" fmla="*/ 5761447 h 6479439"/>
                <a:gd name="connsiteX1109" fmla="*/ 7418611 w 9586368"/>
                <a:gd name="connsiteY1109" fmla="*/ 5761447 h 6479439"/>
                <a:gd name="connsiteX1110" fmla="*/ 7414592 w 9586368"/>
                <a:gd name="connsiteY1110" fmla="*/ 5757408 h 6479439"/>
                <a:gd name="connsiteX1111" fmla="*/ 7414592 w 9586368"/>
                <a:gd name="connsiteY1111" fmla="*/ 5747537 h 6479439"/>
                <a:gd name="connsiteX1112" fmla="*/ 7179298 w 9586368"/>
                <a:gd name="connsiteY1112" fmla="*/ 5743499 h 6479439"/>
                <a:gd name="connsiteX1113" fmla="*/ 7189209 w 9586368"/>
                <a:gd name="connsiteY1113" fmla="*/ 5743499 h 6479439"/>
                <a:gd name="connsiteX1114" fmla="*/ 7193228 w 9586368"/>
                <a:gd name="connsiteY1114" fmla="*/ 5747537 h 6479439"/>
                <a:gd name="connsiteX1115" fmla="*/ 7193228 w 9586368"/>
                <a:gd name="connsiteY1115" fmla="*/ 5757408 h 6479439"/>
                <a:gd name="connsiteX1116" fmla="*/ 7189209 w 9586368"/>
                <a:gd name="connsiteY1116" fmla="*/ 5761447 h 6479439"/>
                <a:gd name="connsiteX1117" fmla="*/ 7179298 w 9586368"/>
                <a:gd name="connsiteY1117" fmla="*/ 5761447 h 6479439"/>
                <a:gd name="connsiteX1118" fmla="*/ 7175279 w 9586368"/>
                <a:gd name="connsiteY1118" fmla="*/ 5757408 h 6479439"/>
                <a:gd name="connsiteX1119" fmla="*/ 7175279 w 9586368"/>
                <a:gd name="connsiteY1119" fmla="*/ 5747537 h 6479439"/>
                <a:gd name="connsiteX1120" fmla="*/ 6939983 w 9586368"/>
                <a:gd name="connsiteY1120" fmla="*/ 5743499 h 6479439"/>
                <a:gd name="connsiteX1121" fmla="*/ 6949894 w 9586368"/>
                <a:gd name="connsiteY1121" fmla="*/ 5743499 h 6479439"/>
                <a:gd name="connsiteX1122" fmla="*/ 6953913 w 9586368"/>
                <a:gd name="connsiteY1122" fmla="*/ 5747537 h 6479439"/>
                <a:gd name="connsiteX1123" fmla="*/ 6953913 w 9586368"/>
                <a:gd name="connsiteY1123" fmla="*/ 5757408 h 6479439"/>
                <a:gd name="connsiteX1124" fmla="*/ 6949894 w 9586368"/>
                <a:gd name="connsiteY1124" fmla="*/ 5761447 h 6479439"/>
                <a:gd name="connsiteX1125" fmla="*/ 6939983 w 9586368"/>
                <a:gd name="connsiteY1125" fmla="*/ 5761447 h 6479439"/>
                <a:gd name="connsiteX1126" fmla="*/ 6935964 w 9586368"/>
                <a:gd name="connsiteY1126" fmla="*/ 5757408 h 6479439"/>
                <a:gd name="connsiteX1127" fmla="*/ 6935964 w 9586368"/>
                <a:gd name="connsiteY1127" fmla="*/ 5747537 h 6479439"/>
                <a:gd name="connsiteX1128" fmla="*/ 6700670 w 9586368"/>
                <a:gd name="connsiteY1128" fmla="*/ 5743499 h 6479439"/>
                <a:gd name="connsiteX1129" fmla="*/ 6710581 w 9586368"/>
                <a:gd name="connsiteY1129" fmla="*/ 5743499 h 6479439"/>
                <a:gd name="connsiteX1130" fmla="*/ 6714600 w 9586368"/>
                <a:gd name="connsiteY1130" fmla="*/ 5747537 h 6479439"/>
                <a:gd name="connsiteX1131" fmla="*/ 6714600 w 9586368"/>
                <a:gd name="connsiteY1131" fmla="*/ 5757408 h 6479439"/>
                <a:gd name="connsiteX1132" fmla="*/ 6710581 w 9586368"/>
                <a:gd name="connsiteY1132" fmla="*/ 5761447 h 6479439"/>
                <a:gd name="connsiteX1133" fmla="*/ 6700670 w 9586368"/>
                <a:gd name="connsiteY1133" fmla="*/ 5761447 h 6479439"/>
                <a:gd name="connsiteX1134" fmla="*/ 6696651 w 9586368"/>
                <a:gd name="connsiteY1134" fmla="*/ 5757408 h 6479439"/>
                <a:gd name="connsiteX1135" fmla="*/ 6696651 w 9586368"/>
                <a:gd name="connsiteY1135" fmla="*/ 5747537 h 6479439"/>
                <a:gd name="connsiteX1136" fmla="*/ 6461356 w 9586368"/>
                <a:gd name="connsiteY1136" fmla="*/ 5743499 h 6479439"/>
                <a:gd name="connsiteX1137" fmla="*/ 6471266 w 9586368"/>
                <a:gd name="connsiteY1137" fmla="*/ 5743499 h 6479439"/>
                <a:gd name="connsiteX1138" fmla="*/ 6475285 w 9586368"/>
                <a:gd name="connsiteY1138" fmla="*/ 5747537 h 6479439"/>
                <a:gd name="connsiteX1139" fmla="*/ 6475285 w 9586368"/>
                <a:gd name="connsiteY1139" fmla="*/ 5757408 h 6479439"/>
                <a:gd name="connsiteX1140" fmla="*/ 6471266 w 9586368"/>
                <a:gd name="connsiteY1140" fmla="*/ 5761447 h 6479439"/>
                <a:gd name="connsiteX1141" fmla="*/ 6461356 w 9586368"/>
                <a:gd name="connsiteY1141" fmla="*/ 5761447 h 6479439"/>
                <a:gd name="connsiteX1142" fmla="*/ 6457337 w 9586368"/>
                <a:gd name="connsiteY1142" fmla="*/ 5757408 h 6479439"/>
                <a:gd name="connsiteX1143" fmla="*/ 6457337 w 9586368"/>
                <a:gd name="connsiteY1143" fmla="*/ 5747537 h 6479439"/>
                <a:gd name="connsiteX1144" fmla="*/ 6222042 w 9586368"/>
                <a:gd name="connsiteY1144" fmla="*/ 5743499 h 6479439"/>
                <a:gd name="connsiteX1145" fmla="*/ 6231952 w 9586368"/>
                <a:gd name="connsiteY1145" fmla="*/ 5743499 h 6479439"/>
                <a:gd name="connsiteX1146" fmla="*/ 6235971 w 9586368"/>
                <a:gd name="connsiteY1146" fmla="*/ 5747537 h 6479439"/>
                <a:gd name="connsiteX1147" fmla="*/ 6235971 w 9586368"/>
                <a:gd name="connsiteY1147" fmla="*/ 5757408 h 6479439"/>
                <a:gd name="connsiteX1148" fmla="*/ 6231952 w 9586368"/>
                <a:gd name="connsiteY1148" fmla="*/ 5761447 h 6479439"/>
                <a:gd name="connsiteX1149" fmla="*/ 6222042 w 9586368"/>
                <a:gd name="connsiteY1149" fmla="*/ 5761447 h 6479439"/>
                <a:gd name="connsiteX1150" fmla="*/ 6218023 w 9586368"/>
                <a:gd name="connsiteY1150" fmla="*/ 5757408 h 6479439"/>
                <a:gd name="connsiteX1151" fmla="*/ 6218023 w 9586368"/>
                <a:gd name="connsiteY1151" fmla="*/ 5747537 h 6479439"/>
                <a:gd name="connsiteX1152" fmla="*/ 5982729 w 9586368"/>
                <a:gd name="connsiteY1152" fmla="*/ 5743499 h 6479439"/>
                <a:gd name="connsiteX1153" fmla="*/ 5992639 w 9586368"/>
                <a:gd name="connsiteY1153" fmla="*/ 5743499 h 6479439"/>
                <a:gd name="connsiteX1154" fmla="*/ 5996658 w 9586368"/>
                <a:gd name="connsiteY1154" fmla="*/ 5747537 h 6479439"/>
                <a:gd name="connsiteX1155" fmla="*/ 5996658 w 9586368"/>
                <a:gd name="connsiteY1155" fmla="*/ 5757408 h 6479439"/>
                <a:gd name="connsiteX1156" fmla="*/ 5992639 w 9586368"/>
                <a:gd name="connsiteY1156" fmla="*/ 5761447 h 6479439"/>
                <a:gd name="connsiteX1157" fmla="*/ 5982729 w 9586368"/>
                <a:gd name="connsiteY1157" fmla="*/ 5761447 h 6479439"/>
                <a:gd name="connsiteX1158" fmla="*/ 5978710 w 9586368"/>
                <a:gd name="connsiteY1158" fmla="*/ 5757408 h 6479439"/>
                <a:gd name="connsiteX1159" fmla="*/ 5978710 w 9586368"/>
                <a:gd name="connsiteY1159" fmla="*/ 5747537 h 6479439"/>
                <a:gd name="connsiteX1160" fmla="*/ 5743412 w 9586368"/>
                <a:gd name="connsiteY1160" fmla="*/ 5743499 h 6479439"/>
                <a:gd name="connsiteX1161" fmla="*/ 5753323 w 9586368"/>
                <a:gd name="connsiteY1161" fmla="*/ 5743499 h 6479439"/>
                <a:gd name="connsiteX1162" fmla="*/ 5757342 w 9586368"/>
                <a:gd name="connsiteY1162" fmla="*/ 5747537 h 6479439"/>
                <a:gd name="connsiteX1163" fmla="*/ 5757342 w 9586368"/>
                <a:gd name="connsiteY1163" fmla="*/ 5757408 h 6479439"/>
                <a:gd name="connsiteX1164" fmla="*/ 5753323 w 9586368"/>
                <a:gd name="connsiteY1164" fmla="*/ 5761447 h 6479439"/>
                <a:gd name="connsiteX1165" fmla="*/ 5743412 w 9586368"/>
                <a:gd name="connsiteY1165" fmla="*/ 5761447 h 6479439"/>
                <a:gd name="connsiteX1166" fmla="*/ 5739393 w 9586368"/>
                <a:gd name="connsiteY1166" fmla="*/ 5757408 h 6479439"/>
                <a:gd name="connsiteX1167" fmla="*/ 5739393 w 9586368"/>
                <a:gd name="connsiteY1167" fmla="*/ 5747537 h 6479439"/>
                <a:gd name="connsiteX1168" fmla="*/ 5504099 w 9586368"/>
                <a:gd name="connsiteY1168" fmla="*/ 5743499 h 6479439"/>
                <a:gd name="connsiteX1169" fmla="*/ 5514010 w 9586368"/>
                <a:gd name="connsiteY1169" fmla="*/ 5743499 h 6479439"/>
                <a:gd name="connsiteX1170" fmla="*/ 5518029 w 9586368"/>
                <a:gd name="connsiteY1170" fmla="*/ 5747537 h 6479439"/>
                <a:gd name="connsiteX1171" fmla="*/ 5518029 w 9586368"/>
                <a:gd name="connsiteY1171" fmla="*/ 5757408 h 6479439"/>
                <a:gd name="connsiteX1172" fmla="*/ 5514010 w 9586368"/>
                <a:gd name="connsiteY1172" fmla="*/ 5761447 h 6479439"/>
                <a:gd name="connsiteX1173" fmla="*/ 5504099 w 9586368"/>
                <a:gd name="connsiteY1173" fmla="*/ 5761447 h 6479439"/>
                <a:gd name="connsiteX1174" fmla="*/ 5500080 w 9586368"/>
                <a:gd name="connsiteY1174" fmla="*/ 5757408 h 6479439"/>
                <a:gd name="connsiteX1175" fmla="*/ 5500080 w 9586368"/>
                <a:gd name="connsiteY1175" fmla="*/ 5747537 h 6479439"/>
                <a:gd name="connsiteX1176" fmla="*/ 5264784 w 9586368"/>
                <a:gd name="connsiteY1176" fmla="*/ 5743499 h 6479439"/>
                <a:gd name="connsiteX1177" fmla="*/ 5274694 w 9586368"/>
                <a:gd name="connsiteY1177" fmla="*/ 5743499 h 6479439"/>
                <a:gd name="connsiteX1178" fmla="*/ 5278713 w 9586368"/>
                <a:gd name="connsiteY1178" fmla="*/ 5747537 h 6479439"/>
                <a:gd name="connsiteX1179" fmla="*/ 5278713 w 9586368"/>
                <a:gd name="connsiteY1179" fmla="*/ 5757408 h 6479439"/>
                <a:gd name="connsiteX1180" fmla="*/ 5274694 w 9586368"/>
                <a:gd name="connsiteY1180" fmla="*/ 5761447 h 6479439"/>
                <a:gd name="connsiteX1181" fmla="*/ 5264784 w 9586368"/>
                <a:gd name="connsiteY1181" fmla="*/ 5761447 h 6479439"/>
                <a:gd name="connsiteX1182" fmla="*/ 5260765 w 9586368"/>
                <a:gd name="connsiteY1182" fmla="*/ 5757408 h 6479439"/>
                <a:gd name="connsiteX1183" fmla="*/ 5260765 w 9586368"/>
                <a:gd name="connsiteY1183" fmla="*/ 5747537 h 6479439"/>
                <a:gd name="connsiteX1184" fmla="*/ 5025470 w 9586368"/>
                <a:gd name="connsiteY1184" fmla="*/ 5743499 h 6479439"/>
                <a:gd name="connsiteX1185" fmla="*/ 5035381 w 9586368"/>
                <a:gd name="connsiteY1185" fmla="*/ 5743499 h 6479439"/>
                <a:gd name="connsiteX1186" fmla="*/ 5039400 w 9586368"/>
                <a:gd name="connsiteY1186" fmla="*/ 5747537 h 6479439"/>
                <a:gd name="connsiteX1187" fmla="*/ 5039400 w 9586368"/>
                <a:gd name="connsiteY1187" fmla="*/ 5757408 h 6479439"/>
                <a:gd name="connsiteX1188" fmla="*/ 5035381 w 9586368"/>
                <a:gd name="connsiteY1188" fmla="*/ 5761447 h 6479439"/>
                <a:gd name="connsiteX1189" fmla="*/ 5025470 w 9586368"/>
                <a:gd name="connsiteY1189" fmla="*/ 5761447 h 6479439"/>
                <a:gd name="connsiteX1190" fmla="*/ 5021451 w 9586368"/>
                <a:gd name="connsiteY1190" fmla="*/ 5757408 h 6479439"/>
                <a:gd name="connsiteX1191" fmla="*/ 5021451 w 9586368"/>
                <a:gd name="connsiteY1191" fmla="*/ 5747537 h 6479439"/>
                <a:gd name="connsiteX1192" fmla="*/ 4786241 w 9586368"/>
                <a:gd name="connsiteY1192" fmla="*/ 5743499 h 6479439"/>
                <a:gd name="connsiteX1193" fmla="*/ 4796152 w 9586368"/>
                <a:gd name="connsiteY1193" fmla="*/ 5743499 h 6479439"/>
                <a:gd name="connsiteX1194" fmla="*/ 4800171 w 9586368"/>
                <a:gd name="connsiteY1194" fmla="*/ 5747537 h 6479439"/>
                <a:gd name="connsiteX1195" fmla="*/ 4800171 w 9586368"/>
                <a:gd name="connsiteY1195" fmla="*/ 5757408 h 6479439"/>
                <a:gd name="connsiteX1196" fmla="*/ 4796152 w 9586368"/>
                <a:gd name="connsiteY1196" fmla="*/ 5761447 h 6479439"/>
                <a:gd name="connsiteX1197" fmla="*/ 4786241 w 9586368"/>
                <a:gd name="connsiteY1197" fmla="*/ 5761447 h 6479439"/>
                <a:gd name="connsiteX1198" fmla="*/ 4782224 w 9586368"/>
                <a:gd name="connsiteY1198" fmla="*/ 5757408 h 6479439"/>
                <a:gd name="connsiteX1199" fmla="*/ 4782224 w 9586368"/>
                <a:gd name="connsiteY1199" fmla="*/ 5747537 h 6479439"/>
                <a:gd name="connsiteX1200" fmla="*/ 4546929 w 9586368"/>
                <a:gd name="connsiteY1200" fmla="*/ 5743499 h 6479439"/>
                <a:gd name="connsiteX1201" fmla="*/ 4556840 w 9586368"/>
                <a:gd name="connsiteY1201" fmla="*/ 5743499 h 6479439"/>
                <a:gd name="connsiteX1202" fmla="*/ 4560859 w 9586368"/>
                <a:gd name="connsiteY1202" fmla="*/ 5747537 h 6479439"/>
                <a:gd name="connsiteX1203" fmla="*/ 4560859 w 9586368"/>
                <a:gd name="connsiteY1203" fmla="*/ 5757408 h 6479439"/>
                <a:gd name="connsiteX1204" fmla="*/ 4556840 w 9586368"/>
                <a:gd name="connsiteY1204" fmla="*/ 5761447 h 6479439"/>
                <a:gd name="connsiteX1205" fmla="*/ 4546929 w 9586368"/>
                <a:gd name="connsiteY1205" fmla="*/ 5761447 h 6479439"/>
                <a:gd name="connsiteX1206" fmla="*/ 4542910 w 9586368"/>
                <a:gd name="connsiteY1206" fmla="*/ 5757408 h 6479439"/>
                <a:gd name="connsiteX1207" fmla="*/ 4542910 w 9586368"/>
                <a:gd name="connsiteY1207" fmla="*/ 5747537 h 6479439"/>
                <a:gd name="connsiteX1208" fmla="*/ 4307612 w 9586368"/>
                <a:gd name="connsiteY1208" fmla="*/ 5743499 h 6479439"/>
                <a:gd name="connsiteX1209" fmla="*/ 4317523 w 9586368"/>
                <a:gd name="connsiteY1209" fmla="*/ 5743499 h 6479439"/>
                <a:gd name="connsiteX1210" fmla="*/ 4321543 w 9586368"/>
                <a:gd name="connsiteY1210" fmla="*/ 5747537 h 6479439"/>
                <a:gd name="connsiteX1211" fmla="*/ 4321543 w 9586368"/>
                <a:gd name="connsiteY1211" fmla="*/ 5757408 h 6479439"/>
                <a:gd name="connsiteX1212" fmla="*/ 4317523 w 9586368"/>
                <a:gd name="connsiteY1212" fmla="*/ 5761447 h 6479439"/>
                <a:gd name="connsiteX1213" fmla="*/ 4307612 w 9586368"/>
                <a:gd name="connsiteY1213" fmla="*/ 5761447 h 6479439"/>
                <a:gd name="connsiteX1214" fmla="*/ 4303595 w 9586368"/>
                <a:gd name="connsiteY1214" fmla="*/ 5757408 h 6479439"/>
                <a:gd name="connsiteX1215" fmla="*/ 4303595 w 9586368"/>
                <a:gd name="connsiteY1215" fmla="*/ 5747537 h 6479439"/>
                <a:gd name="connsiteX1216" fmla="*/ 4068297 w 9586368"/>
                <a:gd name="connsiteY1216" fmla="*/ 5743499 h 6479439"/>
                <a:gd name="connsiteX1217" fmla="*/ 4078210 w 9586368"/>
                <a:gd name="connsiteY1217" fmla="*/ 5743499 h 6479439"/>
                <a:gd name="connsiteX1218" fmla="*/ 4082229 w 9586368"/>
                <a:gd name="connsiteY1218" fmla="*/ 5747537 h 6479439"/>
                <a:gd name="connsiteX1219" fmla="*/ 4082229 w 9586368"/>
                <a:gd name="connsiteY1219" fmla="*/ 5757408 h 6479439"/>
                <a:gd name="connsiteX1220" fmla="*/ 4078210 w 9586368"/>
                <a:gd name="connsiteY1220" fmla="*/ 5761447 h 6479439"/>
                <a:gd name="connsiteX1221" fmla="*/ 4068297 w 9586368"/>
                <a:gd name="connsiteY1221" fmla="*/ 5761447 h 6479439"/>
                <a:gd name="connsiteX1222" fmla="*/ 4064278 w 9586368"/>
                <a:gd name="connsiteY1222" fmla="*/ 5757408 h 6479439"/>
                <a:gd name="connsiteX1223" fmla="*/ 4064278 w 9586368"/>
                <a:gd name="connsiteY1223" fmla="*/ 5747537 h 6479439"/>
                <a:gd name="connsiteX1224" fmla="*/ 3828990 w 9586368"/>
                <a:gd name="connsiteY1224" fmla="*/ 5743499 h 6479439"/>
                <a:gd name="connsiteX1225" fmla="*/ 3838899 w 9586368"/>
                <a:gd name="connsiteY1225" fmla="*/ 5743499 h 6479439"/>
                <a:gd name="connsiteX1226" fmla="*/ 3842917 w 9586368"/>
                <a:gd name="connsiteY1226" fmla="*/ 5747537 h 6479439"/>
                <a:gd name="connsiteX1227" fmla="*/ 3842917 w 9586368"/>
                <a:gd name="connsiteY1227" fmla="*/ 5757408 h 6479439"/>
                <a:gd name="connsiteX1228" fmla="*/ 3838899 w 9586368"/>
                <a:gd name="connsiteY1228" fmla="*/ 5761447 h 6479439"/>
                <a:gd name="connsiteX1229" fmla="*/ 3828990 w 9586368"/>
                <a:gd name="connsiteY1229" fmla="*/ 5761447 h 6479439"/>
                <a:gd name="connsiteX1230" fmla="*/ 3824971 w 9586368"/>
                <a:gd name="connsiteY1230" fmla="*/ 5757408 h 6479439"/>
                <a:gd name="connsiteX1231" fmla="*/ 3824971 w 9586368"/>
                <a:gd name="connsiteY1231" fmla="*/ 5747537 h 6479439"/>
                <a:gd name="connsiteX1232" fmla="*/ 3589676 w 9586368"/>
                <a:gd name="connsiteY1232" fmla="*/ 5743499 h 6479439"/>
                <a:gd name="connsiteX1233" fmla="*/ 3599585 w 9586368"/>
                <a:gd name="connsiteY1233" fmla="*/ 5743499 h 6479439"/>
                <a:gd name="connsiteX1234" fmla="*/ 3603604 w 9586368"/>
                <a:gd name="connsiteY1234" fmla="*/ 5747537 h 6479439"/>
                <a:gd name="connsiteX1235" fmla="*/ 3603604 w 9586368"/>
                <a:gd name="connsiteY1235" fmla="*/ 5757408 h 6479439"/>
                <a:gd name="connsiteX1236" fmla="*/ 3599585 w 9586368"/>
                <a:gd name="connsiteY1236" fmla="*/ 5761447 h 6479439"/>
                <a:gd name="connsiteX1237" fmla="*/ 3589676 w 9586368"/>
                <a:gd name="connsiteY1237" fmla="*/ 5761447 h 6479439"/>
                <a:gd name="connsiteX1238" fmla="*/ 3585657 w 9586368"/>
                <a:gd name="connsiteY1238" fmla="*/ 5757408 h 6479439"/>
                <a:gd name="connsiteX1239" fmla="*/ 3585657 w 9586368"/>
                <a:gd name="connsiteY1239" fmla="*/ 5747537 h 6479439"/>
                <a:gd name="connsiteX1240" fmla="*/ 3350359 w 9586368"/>
                <a:gd name="connsiteY1240" fmla="*/ 5743499 h 6479439"/>
                <a:gd name="connsiteX1241" fmla="*/ 3360268 w 9586368"/>
                <a:gd name="connsiteY1241" fmla="*/ 5743499 h 6479439"/>
                <a:gd name="connsiteX1242" fmla="*/ 3364287 w 9586368"/>
                <a:gd name="connsiteY1242" fmla="*/ 5747537 h 6479439"/>
                <a:gd name="connsiteX1243" fmla="*/ 3364287 w 9586368"/>
                <a:gd name="connsiteY1243" fmla="*/ 5757408 h 6479439"/>
                <a:gd name="connsiteX1244" fmla="*/ 3360268 w 9586368"/>
                <a:gd name="connsiteY1244" fmla="*/ 5761447 h 6479439"/>
                <a:gd name="connsiteX1245" fmla="*/ 3350359 w 9586368"/>
                <a:gd name="connsiteY1245" fmla="*/ 5761447 h 6479439"/>
                <a:gd name="connsiteX1246" fmla="*/ 3346340 w 9586368"/>
                <a:gd name="connsiteY1246" fmla="*/ 5757408 h 6479439"/>
                <a:gd name="connsiteX1247" fmla="*/ 3346340 w 9586368"/>
                <a:gd name="connsiteY1247" fmla="*/ 5747537 h 6479439"/>
                <a:gd name="connsiteX1248" fmla="*/ 3111048 w 9586368"/>
                <a:gd name="connsiteY1248" fmla="*/ 5743499 h 6479439"/>
                <a:gd name="connsiteX1249" fmla="*/ 3120959 w 9586368"/>
                <a:gd name="connsiteY1249" fmla="*/ 5743499 h 6479439"/>
                <a:gd name="connsiteX1250" fmla="*/ 3124977 w 9586368"/>
                <a:gd name="connsiteY1250" fmla="*/ 5747537 h 6479439"/>
                <a:gd name="connsiteX1251" fmla="*/ 3124977 w 9586368"/>
                <a:gd name="connsiteY1251" fmla="*/ 5757408 h 6479439"/>
                <a:gd name="connsiteX1252" fmla="*/ 3120959 w 9586368"/>
                <a:gd name="connsiteY1252" fmla="*/ 5761447 h 6479439"/>
                <a:gd name="connsiteX1253" fmla="*/ 3111048 w 9586368"/>
                <a:gd name="connsiteY1253" fmla="*/ 5761447 h 6479439"/>
                <a:gd name="connsiteX1254" fmla="*/ 3107029 w 9586368"/>
                <a:gd name="connsiteY1254" fmla="*/ 5757408 h 6479439"/>
                <a:gd name="connsiteX1255" fmla="*/ 3107029 w 9586368"/>
                <a:gd name="connsiteY1255" fmla="*/ 5747537 h 6479439"/>
                <a:gd name="connsiteX1256" fmla="*/ 2871737 w 9586368"/>
                <a:gd name="connsiteY1256" fmla="*/ 5743499 h 6479439"/>
                <a:gd name="connsiteX1257" fmla="*/ 2881646 w 9586368"/>
                <a:gd name="connsiteY1257" fmla="*/ 5743499 h 6479439"/>
                <a:gd name="connsiteX1258" fmla="*/ 2885666 w 9586368"/>
                <a:gd name="connsiteY1258" fmla="*/ 5747537 h 6479439"/>
                <a:gd name="connsiteX1259" fmla="*/ 2885666 w 9586368"/>
                <a:gd name="connsiteY1259" fmla="*/ 5757408 h 6479439"/>
                <a:gd name="connsiteX1260" fmla="*/ 2881646 w 9586368"/>
                <a:gd name="connsiteY1260" fmla="*/ 5761447 h 6479439"/>
                <a:gd name="connsiteX1261" fmla="*/ 2871737 w 9586368"/>
                <a:gd name="connsiteY1261" fmla="*/ 5761447 h 6479439"/>
                <a:gd name="connsiteX1262" fmla="*/ 2867717 w 9586368"/>
                <a:gd name="connsiteY1262" fmla="*/ 5757408 h 6479439"/>
                <a:gd name="connsiteX1263" fmla="*/ 2867717 w 9586368"/>
                <a:gd name="connsiteY1263" fmla="*/ 5747537 h 6479439"/>
                <a:gd name="connsiteX1264" fmla="*/ 2632423 w 9586368"/>
                <a:gd name="connsiteY1264" fmla="*/ 5743499 h 6479439"/>
                <a:gd name="connsiteX1265" fmla="*/ 2642334 w 9586368"/>
                <a:gd name="connsiteY1265" fmla="*/ 5743499 h 6479439"/>
                <a:gd name="connsiteX1266" fmla="*/ 2646352 w 9586368"/>
                <a:gd name="connsiteY1266" fmla="*/ 5747537 h 6479439"/>
                <a:gd name="connsiteX1267" fmla="*/ 2646352 w 9586368"/>
                <a:gd name="connsiteY1267" fmla="*/ 5757408 h 6479439"/>
                <a:gd name="connsiteX1268" fmla="*/ 2642334 w 9586368"/>
                <a:gd name="connsiteY1268" fmla="*/ 5761447 h 6479439"/>
                <a:gd name="connsiteX1269" fmla="*/ 2632423 w 9586368"/>
                <a:gd name="connsiteY1269" fmla="*/ 5761447 h 6479439"/>
                <a:gd name="connsiteX1270" fmla="*/ 2628404 w 9586368"/>
                <a:gd name="connsiteY1270" fmla="*/ 5757408 h 6479439"/>
                <a:gd name="connsiteX1271" fmla="*/ 2628404 w 9586368"/>
                <a:gd name="connsiteY1271" fmla="*/ 5747537 h 6479439"/>
                <a:gd name="connsiteX1272" fmla="*/ 2393104 w 9586368"/>
                <a:gd name="connsiteY1272" fmla="*/ 5743499 h 6479439"/>
                <a:gd name="connsiteX1273" fmla="*/ 2403015 w 9586368"/>
                <a:gd name="connsiteY1273" fmla="*/ 5743499 h 6479439"/>
                <a:gd name="connsiteX1274" fmla="*/ 2407034 w 9586368"/>
                <a:gd name="connsiteY1274" fmla="*/ 5747537 h 6479439"/>
                <a:gd name="connsiteX1275" fmla="*/ 2407034 w 9586368"/>
                <a:gd name="connsiteY1275" fmla="*/ 5757408 h 6479439"/>
                <a:gd name="connsiteX1276" fmla="*/ 2403015 w 9586368"/>
                <a:gd name="connsiteY1276" fmla="*/ 5761447 h 6479439"/>
                <a:gd name="connsiteX1277" fmla="*/ 2393104 w 9586368"/>
                <a:gd name="connsiteY1277" fmla="*/ 5761447 h 6479439"/>
                <a:gd name="connsiteX1278" fmla="*/ 2389087 w 9586368"/>
                <a:gd name="connsiteY1278" fmla="*/ 5757408 h 6479439"/>
                <a:gd name="connsiteX1279" fmla="*/ 2389087 w 9586368"/>
                <a:gd name="connsiteY1279" fmla="*/ 5747537 h 6479439"/>
                <a:gd name="connsiteX1280" fmla="*/ 721960 w 9586368"/>
                <a:gd name="connsiteY1280" fmla="*/ 5743499 h 6479439"/>
                <a:gd name="connsiteX1281" fmla="*/ 731871 w 9586368"/>
                <a:gd name="connsiteY1281" fmla="*/ 5743499 h 6479439"/>
                <a:gd name="connsiteX1282" fmla="*/ 735889 w 9586368"/>
                <a:gd name="connsiteY1282" fmla="*/ 5747537 h 6479439"/>
                <a:gd name="connsiteX1283" fmla="*/ 735889 w 9586368"/>
                <a:gd name="connsiteY1283" fmla="*/ 5757408 h 6479439"/>
                <a:gd name="connsiteX1284" fmla="*/ 731871 w 9586368"/>
                <a:gd name="connsiteY1284" fmla="*/ 5761447 h 6479439"/>
                <a:gd name="connsiteX1285" fmla="*/ 721960 w 9586368"/>
                <a:gd name="connsiteY1285" fmla="*/ 5761447 h 6479439"/>
                <a:gd name="connsiteX1286" fmla="*/ 717941 w 9586368"/>
                <a:gd name="connsiteY1286" fmla="*/ 5757408 h 6479439"/>
                <a:gd name="connsiteX1287" fmla="*/ 717941 w 9586368"/>
                <a:gd name="connsiteY1287" fmla="*/ 5747537 h 6479439"/>
                <a:gd name="connsiteX1288" fmla="*/ 482648 w 9586368"/>
                <a:gd name="connsiteY1288" fmla="*/ 5743499 h 6479439"/>
                <a:gd name="connsiteX1289" fmla="*/ 492558 w 9586368"/>
                <a:gd name="connsiteY1289" fmla="*/ 5743499 h 6479439"/>
                <a:gd name="connsiteX1290" fmla="*/ 496578 w 9586368"/>
                <a:gd name="connsiteY1290" fmla="*/ 5747537 h 6479439"/>
                <a:gd name="connsiteX1291" fmla="*/ 496578 w 9586368"/>
                <a:gd name="connsiteY1291" fmla="*/ 5757408 h 6479439"/>
                <a:gd name="connsiteX1292" fmla="*/ 492558 w 9586368"/>
                <a:gd name="connsiteY1292" fmla="*/ 5761447 h 6479439"/>
                <a:gd name="connsiteX1293" fmla="*/ 482648 w 9586368"/>
                <a:gd name="connsiteY1293" fmla="*/ 5761447 h 6479439"/>
                <a:gd name="connsiteX1294" fmla="*/ 478629 w 9586368"/>
                <a:gd name="connsiteY1294" fmla="*/ 5757408 h 6479439"/>
                <a:gd name="connsiteX1295" fmla="*/ 478629 w 9586368"/>
                <a:gd name="connsiteY1295" fmla="*/ 5747537 h 6479439"/>
                <a:gd name="connsiteX1296" fmla="*/ 243334 w 9586368"/>
                <a:gd name="connsiteY1296" fmla="*/ 5743499 h 6479439"/>
                <a:gd name="connsiteX1297" fmla="*/ 253245 w 9586368"/>
                <a:gd name="connsiteY1297" fmla="*/ 5743499 h 6479439"/>
                <a:gd name="connsiteX1298" fmla="*/ 257264 w 9586368"/>
                <a:gd name="connsiteY1298" fmla="*/ 5747537 h 6479439"/>
                <a:gd name="connsiteX1299" fmla="*/ 257264 w 9586368"/>
                <a:gd name="connsiteY1299" fmla="*/ 5757408 h 6479439"/>
                <a:gd name="connsiteX1300" fmla="*/ 253245 w 9586368"/>
                <a:gd name="connsiteY1300" fmla="*/ 5761447 h 6479439"/>
                <a:gd name="connsiteX1301" fmla="*/ 243334 w 9586368"/>
                <a:gd name="connsiteY1301" fmla="*/ 5761447 h 6479439"/>
                <a:gd name="connsiteX1302" fmla="*/ 239315 w 9586368"/>
                <a:gd name="connsiteY1302" fmla="*/ 5757408 h 6479439"/>
                <a:gd name="connsiteX1303" fmla="*/ 239315 w 9586368"/>
                <a:gd name="connsiteY1303" fmla="*/ 5747537 h 6479439"/>
                <a:gd name="connsiteX1304" fmla="*/ 4021 w 9586368"/>
                <a:gd name="connsiteY1304" fmla="*/ 5743499 h 6479439"/>
                <a:gd name="connsiteX1305" fmla="*/ 13932 w 9586368"/>
                <a:gd name="connsiteY1305" fmla="*/ 5743499 h 6479439"/>
                <a:gd name="connsiteX1306" fmla="*/ 17950 w 9586368"/>
                <a:gd name="connsiteY1306" fmla="*/ 5747537 h 6479439"/>
                <a:gd name="connsiteX1307" fmla="*/ 17950 w 9586368"/>
                <a:gd name="connsiteY1307" fmla="*/ 5757408 h 6479439"/>
                <a:gd name="connsiteX1308" fmla="*/ 13932 w 9586368"/>
                <a:gd name="connsiteY1308" fmla="*/ 5761447 h 6479439"/>
                <a:gd name="connsiteX1309" fmla="*/ 4021 w 9586368"/>
                <a:gd name="connsiteY1309" fmla="*/ 5761447 h 6479439"/>
                <a:gd name="connsiteX1310" fmla="*/ 2 w 9586368"/>
                <a:gd name="connsiteY1310" fmla="*/ 5757408 h 6479439"/>
                <a:gd name="connsiteX1311" fmla="*/ 2 w 9586368"/>
                <a:gd name="connsiteY1311" fmla="*/ 5747537 h 6479439"/>
                <a:gd name="connsiteX1312" fmla="*/ 9572438 w 9586368"/>
                <a:gd name="connsiteY1312" fmla="*/ 5504220 h 6479439"/>
                <a:gd name="connsiteX1313" fmla="*/ 9582349 w 9586368"/>
                <a:gd name="connsiteY1313" fmla="*/ 5504220 h 6479439"/>
                <a:gd name="connsiteX1314" fmla="*/ 9586368 w 9586368"/>
                <a:gd name="connsiteY1314" fmla="*/ 5508258 h 6479439"/>
                <a:gd name="connsiteX1315" fmla="*/ 9586368 w 9586368"/>
                <a:gd name="connsiteY1315" fmla="*/ 5518129 h 6479439"/>
                <a:gd name="connsiteX1316" fmla="*/ 9582349 w 9586368"/>
                <a:gd name="connsiteY1316" fmla="*/ 5522168 h 6479439"/>
                <a:gd name="connsiteX1317" fmla="*/ 9572438 w 9586368"/>
                <a:gd name="connsiteY1317" fmla="*/ 5522168 h 6479439"/>
                <a:gd name="connsiteX1318" fmla="*/ 9568419 w 9586368"/>
                <a:gd name="connsiteY1318" fmla="*/ 5518129 h 6479439"/>
                <a:gd name="connsiteX1319" fmla="*/ 9568419 w 9586368"/>
                <a:gd name="connsiteY1319" fmla="*/ 5508258 h 6479439"/>
                <a:gd name="connsiteX1320" fmla="*/ 9333125 w 9586368"/>
                <a:gd name="connsiteY1320" fmla="*/ 5504220 h 6479439"/>
                <a:gd name="connsiteX1321" fmla="*/ 9343036 w 9586368"/>
                <a:gd name="connsiteY1321" fmla="*/ 5504220 h 6479439"/>
                <a:gd name="connsiteX1322" fmla="*/ 9347055 w 9586368"/>
                <a:gd name="connsiteY1322" fmla="*/ 5508258 h 6479439"/>
                <a:gd name="connsiteX1323" fmla="*/ 9347055 w 9586368"/>
                <a:gd name="connsiteY1323" fmla="*/ 5518129 h 6479439"/>
                <a:gd name="connsiteX1324" fmla="*/ 9343036 w 9586368"/>
                <a:gd name="connsiteY1324" fmla="*/ 5522168 h 6479439"/>
                <a:gd name="connsiteX1325" fmla="*/ 9333125 w 9586368"/>
                <a:gd name="connsiteY1325" fmla="*/ 5522168 h 6479439"/>
                <a:gd name="connsiteX1326" fmla="*/ 9329106 w 9586368"/>
                <a:gd name="connsiteY1326" fmla="*/ 5518129 h 6479439"/>
                <a:gd name="connsiteX1327" fmla="*/ 9329106 w 9586368"/>
                <a:gd name="connsiteY1327" fmla="*/ 5508258 h 6479439"/>
                <a:gd name="connsiteX1328" fmla="*/ 9093811 w 9586368"/>
                <a:gd name="connsiteY1328" fmla="*/ 5504220 h 6479439"/>
                <a:gd name="connsiteX1329" fmla="*/ 9103722 w 9586368"/>
                <a:gd name="connsiteY1329" fmla="*/ 5504220 h 6479439"/>
                <a:gd name="connsiteX1330" fmla="*/ 9107741 w 9586368"/>
                <a:gd name="connsiteY1330" fmla="*/ 5508258 h 6479439"/>
                <a:gd name="connsiteX1331" fmla="*/ 9107741 w 9586368"/>
                <a:gd name="connsiteY1331" fmla="*/ 5518129 h 6479439"/>
                <a:gd name="connsiteX1332" fmla="*/ 9103722 w 9586368"/>
                <a:gd name="connsiteY1332" fmla="*/ 5522168 h 6479439"/>
                <a:gd name="connsiteX1333" fmla="*/ 9093811 w 9586368"/>
                <a:gd name="connsiteY1333" fmla="*/ 5522168 h 6479439"/>
                <a:gd name="connsiteX1334" fmla="*/ 9089792 w 9586368"/>
                <a:gd name="connsiteY1334" fmla="*/ 5518129 h 6479439"/>
                <a:gd name="connsiteX1335" fmla="*/ 9089792 w 9586368"/>
                <a:gd name="connsiteY1335" fmla="*/ 5508258 h 6479439"/>
                <a:gd name="connsiteX1336" fmla="*/ 8854496 w 9586368"/>
                <a:gd name="connsiteY1336" fmla="*/ 5504220 h 6479439"/>
                <a:gd name="connsiteX1337" fmla="*/ 8864407 w 9586368"/>
                <a:gd name="connsiteY1337" fmla="*/ 5504220 h 6479439"/>
                <a:gd name="connsiteX1338" fmla="*/ 8868426 w 9586368"/>
                <a:gd name="connsiteY1338" fmla="*/ 5508258 h 6479439"/>
                <a:gd name="connsiteX1339" fmla="*/ 8868426 w 9586368"/>
                <a:gd name="connsiteY1339" fmla="*/ 5518129 h 6479439"/>
                <a:gd name="connsiteX1340" fmla="*/ 8864407 w 9586368"/>
                <a:gd name="connsiteY1340" fmla="*/ 5522168 h 6479439"/>
                <a:gd name="connsiteX1341" fmla="*/ 8854496 w 9586368"/>
                <a:gd name="connsiteY1341" fmla="*/ 5522168 h 6479439"/>
                <a:gd name="connsiteX1342" fmla="*/ 8850477 w 9586368"/>
                <a:gd name="connsiteY1342" fmla="*/ 5518129 h 6479439"/>
                <a:gd name="connsiteX1343" fmla="*/ 8850477 w 9586368"/>
                <a:gd name="connsiteY1343" fmla="*/ 5508258 h 6479439"/>
                <a:gd name="connsiteX1344" fmla="*/ 8615184 w 9586368"/>
                <a:gd name="connsiteY1344" fmla="*/ 5504220 h 6479439"/>
                <a:gd name="connsiteX1345" fmla="*/ 8625095 w 9586368"/>
                <a:gd name="connsiteY1345" fmla="*/ 5504220 h 6479439"/>
                <a:gd name="connsiteX1346" fmla="*/ 8629114 w 9586368"/>
                <a:gd name="connsiteY1346" fmla="*/ 5508258 h 6479439"/>
                <a:gd name="connsiteX1347" fmla="*/ 8629114 w 9586368"/>
                <a:gd name="connsiteY1347" fmla="*/ 5518129 h 6479439"/>
                <a:gd name="connsiteX1348" fmla="*/ 8625095 w 9586368"/>
                <a:gd name="connsiteY1348" fmla="*/ 5522168 h 6479439"/>
                <a:gd name="connsiteX1349" fmla="*/ 8615184 w 9586368"/>
                <a:gd name="connsiteY1349" fmla="*/ 5522168 h 6479439"/>
                <a:gd name="connsiteX1350" fmla="*/ 8611165 w 9586368"/>
                <a:gd name="connsiteY1350" fmla="*/ 5518129 h 6479439"/>
                <a:gd name="connsiteX1351" fmla="*/ 8611165 w 9586368"/>
                <a:gd name="connsiteY1351" fmla="*/ 5508258 h 6479439"/>
                <a:gd name="connsiteX1352" fmla="*/ 8375869 w 9586368"/>
                <a:gd name="connsiteY1352" fmla="*/ 5504220 h 6479439"/>
                <a:gd name="connsiteX1353" fmla="*/ 8385779 w 9586368"/>
                <a:gd name="connsiteY1353" fmla="*/ 5504220 h 6479439"/>
                <a:gd name="connsiteX1354" fmla="*/ 8389799 w 9586368"/>
                <a:gd name="connsiteY1354" fmla="*/ 5508258 h 6479439"/>
                <a:gd name="connsiteX1355" fmla="*/ 8389799 w 9586368"/>
                <a:gd name="connsiteY1355" fmla="*/ 5518129 h 6479439"/>
                <a:gd name="connsiteX1356" fmla="*/ 8385779 w 9586368"/>
                <a:gd name="connsiteY1356" fmla="*/ 5522168 h 6479439"/>
                <a:gd name="connsiteX1357" fmla="*/ 8375869 w 9586368"/>
                <a:gd name="connsiteY1357" fmla="*/ 5522168 h 6479439"/>
                <a:gd name="connsiteX1358" fmla="*/ 8371850 w 9586368"/>
                <a:gd name="connsiteY1358" fmla="*/ 5518129 h 6479439"/>
                <a:gd name="connsiteX1359" fmla="*/ 8371850 w 9586368"/>
                <a:gd name="connsiteY1359" fmla="*/ 5508258 h 6479439"/>
                <a:gd name="connsiteX1360" fmla="*/ 8136553 w 9586368"/>
                <a:gd name="connsiteY1360" fmla="*/ 5504220 h 6479439"/>
                <a:gd name="connsiteX1361" fmla="*/ 8146464 w 9586368"/>
                <a:gd name="connsiteY1361" fmla="*/ 5504220 h 6479439"/>
                <a:gd name="connsiteX1362" fmla="*/ 8150483 w 9586368"/>
                <a:gd name="connsiteY1362" fmla="*/ 5508258 h 6479439"/>
                <a:gd name="connsiteX1363" fmla="*/ 8150483 w 9586368"/>
                <a:gd name="connsiteY1363" fmla="*/ 5518129 h 6479439"/>
                <a:gd name="connsiteX1364" fmla="*/ 8146464 w 9586368"/>
                <a:gd name="connsiteY1364" fmla="*/ 5522168 h 6479439"/>
                <a:gd name="connsiteX1365" fmla="*/ 8136553 w 9586368"/>
                <a:gd name="connsiteY1365" fmla="*/ 5522168 h 6479439"/>
                <a:gd name="connsiteX1366" fmla="*/ 8132534 w 9586368"/>
                <a:gd name="connsiteY1366" fmla="*/ 5518129 h 6479439"/>
                <a:gd name="connsiteX1367" fmla="*/ 8132534 w 9586368"/>
                <a:gd name="connsiteY1367" fmla="*/ 5508258 h 6479439"/>
                <a:gd name="connsiteX1368" fmla="*/ 7897241 w 9586368"/>
                <a:gd name="connsiteY1368" fmla="*/ 5504220 h 6479439"/>
                <a:gd name="connsiteX1369" fmla="*/ 7907151 w 9586368"/>
                <a:gd name="connsiteY1369" fmla="*/ 5504220 h 6479439"/>
                <a:gd name="connsiteX1370" fmla="*/ 7911170 w 9586368"/>
                <a:gd name="connsiteY1370" fmla="*/ 5508258 h 6479439"/>
                <a:gd name="connsiteX1371" fmla="*/ 7911170 w 9586368"/>
                <a:gd name="connsiteY1371" fmla="*/ 5518129 h 6479439"/>
                <a:gd name="connsiteX1372" fmla="*/ 7907151 w 9586368"/>
                <a:gd name="connsiteY1372" fmla="*/ 5522168 h 6479439"/>
                <a:gd name="connsiteX1373" fmla="*/ 7897241 w 9586368"/>
                <a:gd name="connsiteY1373" fmla="*/ 5522168 h 6479439"/>
                <a:gd name="connsiteX1374" fmla="*/ 7893222 w 9586368"/>
                <a:gd name="connsiteY1374" fmla="*/ 5518129 h 6479439"/>
                <a:gd name="connsiteX1375" fmla="*/ 7893222 w 9586368"/>
                <a:gd name="connsiteY1375" fmla="*/ 5508258 h 6479439"/>
                <a:gd name="connsiteX1376" fmla="*/ 7657926 w 9586368"/>
                <a:gd name="connsiteY1376" fmla="*/ 5504220 h 6479439"/>
                <a:gd name="connsiteX1377" fmla="*/ 7667836 w 9586368"/>
                <a:gd name="connsiteY1377" fmla="*/ 5504220 h 6479439"/>
                <a:gd name="connsiteX1378" fmla="*/ 7671855 w 9586368"/>
                <a:gd name="connsiteY1378" fmla="*/ 5508258 h 6479439"/>
                <a:gd name="connsiteX1379" fmla="*/ 7671855 w 9586368"/>
                <a:gd name="connsiteY1379" fmla="*/ 5518129 h 6479439"/>
                <a:gd name="connsiteX1380" fmla="*/ 7667836 w 9586368"/>
                <a:gd name="connsiteY1380" fmla="*/ 5522168 h 6479439"/>
                <a:gd name="connsiteX1381" fmla="*/ 7657926 w 9586368"/>
                <a:gd name="connsiteY1381" fmla="*/ 5522168 h 6479439"/>
                <a:gd name="connsiteX1382" fmla="*/ 7653906 w 9586368"/>
                <a:gd name="connsiteY1382" fmla="*/ 5518129 h 6479439"/>
                <a:gd name="connsiteX1383" fmla="*/ 7653906 w 9586368"/>
                <a:gd name="connsiteY1383" fmla="*/ 5508258 h 6479439"/>
                <a:gd name="connsiteX1384" fmla="*/ 7418611 w 9586368"/>
                <a:gd name="connsiteY1384" fmla="*/ 5504220 h 6479439"/>
                <a:gd name="connsiteX1385" fmla="*/ 7428521 w 9586368"/>
                <a:gd name="connsiteY1385" fmla="*/ 5504220 h 6479439"/>
                <a:gd name="connsiteX1386" fmla="*/ 7432540 w 9586368"/>
                <a:gd name="connsiteY1386" fmla="*/ 5508258 h 6479439"/>
                <a:gd name="connsiteX1387" fmla="*/ 7432540 w 9586368"/>
                <a:gd name="connsiteY1387" fmla="*/ 5518129 h 6479439"/>
                <a:gd name="connsiteX1388" fmla="*/ 7428521 w 9586368"/>
                <a:gd name="connsiteY1388" fmla="*/ 5522168 h 6479439"/>
                <a:gd name="connsiteX1389" fmla="*/ 7418611 w 9586368"/>
                <a:gd name="connsiteY1389" fmla="*/ 5522168 h 6479439"/>
                <a:gd name="connsiteX1390" fmla="*/ 7414592 w 9586368"/>
                <a:gd name="connsiteY1390" fmla="*/ 5518129 h 6479439"/>
                <a:gd name="connsiteX1391" fmla="*/ 7414592 w 9586368"/>
                <a:gd name="connsiteY1391" fmla="*/ 5508258 h 6479439"/>
                <a:gd name="connsiteX1392" fmla="*/ 7179298 w 9586368"/>
                <a:gd name="connsiteY1392" fmla="*/ 5504220 h 6479439"/>
                <a:gd name="connsiteX1393" fmla="*/ 7189209 w 9586368"/>
                <a:gd name="connsiteY1393" fmla="*/ 5504220 h 6479439"/>
                <a:gd name="connsiteX1394" fmla="*/ 7193228 w 9586368"/>
                <a:gd name="connsiteY1394" fmla="*/ 5508258 h 6479439"/>
                <a:gd name="connsiteX1395" fmla="*/ 7193228 w 9586368"/>
                <a:gd name="connsiteY1395" fmla="*/ 5518129 h 6479439"/>
                <a:gd name="connsiteX1396" fmla="*/ 7189209 w 9586368"/>
                <a:gd name="connsiteY1396" fmla="*/ 5522168 h 6479439"/>
                <a:gd name="connsiteX1397" fmla="*/ 7179298 w 9586368"/>
                <a:gd name="connsiteY1397" fmla="*/ 5522168 h 6479439"/>
                <a:gd name="connsiteX1398" fmla="*/ 7175279 w 9586368"/>
                <a:gd name="connsiteY1398" fmla="*/ 5518129 h 6479439"/>
                <a:gd name="connsiteX1399" fmla="*/ 7175279 w 9586368"/>
                <a:gd name="connsiteY1399" fmla="*/ 5508258 h 6479439"/>
                <a:gd name="connsiteX1400" fmla="*/ 6939983 w 9586368"/>
                <a:gd name="connsiteY1400" fmla="*/ 5504220 h 6479439"/>
                <a:gd name="connsiteX1401" fmla="*/ 6949894 w 9586368"/>
                <a:gd name="connsiteY1401" fmla="*/ 5504220 h 6479439"/>
                <a:gd name="connsiteX1402" fmla="*/ 6953913 w 9586368"/>
                <a:gd name="connsiteY1402" fmla="*/ 5508258 h 6479439"/>
                <a:gd name="connsiteX1403" fmla="*/ 6953913 w 9586368"/>
                <a:gd name="connsiteY1403" fmla="*/ 5518129 h 6479439"/>
                <a:gd name="connsiteX1404" fmla="*/ 6949894 w 9586368"/>
                <a:gd name="connsiteY1404" fmla="*/ 5522168 h 6479439"/>
                <a:gd name="connsiteX1405" fmla="*/ 6939983 w 9586368"/>
                <a:gd name="connsiteY1405" fmla="*/ 5522168 h 6479439"/>
                <a:gd name="connsiteX1406" fmla="*/ 6935964 w 9586368"/>
                <a:gd name="connsiteY1406" fmla="*/ 5518129 h 6479439"/>
                <a:gd name="connsiteX1407" fmla="*/ 6935964 w 9586368"/>
                <a:gd name="connsiteY1407" fmla="*/ 5508258 h 6479439"/>
                <a:gd name="connsiteX1408" fmla="*/ 6700670 w 9586368"/>
                <a:gd name="connsiteY1408" fmla="*/ 5504220 h 6479439"/>
                <a:gd name="connsiteX1409" fmla="*/ 6710581 w 9586368"/>
                <a:gd name="connsiteY1409" fmla="*/ 5504220 h 6479439"/>
                <a:gd name="connsiteX1410" fmla="*/ 6714600 w 9586368"/>
                <a:gd name="connsiteY1410" fmla="*/ 5508258 h 6479439"/>
                <a:gd name="connsiteX1411" fmla="*/ 6714600 w 9586368"/>
                <a:gd name="connsiteY1411" fmla="*/ 5518129 h 6479439"/>
                <a:gd name="connsiteX1412" fmla="*/ 6710581 w 9586368"/>
                <a:gd name="connsiteY1412" fmla="*/ 5522168 h 6479439"/>
                <a:gd name="connsiteX1413" fmla="*/ 6700670 w 9586368"/>
                <a:gd name="connsiteY1413" fmla="*/ 5522168 h 6479439"/>
                <a:gd name="connsiteX1414" fmla="*/ 6696651 w 9586368"/>
                <a:gd name="connsiteY1414" fmla="*/ 5518129 h 6479439"/>
                <a:gd name="connsiteX1415" fmla="*/ 6696651 w 9586368"/>
                <a:gd name="connsiteY1415" fmla="*/ 5508258 h 6479439"/>
                <a:gd name="connsiteX1416" fmla="*/ 6461356 w 9586368"/>
                <a:gd name="connsiteY1416" fmla="*/ 5504220 h 6479439"/>
                <a:gd name="connsiteX1417" fmla="*/ 6471266 w 9586368"/>
                <a:gd name="connsiteY1417" fmla="*/ 5504220 h 6479439"/>
                <a:gd name="connsiteX1418" fmla="*/ 6475285 w 9586368"/>
                <a:gd name="connsiteY1418" fmla="*/ 5508258 h 6479439"/>
                <a:gd name="connsiteX1419" fmla="*/ 6475285 w 9586368"/>
                <a:gd name="connsiteY1419" fmla="*/ 5518129 h 6479439"/>
                <a:gd name="connsiteX1420" fmla="*/ 6471266 w 9586368"/>
                <a:gd name="connsiteY1420" fmla="*/ 5522168 h 6479439"/>
                <a:gd name="connsiteX1421" fmla="*/ 6461356 w 9586368"/>
                <a:gd name="connsiteY1421" fmla="*/ 5522168 h 6479439"/>
                <a:gd name="connsiteX1422" fmla="*/ 6457337 w 9586368"/>
                <a:gd name="connsiteY1422" fmla="*/ 5518129 h 6479439"/>
                <a:gd name="connsiteX1423" fmla="*/ 6457337 w 9586368"/>
                <a:gd name="connsiteY1423" fmla="*/ 5508258 h 6479439"/>
                <a:gd name="connsiteX1424" fmla="*/ 6222042 w 9586368"/>
                <a:gd name="connsiteY1424" fmla="*/ 5504220 h 6479439"/>
                <a:gd name="connsiteX1425" fmla="*/ 6231952 w 9586368"/>
                <a:gd name="connsiteY1425" fmla="*/ 5504220 h 6479439"/>
                <a:gd name="connsiteX1426" fmla="*/ 6235971 w 9586368"/>
                <a:gd name="connsiteY1426" fmla="*/ 5508258 h 6479439"/>
                <a:gd name="connsiteX1427" fmla="*/ 6235971 w 9586368"/>
                <a:gd name="connsiteY1427" fmla="*/ 5518129 h 6479439"/>
                <a:gd name="connsiteX1428" fmla="*/ 6231952 w 9586368"/>
                <a:gd name="connsiteY1428" fmla="*/ 5522168 h 6479439"/>
                <a:gd name="connsiteX1429" fmla="*/ 6222042 w 9586368"/>
                <a:gd name="connsiteY1429" fmla="*/ 5522168 h 6479439"/>
                <a:gd name="connsiteX1430" fmla="*/ 6218023 w 9586368"/>
                <a:gd name="connsiteY1430" fmla="*/ 5518129 h 6479439"/>
                <a:gd name="connsiteX1431" fmla="*/ 6218023 w 9586368"/>
                <a:gd name="connsiteY1431" fmla="*/ 5508258 h 6479439"/>
                <a:gd name="connsiteX1432" fmla="*/ 5982729 w 9586368"/>
                <a:gd name="connsiteY1432" fmla="*/ 5504220 h 6479439"/>
                <a:gd name="connsiteX1433" fmla="*/ 5992639 w 9586368"/>
                <a:gd name="connsiteY1433" fmla="*/ 5504220 h 6479439"/>
                <a:gd name="connsiteX1434" fmla="*/ 5996658 w 9586368"/>
                <a:gd name="connsiteY1434" fmla="*/ 5508258 h 6479439"/>
                <a:gd name="connsiteX1435" fmla="*/ 5996658 w 9586368"/>
                <a:gd name="connsiteY1435" fmla="*/ 5518129 h 6479439"/>
                <a:gd name="connsiteX1436" fmla="*/ 5992639 w 9586368"/>
                <a:gd name="connsiteY1436" fmla="*/ 5522168 h 6479439"/>
                <a:gd name="connsiteX1437" fmla="*/ 5982729 w 9586368"/>
                <a:gd name="connsiteY1437" fmla="*/ 5522168 h 6479439"/>
                <a:gd name="connsiteX1438" fmla="*/ 5978710 w 9586368"/>
                <a:gd name="connsiteY1438" fmla="*/ 5518129 h 6479439"/>
                <a:gd name="connsiteX1439" fmla="*/ 5978710 w 9586368"/>
                <a:gd name="connsiteY1439" fmla="*/ 5508258 h 6479439"/>
                <a:gd name="connsiteX1440" fmla="*/ 5743412 w 9586368"/>
                <a:gd name="connsiteY1440" fmla="*/ 5504220 h 6479439"/>
                <a:gd name="connsiteX1441" fmla="*/ 5753323 w 9586368"/>
                <a:gd name="connsiteY1441" fmla="*/ 5504220 h 6479439"/>
                <a:gd name="connsiteX1442" fmla="*/ 5757342 w 9586368"/>
                <a:gd name="connsiteY1442" fmla="*/ 5508258 h 6479439"/>
                <a:gd name="connsiteX1443" fmla="*/ 5757342 w 9586368"/>
                <a:gd name="connsiteY1443" fmla="*/ 5518129 h 6479439"/>
                <a:gd name="connsiteX1444" fmla="*/ 5753323 w 9586368"/>
                <a:gd name="connsiteY1444" fmla="*/ 5522168 h 6479439"/>
                <a:gd name="connsiteX1445" fmla="*/ 5743412 w 9586368"/>
                <a:gd name="connsiteY1445" fmla="*/ 5522168 h 6479439"/>
                <a:gd name="connsiteX1446" fmla="*/ 5739393 w 9586368"/>
                <a:gd name="connsiteY1446" fmla="*/ 5518129 h 6479439"/>
                <a:gd name="connsiteX1447" fmla="*/ 5739393 w 9586368"/>
                <a:gd name="connsiteY1447" fmla="*/ 5508258 h 6479439"/>
                <a:gd name="connsiteX1448" fmla="*/ 5504099 w 9586368"/>
                <a:gd name="connsiteY1448" fmla="*/ 5504220 h 6479439"/>
                <a:gd name="connsiteX1449" fmla="*/ 5514010 w 9586368"/>
                <a:gd name="connsiteY1449" fmla="*/ 5504220 h 6479439"/>
                <a:gd name="connsiteX1450" fmla="*/ 5518029 w 9586368"/>
                <a:gd name="connsiteY1450" fmla="*/ 5508258 h 6479439"/>
                <a:gd name="connsiteX1451" fmla="*/ 5518029 w 9586368"/>
                <a:gd name="connsiteY1451" fmla="*/ 5518129 h 6479439"/>
                <a:gd name="connsiteX1452" fmla="*/ 5514010 w 9586368"/>
                <a:gd name="connsiteY1452" fmla="*/ 5522168 h 6479439"/>
                <a:gd name="connsiteX1453" fmla="*/ 5504099 w 9586368"/>
                <a:gd name="connsiteY1453" fmla="*/ 5522168 h 6479439"/>
                <a:gd name="connsiteX1454" fmla="*/ 5500080 w 9586368"/>
                <a:gd name="connsiteY1454" fmla="*/ 5518129 h 6479439"/>
                <a:gd name="connsiteX1455" fmla="*/ 5500080 w 9586368"/>
                <a:gd name="connsiteY1455" fmla="*/ 5508258 h 6479439"/>
                <a:gd name="connsiteX1456" fmla="*/ 5264784 w 9586368"/>
                <a:gd name="connsiteY1456" fmla="*/ 5504220 h 6479439"/>
                <a:gd name="connsiteX1457" fmla="*/ 5274694 w 9586368"/>
                <a:gd name="connsiteY1457" fmla="*/ 5504220 h 6479439"/>
                <a:gd name="connsiteX1458" fmla="*/ 5278713 w 9586368"/>
                <a:gd name="connsiteY1458" fmla="*/ 5508258 h 6479439"/>
                <a:gd name="connsiteX1459" fmla="*/ 5278713 w 9586368"/>
                <a:gd name="connsiteY1459" fmla="*/ 5518129 h 6479439"/>
                <a:gd name="connsiteX1460" fmla="*/ 5274694 w 9586368"/>
                <a:gd name="connsiteY1460" fmla="*/ 5522168 h 6479439"/>
                <a:gd name="connsiteX1461" fmla="*/ 5264784 w 9586368"/>
                <a:gd name="connsiteY1461" fmla="*/ 5522168 h 6479439"/>
                <a:gd name="connsiteX1462" fmla="*/ 5260765 w 9586368"/>
                <a:gd name="connsiteY1462" fmla="*/ 5518129 h 6479439"/>
                <a:gd name="connsiteX1463" fmla="*/ 5260765 w 9586368"/>
                <a:gd name="connsiteY1463" fmla="*/ 5508258 h 6479439"/>
                <a:gd name="connsiteX1464" fmla="*/ 5025470 w 9586368"/>
                <a:gd name="connsiteY1464" fmla="*/ 5504220 h 6479439"/>
                <a:gd name="connsiteX1465" fmla="*/ 5035381 w 9586368"/>
                <a:gd name="connsiteY1465" fmla="*/ 5504220 h 6479439"/>
                <a:gd name="connsiteX1466" fmla="*/ 5039400 w 9586368"/>
                <a:gd name="connsiteY1466" fmla="*/ 5508258 h 6479439"/>
                <a:gd name="connsiteX1467" fmla="*/ 5039400 w 9586368"/>
                <a:gd name="connsiteY1467" fmla="*/ 5518129 h 6479439"/>
                <a:gd name="connsiteX1468" fmla="*/ 5035381 w 9586368"/>
                <a:gd name="connsiteY1468" fmla="*/ 5522168 h 6479439"/>
                <a:gd name="connsiteX1469" fmla="*/ 5025470 w 9586368"/>
                <a:gd name="connsiteY1469" fmla="*/ 5522168 h 6479439"/>
                <a:gd name="connsiteX1470" fmla="*/ 5021451 w 9586368"/>
                <a:gd name="connsiteY1470" fmla="*/ 5518129 h 6479439"/>
                <a:gd name="connsiteX1471" fmla="*/ 5021451 w 9586368"/>
                <a:gd name="connsiteY1471" fmla="*/ 5508258 h 6479439"/>
                <a:gd name="connsiteX1472" fmla="*/ 4786241 w 9586368"/>
                <a:gd name="connsiteY1472" fmla="*/ 5504220 h 6479439"/>
                <a:gd name="connsiteX1473" fmla="*/ 4796152 w 9586368"/>
                <a:gd name="connsiteY1473" fmla="*/ 5504220 h 6479439"/>
                <a:gd name="connsiteX1474" fmla="*/ 4800171 w 9586368"/>
                <a:gd name="connsiteY1474" fmla="*/ 5508258 h 6479439"/>
                <a:gd name="connsiteX1475" fmla="*/ 4800171 w 9586368"/>
                <a:gd name="connsiteY1475" fmla="*/ 5518129 h 6479439"/>
                <a:gd name="connsiteX1476" fmla="*/ 4796152 w 9586368"/>
                <a:gd name="connsiteY1476" fmla="*/ 5522168 h 6479439"/>
                <a:gd name="connsiteX1477" fmla="*/ 4786241 w 9586368"/>
                <a:gd name="connsiteY1477" fmla="*/ 5522168 h 6479439"/>
                <a:gd name="connsiteX1478" fmla="*/ 4782224 w 9586368"/>
                <a:gd name="connsiteY1478" fmla="*/ 5518129 h 6479439"/>
                <a:gd name="connsiteX1479" fmla="*/ 4782224 w 9586368"/>
                <a:gd name="connsiteY1479" fmla="*/ 5508258 h 6479439"/>
                <a:gd name="connsiteX1480" fmla="*/ 4546929 w 9586368"/>
                <a:gd name="connsiteY1480" fmla="*/ 5504220 h 6479439"/>
                <a:gd name="connsiteX1481" fmla="*/ 4556840 w 9586368"/>
                <a:gd name="connsiteY1481" fmla="*/ 5504220 h 6479439"/>
                <a:gd name="connsiteX1482" fmla="*/ 4560859 w 9586368"/>
                <a:gd name="connsiteY1482" fmla="*/ 5508258 h 6479439"/>
                <a:gd name="connsiteX1483" fmla="*/ 4560859 w 9586368"/>
                <a:gd name="connsiteY1483" fmla="*/ 5518129 h 6479439"/>
                <a:gd name="connsiteX1484" fmla="*/ 4556840 w 9586368"/>
                <a:gd name="connsiteY1484" fmla="*/ 5522168 h 6479439"/>
                <a:gd name="connsiteX1485" fmla="*/ 4546929 w 9586368"/>
                <a:gd name="connsiteY1485" fmla="*/ 5522168 h 6479439"/>
                <a:gd name="connsiteX1486" fmla="*/ 4542910 w 9586368"/>
                <a:gd name="connsiteY1486" fmla="*/ 5518129 h 6479439"/>
                <a:gd name="connsiteX1487" fmla="*/ 4542910 w 9586368"/>
                <a:gd name="connsiteY1487" fmla="*/ 5508258 h 6479439"/>
                <a:gd name="connsiteX1488" fmla="*/ 4307612 w 9586368"/>
                <a:gd name="connsiteY1488" fmla="*/ 5504220 h 6479439"/>
                <a:gd name="connsiteX1489" fmla="*/ 4317523 w 9586368"/>
                <a:gd name="connsiteY1489" fmla="*/ 5504220 h 6479439"/>
                <a:gd name="connsiteX1490" fmla="*/ 4321543 w 9586368"/>
                <a:gd name="connsiteY1490" fmla="*/ 5508258 h 6479439"/>
                <a:gd name="connsiteX1491" fmla="*/ 4321543 w 9586368"/>
                <a:gd name="connsiteY1491" fmla="*/ 5518129 h 6479439"/>
                <a:gd name="connsiteX1492" fmla="*/ 4317523 w 9586368"/>
                <a:gd name="connsiteY1492" fmla="*/ 5522168 h 6479439"/>
                <a:gd name="connsiteX1493" fmla="*/ 4307612 w 9586368"/>
                <a:gd name="connsiteY1493" fmla="*/ 5522168 h 6479439"/>
                <a:gd name="connsiteX1494" fmla="*/ 4303595 w 9586368"/>
                <a:gd name="connsiteY1494" fmla="*/ 5518129 h 6479439"/>
                <a:gd name="connsiteX1495" fmla="*/ 4303595 w 9586368"/>
                <a:gd name="connsiteY1495" fmla="*/ 5508258 h 6479439"/>
                <a:gd name="connsiteX1496" fmla="*/ 4068297 w 9586368"/>
                <a:gd name="connsiteY1496" fmla="*/ 5504220 h 6479439"/>
                <a:gd name="connsiteX1497" fmla="*/ 4078210 w 9586368"/>
                <a:gd name="connsiteY1497" fmla="*/ 5504220 h 6479439"/>
                <a:gd name="connsiteX1498" fmla="*/ 4082229 w 9586368"/>
                <a:gd name="connsiteY1498" fmla="*/ 5508258 h 6479439"/>
                <a:gd name="connsiteX1499" fmla="*/ 4082229 w 9586368"/>
                <a:gd name="connsiteY1499" fmla="*/ 5518129 h 6479439"/>
                <a:gd name="connsiteX1500" fmla="*/ 4078210 w 9586368"/>
                <a:gd name="connsiteY1500" fmla="*/ 5522168 h 6479439"/>
                <a:gd name="connsiteX1501" fmla="*/ 4068297 w 9586368"/>
                <a:gd name="connsiteY1501" fmla="*/ 5522168 h 6479439"/>
                <a:gd name="connsiteX1502" fmla="*/ 4064278 w 9586368"/>
                <a:gd name="connsiteY1502" fmla="*/ 5518129 h 6479439"/>
                <a:gd name="connsiteX1503" fmla="*/ 4064278 w 9586368"/>
                <a:gd name="connsiteY1503" fmla="*/ 5508258 h 6479439"/>
                <a:gd name="connsiteX1504" fmla="*/ 3828990 w 9586368"/>
                <a:gd name="connsiteY1504" fmla="*/ 5504220 h 6479439"/>
                <a:gd name="connsiteX1505" fmla="*/ 3838899 w 9586368"/>
                <a:gd name="connsiteY1505" fmla="*/ 5504220 h 6479439"/>
                <a:gd name="connsiteX1506" fmla="*/ 3842917 w 9586368"/>
                <a:gd name="connsiteY1506" fmla="*/ 5508258 h 6479439"/>
                <a:gd name="connsiteX1507" fmla="*/ 3842917 w 9586368"/>
                <a:gd name="connsiteY1507" fmla="*/ 5518129 h 6479439"/>
                <a:gd name="connsiteX1508" fmla="*/ 3838899 w 9586368"/>
                <a:gd name="connsiteY1508" fmla="*/ 5522168 h 6479439"/>
                <a:gd name="connsiteX1509" fmla="*/ 3828990 w 9586368"/>
                <a:gd name="connsiteY1509" fmla="*/ 5522168 h 6479439"/>
                <a:gd name="connsiteX1510" fmla="*/ 3824971 w 9586368"/>
                <a:gd name="connsiteY1510" fmla="*/ 5518129 h 6479439"/>
                <a:gd name="connsiteX1511" fmla="*/ 3824971 w 9586368"/>
                <a:gd name="connsiteY1511" fmla="*/ 5508258 h 6479439"/>
                <a:gd name="connsiteX1512" fmla="*/ 3589676 w 9586368"/>
                <a:gd name="connsiteY1512" fmla="*/ 5504220 h 6479439"/>
                <a:gd name="connsiteX1513" fmla="*/ 3599585 w 9586368"/>
                <a:gd name="connsiteY1513" fmla="*/ 5504220 h 6479439"/>
                <a:gd name="connsiteX1514" fmla="*/ 3603604 w 9586368"/>
                <a:gd name="connsiteY1514" fmla="*/ 5508258 h 6479439"/>
                <a:gd name="connsiteX1515" fmla="*/ 3603604 w 9586368"/>
                <a:gd name="connsiteY1515" fmla="*/ 5518129 h 6479439"/>
                <a:gd name="connsiteX1516" fmla="*/ 3599585 w 9586368"/>
                <a:gd name="connsiteY1516" fmla="*/ 5522168 h 6479439"/>
                <a:gd name="connsiteX1517" fmla="*/ 3589676 w 9586368"/>
                <a:gd name="connsiteY1517" fmla="*/ 5522168 h 6479439"/>
                <a:gd name="connsiteX1518" fmla="*/ 3585657 w 9586368"/>
                <a:gd name="connsiteY1518" fmla="*/ 5518129 h 6479439"/>
                <a:gd name="connsiteX1519" fmla="*/ 3585657 w 9586368"/>
                <a:gd name="connsiteY1519" fmla="*/ 5508258 h 6479439"/>
                <a:gd name="connsiteX1520" fmla="*/ 3350359 w 9586368"/>
                <a:gd name="connsiteY1520" fmla="*/ 5504220 h 6479439"/>
                <a:gd name="connsiteX1521" fmla="*/ 3360268 w 9586368"/>
                <a:gd name="connsiteY1521" fmla="*/ 5504220 h 6479439"/>
                <a:gd name="connsiteX1522" fmla="*/ 3364287 w 9586368"/>
                <a:gd name="connsiteY1522" fmla="*/ 5508258 h 6479439"/>
                <a:gd name="connsiteX1523" fmla="*/ 3364287 w 9586368"/>
                <a:gd name="connsiteY1523" fmla="*/ 5518129 h 6479439"/>
                <a:gd name="connsiteX1524" fmla="*/ 3360268 w 9586368"/>
                <a:gd name="connsiteY1524" fmla="*/ 5522168 h 6479439"/>
                <a:gd name="connsiteX1525" fmla="*/ 3350359 w 9586368"/>
                <a:gd name="connsiteY1525" fmla="*/ 5522168 h 6479439"/>
                <a:gd name="connsiteX1526" fmla="*/ 3346340 w 9586368"/>
                <a:gd name="connsiteY1526" fmla="*/ 5518129 h 6479439"/>
                <a:gd name="connsiteX1527" fmla="*/ 3346340 w 9586368"/>
                <a:gd name="connsiteY1527" fmla="*/ 5508258 h 6479439"/>
                <a:gd name="connsiteX1528" fmla="*/ 3111048 w 9586368"/>
                <a:gd name="connsiteY1528" fmla="*/ 5504220 h 6479439"/>
                <a:gd name="connsiteX1529" fmla="*/ 3120959 w 9586368"/>
                <a:gd name="connsiteY1529" fmla="*/ 5504220 h 6479439"/>
                <a:gd name="connsiteX1530" fmla="*/ 3124977 w 9586368"/>
                <a:gd name="connsiteY1530" fmla="*/ 5508258 h 6479439"/>
                <a:gd name="connsiteX1531" fmla="*/ 3124977 w 9586368"/>
                <a:gd name="connsiteY1531" fmla="*/ 5518129 h 6479439"/>
                <a:gd name="connsiteX1532" fmla="*/ 3120959 w 9586368"/>
                <a:gd name="connsiteY1532" fmla="*/ 5522168 h 6479439"/>
                <a:gd name="connsiteX1533" fmla="*/ 3111048 w 9586368"/>
                <a:gd name="connsiteY1533" fmla="*/ 5522168 h 6479439"/>
                <a:gd name="connsiteX1534" fmla="*/ 3107029 w 9586368"/>
                <a:gd name="connsiteY1534" fmla="*/ 5518129 h 6479439"/>
                <a:gd name="connsiteX1535" fmla="*/ 3107029 w 9586368"/>
                <a:gd name="connsiteY1535" fmla="*/ 5508258 h 6479439"/>
                <a:gd name="connsiteX1536" fmla="*/ 2871737 w 9586368"/>
                <a:gd name="connsiteY1536" fmla="*/ 5504220 h 6479439"/>
                <a:gd name="connsiteX1537" fmla="*/ 2881646 w 9586368"/>
                <a:gd name="connsiteY1537" fmla="*/ 5504220 h 6479439"/>
                <a:gd name="connsiteX1538" fmla="*/ 2885666 w 9586368"/>
                <a:gd name="connsiteY1538" fmla="*/ 5508258 h 6479439"/>
                <a:gd name="connsiteX1539" fmla="*/ 2885666 w 9586368"/>
                <a:gd name="connsiteY1539" fmla="*/ 5518129 h 6479439"/>
                <a:gd name="connsiteX1540" fmla="*/ 2881646 w 9586368"/>
                <a:gd name="connsiteY1540" fmla="*/ 5522168 h 6479439"/>
                <a:gd name="connsiteX1541" fmla="*/ 2871737 w 9586368"/>
                <a:gd name="connsiteY1541" fmla="*/ 5522168 h 6479439"/>
                <a:gd name="connsiteX1542" fmla="*/ 2867717 w 9586368"/>
                <a:gd name="connsiteY1542" fmla="*/ 5518129 h 6479439"/>
                <a:gd name="connsiteX1543" fmla="*/ 2867717 w 9586368"/>
                <a:gd name="connsiteY1543" fmla="*/ 5508258 h 6479439"/>
                <a:gd name="connsiteX1544" fmla="*/ 2632423 w 9586368"/>
                <a:gd name="connsiteY1544" fmla="*/ 5504220 h 6479439"/>
                <a:gd name="connsiteX1545" fmla="*/ 2642334 w 9586368"/>
                <a:gd name="connsiteY1545" fmla="*/ 5504220 h 6479439"/>
                <a:gd name="connsiteX1546" fmla="*/ 2646352 w 9586368"/>
                <a:gd name="connsiteY1546" fmla="*/ 5508258 h 6479439"/>
                <a:gd name="connsiteX1547" fmla="*/ 2646352 w 9586368"/>
                <a:gd name="connsiteY1547" fmla="*/ 5518129 h 6479439"/>
                <a:gd name="connsiteX1548" fmla="*/ 2642334 w 9586368"/>
                <a:gd name="connsiteY1548" fmla="*/ 5522168 h 6479439"/>
                <a:gd name="connsiteX1549" fmla="*/ 2632423 w 9586368"/>
                <a:gd name="connsiteY1549" fmla="*/ 5522168 h 6479439"/>
                <a:gd name="connsiteX1550" fmla="*/ 2628404 w 9586368"/>
                <a:gd name="connsiteY1550" fmla="*/ 5518129 h 6479439"/>
                <a:gd name="connsiteX1551" fmla="*/ 2628404 w 9586368"/>
                <a:gd name="connsiteY1551" fmla="*/ 5508258 h 6479439"/>
                <a:gd name="connsiteX1552" fmla="*/ 2393104 w 9586368"/>
                <a:gd name="connsiteY1552" fmla="*/ 5504220 h 6479439"/>
                <a:gd name="connsiteX1553" fmla="*/ 2403015 w 9586368"/>
                <a:gd name="connsiteY1553" fmla="*/ 5504220 h 6479439"/>
                <a:gd name="connsiteX1554" fmla="*/ 2407034 w 9586368"/>
                <a:gd name="connsiteY1554" fmla="*/ 5508258 h 6479439"/>
                <a:gd name="connsiteX1555" fmla="*/ 2407034 w 9586368"/>
                <a:gd name="connsiteY1555" fmla="*/ 5518129 h 6479439"/>
                <a:gd name="connsiteX1556" fmla="*/ 2403015 w 9586368"/>
                <a:gd name="connsiteY1556" fmla="*/ 5522168 h 6479439"/>
                <a:gd name="connsiteX1557" fmla="*/ 2393104 w 9586368"/>
                <a:gd name="connsiteY1557" fmla="*/ 5522168 h 6479439"/>
                <a:gd name="connsiteX1558" fmla="*/ 2389087 w 9586368"/>
                <a:gd name="connsiteY1558" fmla="*/ 5518129 h 6479439"/>
                <a:gd name="connsiteX1559" fmla="*/ 2389087 w 9586368"/>
                <a:gd name="connsiteY1559" fmla="*/ 5508258 h 6479439"/>
                <a:gd name="connsiteX1560" fmla="*/ 2157818 w 9586368"/>
                <a:gd name="connsiteY1560" fmla="*/ 5504220 h 6479439"/>
                <a:gd name="connsiteX1561" fmla="*/ 2167728 w 9586368"/>
                <a:gd name="connsiteY1561" fmla="*/ 5504220 h 6479439"/>
                <a:gd name="connsiteX1562" fmla="*/ 2171748 w 9586368"/>
                <a:gd name="connsiteY1562" fmla="*/ 5508258 h 6479439"/>
                <a:gd name="connsiteX1563" fmla="*/ 2171748 w 9586368"/>
                <a:gd name="connsiteY1563" fmla="*/ 5518129 h 6479439"/>
                <a:gd name="connsiteX1564" fmla="*/ 2167728 w 9586368"/>
                <a:gd name="connsiteY1564" fmla="*/ 5522168 h 6479439"/>
                <a:gd name="connsiteX1565" fmla="*/ 2157818 w 9586368"/>
                <a:gd name="connsiteY1565" fmla="*/ 5522168 h 6479439"/>
                <a:gd name="connsiteX1566" fmla="*/ 2153799 w 9586368"/>
                <a:gd name="connsiteY1566" fmla="*/ 5518129 h 6479439"/>
                <a:gd name="connsiteX1567" fmla="*/ 2153799 w 9586368"/>
                <a:gd name="connsiteY1567" fmla="*/ 5508258 h 6479439"/>
                <a:gd name="connsiteX1568" fmla="*/ 1918510 w 9586368"/>
                <a:gd name="connsiteY1568" fmla="*/ 5504220 h 6479439"/>
                <a:gd name="connsiteX1569" fmla="*/ 1928420 w 9586368"/>
                <a:gd name="connsiteY1569" fmla="*/ 5504220 h 6479439"/>
                <a:gd name="connsiteX1570" fmla="*/ 1932438 w 9586368"/>
                <a:gd name="connsiteY1570" fmla="*/ 5508258 h 6479439"/>
                <a:gd name="connsiteX1571" fmla="*/ 1932438 w 9586368"/>
                <a:gd name="connsiteY1571" fmla="*/ 5518129 h 6479439"/>
                <a:gd name="connsiteX1572" fmla="*/ 1928420 w 9586368"/>
                <a:gd name="connsiteY1572" fmla="*/ 5522168 h 6479439"/>
                <a:gd name="connsiteX1573" fmla="*/ 1918510 w 9586368"/>
                <a:gd name="connsiteY1573" fmla="*/ 5522168 h 6479439"/>
                <a:gd name="connsiteX1574" fmla="*/ 1914490 w 9586368"/>
                <a:gd name="connsiteY1574" fmla="*/ 5518129 h 6479439"/>
                <a:gd name="connsiteX1575" fmla="*/ 1914490 w 9586368"/>
                <a:gd name="connsiteY1575" fmla="*/ 5508258 h 6479439"/>
                <a:gd name="connsiteX1576" fmla="*/ 1679202 w 9586368"/>
                <a:gd name="connsiteY1576" fmla="*/ 5504220 h 6479439"/>
                <a:gd name="connsiteX1577" fmla="*/ 1689112 w 9586368"/>
                <a:gd name="connsiteY1577" fmla="*/ 5504220 h 6479439"/>
                <a:gd name="connsiteX1578" fmla="*/ 1693132 w 9586368"/>
                <a:gd name="connsiteY1578" fmla="*/ 5508258 h 6479439"/>
                <a:gd name="connsiteX1579" fmla="*/ 1693132 w 9586368"/>
                <a:gd name="connsiteY1579" fmla="*/ 5518129 h 6479439"/>
                <a:gd name="connsiteX1580" fmla="*/ 1689112 w 9586368"/>
                <a:gd name="connsiteY1580" fmla="*/ 5522168 h 6479439"/>
                <a:gd name="connsiteX1581" fmla="*/ 1679202 w 9586368"/>
                <a:gd name="connsiteY1581" fmla="*/ 5522168 h 6479439"/>
                <a:gd name="connsiteX1582" fmla="*/ 1675184 w 9586368"/>
                <a:gd name="connsiteY1582" fmla="*/ 5518129 h 6479439"/>
                <a:gd name="connsiteX1583" fmla="*/ 1675184 w 9586368"/>
                <a:gd name="connsiteY1583" fmla="*/ 5508258 h 6479439"/>
                <a:gd name="connsiteX1584" fmla="*/ 1439887 w 9586368"/>
                <a:gd name="connsiteY1584" fmla="*/ 5504220 h 6479439"/>
                <a:gd name="connsiteX1585" fmla="*/ 1449797 w 9586368"/>
                <a:gd name="connsiteY1585" fmla="*/ 5504220 h 6479439"/>
                <a:gd name="connsiteX1586" fmla="*/ 1453815 w 9586368"/>
                <a:gd name="connsiteY1586" fmla="*/ 5508258 h 6479439"/>
                <a:gd name="connsiteX1587" fmla="*/ 1453815 w 9586368"/>
                <a:gd name="connsiteY1587" fmla="*/ 5518129 h 6479439"/>
                <a:gd name="connsiteX1588" fmla="*/ 1449797 w 9586368"/>
                <a:gd name="connsiteY1588" fmla="*/ 5522168 h 6479439"/>
                <a:gd name="connsiteX1589" fmla="*/ 1439887 w 9586368"/>
                <a:gd name="connsiteY1589" fmla="*/ 5522168 h 6479439"/>
                <a:gd name="connsiteX1590" fmla="*/ 1435869 w 9586368"/>
                <a:gd name="connsiteY1590" fmla="*/ 5518129 h 6479439"/>
                <a:gd name="connsiteX1591" fmla="*/ 1435869 w 9586368"/>
                <a:gd name="connsiteY1591" fmla="*/ 5508258 h 6479439"/>
                <a:gd name="connsiteX1592" fmla="*/ 1200572 w 9586368"/>
                <a:gd name="connsiteY1592" fmla="*/ 5504220 h 6479439"/>
                <a:gd name="connsiteX1593" fmla="*/ 1210483 w 9586368"/>
                <a:gd name="connsiteY1593" fmla="*/ 5504220 h 6479439"/>
                <a:gd name="connsiteX1594" fmla="*/ 1214501 w 9586368"/>
                <a:gd name="connsiteY1594" fmla="*/ 5508258 h 6479439"/>
                <a:gd name="connsiteX1595" fmla="*/ 1214501 w 9586368"/>
                <a:gd name="connsiteY1595" fmla="*/ 5518129 h 6479439"/>
                <a:gd name="connsiteX1596" fmla="*/ 1210483 w 9586368"/>
                <a:gd name="connsiteY1596" fmla="*/ 5522168 h 6479439"/>
                <a:gd name="connsiteX1597" fmla="*/ 1200572 w 9586368"/>
                <a:gd name="connsiteY1597" fmla="*/ 5522168 h 6479439"/>
                <a:gd name="connsiteX1598" fmla="*/ 1196554 w 9586368"/>
                <a:gd name="connsiteY1598" fmla="*/ 5518129 h 6479439"/>
                <a:gd name="connsiteX1599" fmla="*/ 1196554 w 9586368"/>
                <a:gd name="connsiteY1599" fmla="*/ 5508258 h 6479439"/>
                <a:gd name="connsiteX1600" fmla="*/ 961260 w 9586368"/>
                <a:gd name="connsiteY1600" fmla="*/ 5504220 h 6479439"/>
                <a:gd name="connsiteX1601" fmla="*/ 971169 w 9586368"/>
                <a:gd name="connsiteY1601" fmla="*/ 5504220 h 6479439"/>
                <a:gd name="connsiteX1602" fmla="*/ 975189 w 9586368"/>
                <a:gd name="connsiteY1602" fmla="*/ 5508258 h 6479439"/>
                <a:gd name="connsiteX1603" fmla="*/ 975189 w 9586368"/>
                <a:gd name="connsiteY1603" fmla="*/ 5518129 h 6479439"/>
                <a:gd name="connsiteX1604" fmla="*/ 971169 w 9586368"/>
                <a:gd name="connsiteY1604" fmla="*/ 5522168 h 6479439"/>
                <a:gd name="connsiteX1605" fmla="*/ 961260 w 9586368"/>
                <a:gd name="connsiteY1605" fmla="*/ 5522168 h 6479439"/>
                <a:gd name="connsiteX1606" fmla="*/ 957241 w 9586368"/>
                <a:gd name="connsiteY1606" fmla="*/ 5518129 h 6479439"/>
                <a:gd name="connsiteX1607" fmla="*/ 957241 w 9586368"/>
                <a:gd name="connsiteY1607" fmla="*/ 5508258 h 6479439"/>
                <a:gd name="connsiteX1608" fmla="*/ 721961 w 9586368"/>
                <a:gd name="connsiteY1608" fmla="*/ 5504220 h 6479439"/>
                <a:gd name="connsiteX1609" fmla="*/ 731871 w 9586368"/>
                <a:gd name="connsiteY1609" fmla="*/ 5504220 h 6479439"/>
                <a:gd name="connsiteX1610" fmla="*/ 735890 w 9586368"/>
                <a:gd name="connsiteY1610" fmla="*/ 5508258 h 6479439"/>
                <a:gd name="connsiteX1611" fmla="*/ 735890 w 9586368"/>
                <a:gd name="connsiteY1611" fmla="*/ 5518129 h 6479439"/>
                <a:gd name="connsiteX1612" fmla="*/ 731871 w 9586368"/>
                <a:gd name="connsiteY1612" fmla="*/ 5522168 h 6479439"/>
                <a:gd name="connsiteX1613" fmla="*/ 721961 w 9586368"/>
                <a:gd name="connsiteY1613" fmla="*/ 5522168 h 6479439"/>
                <a:gd name="connsiteX1614" fmla="*/ 717942 w 9586368"/>
                <a:gd name="connsiteY1614" fmla="*/ 5518129 h 6479439"/>
                <a:gd name="connsiteX1615" fmla="*/ 717942 w 9586368"/>
                <a:gd name="connsiteY1615" fmla="*/ 5508258 h 6479439"/>
                <a:gd name="connsiteX1616" fmla="*/ 482649 w 9586368"/>
                <a:gd name="connsiteY1616" fmla="*/ 5504220 h 6479439"/>
                <a:gd name="connsiteX1617" fmla="*/ 492559 w 9586368"/>
                <a:gd name="connsiteY1617" fmla="*/ 5504220 h 6479439"/>
                <a:gd name="connsiteX1618" fmla="*/ 496578 w 9586368"/>
                <a:gd name="connsiteY1618" fmla="*/ 5508258 h 6479439"/>
                <a:gd name="connsiteX1619" fmla="*/ 496578 w 9586368"/>
                <a:gd name="connsiteY1619" fmla="*/ 5518129 h 6479439"/>
                <a:gd name="connsiteX1620" fmla="*/ 492559 w 9586368"/>
                <a:gd name="connsiteY1620" fmla="*/ 5522168 h 6479439"/>
                <a:gd name="connsiteX1621" fmla="*/ 482649 w 9586368"/>
                <a:gd name="connsiteY1621" fmla="*/ 5522168 h 6479439"/>
                <a:gd name="connsiteX1622" fmla="*/ 478630 w 9586368"/>
                <a:gd name="connsiteY1622" fmla="*/ 5518129 h 6479439"/>
                <a:gd name="connsiteX1623" fmla="*/ 478630 w 9586368"/>
                <a:gd name="connsiteY1623" fmla="*/ 5508258 h 6479439"/>
                <a:gd name="connsiteX1624" fmla="*/ 243335 w 9586368"/>
                <a:gd name="connsiteY1624" fmla="*/ 5504220 h 6479439"/>
                <a:gd name="connsiteX1625" fmla="*/ 253245 w 9586368"/>
                <a:gd name="connsiteY1625" fmla="*/ 5504220 h 6479439"/>
                <a:gd name="connsiteX1626" fmla="*/ 257264 w 9586368"/>
                <a:gd name="connsiteY1626" fmla="*/ 5508258 h 6479439"/>
                <a:gd name="connsiteX1627" fmla="*/ 257264 w 9586368"/>
                <a:gd name="connsiteY1627" fmla="*/ 5518129 h 6479439"/>
                <a:gd name="connsiteX1628" fmla="*/ 253245 w 9586368"/>
                <a:gd name="connsiteY1628" fmla="*/ 5522168 h 6479439"/>
                <a:gd name="connsiteX1629" fmla="*/ 243335 w 9586368"/>
                <a:gd name="connsiteY1629" fmla="*/ 5522168 h 6479439"/>
                <a:gd name="connsiteX1630" fmla="*/ 239316 w 9586368"/>
                <a:gd name="connsiteY1630" fmla="*/ 5518129 h 6479439"/>
                <a:gd name="connsiteX1631" fmla="*/ 239316 w 9586368"/>
                <a:gd name="connsiteY1631" fmla="*/ 5508258 h 6479439"/>
                <a:gd name="connsiteX1632" fmla="*/ 4022 w 9586368"/>
                <a:gd name="connsiteY1632" fmla="*/ 5504220 h 6479439"/>
                <a:gd name="connsiteX1633" fmla="*/ 13932 w 9586368"/>
                <a:gd name="connsiteY1633" fmla="*/ 5504220 h 6479439"/>
                <a:gd name="connsiteX1634" fmla="*/ 17951 w 9586368"/>
                <a:gd name="connsiteY1634" fmla="*/ 5508258 h 6479439"/>
                <a:gd name="connsiteX1635" fmla="*/ 17951 w 9586368"/>
                <a:gd name="connsiteY1635" fmla="*/ 5518129 h 6479439"/>
                <a:gd name="connsiteX1636" fmla="*/ 13932 w 9586368"/>
                <a:gd name="connsiteY1636" fmla="*/ 5522168 h 6479439"/>
                <a:gd name="connsiteX1637" fmla="*/ 4022 w 9586368"/>
                <a:gd name="connsiteY1637" fmla="*/ 5522168 h 6479439"/>
                <a:gd name="connsiteX1638" fmla="*/ 3 w 9586368"/>
                <a:gd name="connsiteY1638" fmla="*/ 5518129 h 6479439"/>
                <a:gd name="connsiteX1639" fmla="*/ 3 w 9586368"/>
                <a:gd name="connsiteY1639" fmla="*/ 5508258 h 6479439"/>
                <a:gd name="connsiteX1640" fmla="*/ 2157818 w 9586368"/>
                <a:gd name="connsiteY1640" fmla="*/ 5264940 h 6479439"/>
                <a:gd name="connsiteX1641" fmla="*/ 2167729 w 9586368"/>
                <a:gd name="connsiteY1641" fmla="*/ 5264940 h 6479439"/>
                <a:gd name="connsiteX1642" fmla="*/ 2171748 w 9586368"/>
                <a:gd name="connsiteY1642" fmla="*/ 5268978 h 6479439"/>
                <a:gd name="connsiteX1643" fmla="*/ 2171748 w 9586368"/>
                <a:gd name="connsiteY1643" fmla="*/ 5278849 h 6479439"/>
                <a:gd name="connsiteX1644" fmla="*/ 2167729 w 9586368"/>
                <a:gd name="connsiteY1644" fmla="*/ 5282888 h 6479439"/>
                <a:gd name="connsiteX1645" fmla="*/ 2157818 w 9586368"/>
                <a:gd name="connsiteY1645" fmla="*/ 5282888 h 6479439"/>
                <a:gd name="connsiteX1646" fmla="*/ 2153799 w 9586368"/>
                <a:gd name="connsiteY1646" fmla="*/ 5278849 h 6479439"/>
                <a:gd name="connsiteX1647" fmla="*/ 2153799 w 9586368"/>
                <a:gd name="connsiteY1647" fmla="*/ 5268978 h 6479439"/>
                <a:gd name="connsiteX1648" fmla="*/ 1918510 w 9586368"/>
                <a:gd name="connsiteY1648" fmla="*/ 5264940 h 6479439"/>
                <a:gd name="connsiteX1649" fmla="*/ 1928420 w 9586368"/>
                <a:gd name="connsiteY1649" fmla="*/ 5264940 h 6479439"/>
                <a:gd name="connsiteX1650" fmla="*/ 1932438 w 9586368"/>
                <a:gd name="connsiteY1650" fmla="*/ 5268978 h 6479439"/>
                <a:gd name="connsiteX1651" fmla="*/ 1932438 w 9586368"/>
                <a:gd name="connsiteY1651" fmla="*/ 5278849 h 6479439"/>
                <a:gd name="connsiteX1652" fmla="*/ 1928420 w 9586368"/>
                <a:gd name="connsiteY1652" fmla="*/ 5282888 h 6479439"/>
                <a:gd name="connsiteX1653" fmla="*/ 1918510 w 9586368"/>
                <a:gd name="connsiteY1653" fmla="*/ 5282888 h 6479439"/>
                <a:gd name="connsiteX1654" fmla="*/ 1914492 w 9586368"/>
                <a:gd name="connsiteY1654" fmla="*/ 5278849 h 6479439"/>
                <a:gd name="connsiteX1655" fmla="*/ 1914492 w 9586368"/>
                <a:gd name="connsiteY1655" fmla="*/ 5268978 h 6479439"/>
                <a:gd name="connsiteX1656" fmla="*/ 1679204 w 9586368"/>
                <a:gd name="connsiteY1656" fmla="*/ 5264940 h 6479439"/>
                <a:gd name="connsiteX1657" fmla="*/ 1689113 w 9586368"/>
                <a:gd name="connsiteY1657" fmla="*/ 5264940 h 6479439"/>
                <a:gd name="connsiteX1658" fmla="*/ 1693132 w 9586368"/>
                <a:gd name="connsiteY1658" fmla="*/ 5268978 h 6479439"/>
                <a:gd name="connsiteX1659" fmla="*/ 1693132 w 9586368"/>
                <a:gd name="connsiteY1659" fmla="*/ 5278849 h 6479439"/>
                <a:gd name="connsiteX1660" fmla="*/ 1689113 w 9586368"/>
                <a:gd name="connsiteY1660" fmla="*/ 5282888 h 6479439"/>
                <a:gd name="connsiteX1661" fmla="*/ 1679204 w 9586368"/>
                <a:gd name="connsiteY1661" fmla="*/ 5282888 h 6479439"/>
                <a:gd name="connsiteX1662" fmla="*/ 1675184 w 9586368"/>
                <a:gd name="connsiteY1662" fmla="*/ 5278849 h 6479439"/>
                <a:gd name="connsiteX1663" fmla="*/ 1675184 w 9586368"/>
                <a:gd name="connsiteY1663" fmla="*/ 5268978 h 6479439"/>
                <a:gd name="connsiteX1664" fmla="*/ 1439889 w 9586368"/>
                <a:gd name="connsiteY1664" fmla="*/ 5264940 h 6479439"/>
                <a:gd name="connsiteX1665" fmla="*/ 1449798 w 9586368"/>
                <a:gd name="connsiteY1665" fmla="*/ 5264940 h 6479439"/>
                <a:gd name="connsiteX1666" fmla="*/ 1453817 w 9586368"/>
                <a:gd name="connsiteY1666" fmla="*/ 5268978 h 6479439"/>
                <a:gd name="connsiteX1667" fmla="*/ 1453817 w 9586368"/>
                <a:gd name="connsiteY1667" fmla="*/ 5278849 h 6479439"/>
                <a:gd name="connsiteX1668" fmla="*/ 1449798 w 9586368"/>
                <a:gd name="connsiteY1668" fmla="*/ 5282888 h 6479439"/>
                <a:gd name="connsiteX1669" fmla="*/ 1439889 w 9586368"/>
                <a:gd name="connsiteY1669" fmla="*/ 5282888 h 6479439"/>
                <a:gd name="connsiteX1670" fmla="*/ 1435869 w 9586368"/>
                <a:gd name="connsiteY1670" fmla="*/ 5278849 h 6479439"/>
                <a:gd name="connsiteX1671" fmla="*/ 1435869 w 9586368"/>
                <a:gd name="connsiteY1671" fmla="*/ 5268978 h 6479439"/>
                <a:gd name="connsiteX1672" fmla="*/ 1200573 w 9586368"/>
                <a:gd name="connsiteY1672" fmla="*/ 5264940 h 6479439"/>
                <a:gd name="connsiteX1673" fmla="*/ 1210483 w 9586368"/>
                <a:gd name="connsiteY1673" fmla="*/ 5264940 h 6479439"/>
                <a:gd name="connsiteX1674" fmla="*/ 1214502 w 9586368"/>
                <a:gd name="connsiteY1674" fmla="*/ 5268978 h 6479439"/>
                <a:gd name="connsiteX1675" fmla="*/ 1214502 w 9586368"/>
                <a:gd name="connsiteY1675" fmla="*/ 5278849 h 6479439"/>
                <a:gd name="connsiteX1676" fmla="*/ 1210483 w 9586368"/>
                <a:gd name="connsiteY1676" fmla="*/ 5282888 h 6479439"/>
                <a:gd name="connsiteX1677" fmla="*/ 1200573 w 9586368"/>
                <a:gd name="connsiteY1677" fmla="*/ 5282888 h 6479439"/>
                <a:gd name="connsiteX1678" fmla="*/ 1196554 w 9586368"/>
                <a:gd name="connsiteY1678" fmla="*/ 5278849 h 6479439"/>
                <a:gd name="connsiteX1679" fmla="*/ 1196554 w 9586368"/>
                <a:gd name="connsiteY1679" fmla="*/ 5268978 h 6479439"/>
                <a:gd name="connsiteX1680" fmla="*/ 961260 w 9586368"/>
                <a:gd name="connsiteY1680" fmla="*/ 5264940 h 6479439"/>
                <a:gd name="connsiteX1681" fmla="*/ 971171 w 9586368"/>
                <a:gd name="connsiteY1681" fmla="*/ 5264940 h 6479439"/>
                <a:gd name="connsiteX1682" fmla="*/ 975189 w 9586368"/>
                <a:gd name="connsiteY1682" fmla="*/ 5268978 h 6479439"/>
                <a:gd name="connsiteX1683" fmla="*/ 975189 w 9586368"/>
                <a:gd name="connsiteY1683" fmla="*/ 5278849 h 6479439"/>
                <a:gd name="connsiteX1684" fmla="*/ 971171 w 9586368"/>
                <a:gd name="connsiteY1684" fmla="*/ 5282888 h 6479439"/>
                <a:gd name="connsiteX1685" fmla="*/ 961260 w 9586368"/>
                <a:gd name="connsiteY1685" fmla="*/ 5282888 h 6479439"/>
                <a:gd name="connsiteX1686" fmla="*/ 957241 w 9586368"/>
                <a:gd name="connsiteY1686" fmla="*/ 5278849 h 6479439"/>
                <a:gd name="connsiteX1687" fmla="*/ 957241 w 9586368"/>
                <a:gd name="connsiteY1687" fmla="*/ 5268978 h 6479439"/>
                <a:gd name="connsiteX1688" fmla="*/ 9572438 w 9586368"/>
                <a:gd name="connsiteY1688" fmla="*/ 5264889 h 6479439"/>
                <a:gd name="connsiteX1689" fmla="*/ 9582349 w 9586368"/>
                <a:gd name="connsiteY1689" fmla="*/ 5264889 h 6479439"/>
                <a:gd name="connsiteX1690" fmla="*/ 9586368 w 9586368"/>
                <a:gd name="connsiteY1690" fmla="*/ 5268928 h 6479439"/>
                <a:gd name="connsiteX1691" fmla="*/ 9586368 w 9586368"/>
                <a:gd name="connsiteY1691" fmla="*/ 5278799 h 6479439"/>
                <a:gd name="connsiteX1692" fmla="*/ 9582349 w 9586368"/>
                <a:gd name="connsiteY1692" fmla="*/ 5282838 h 6479439"/>
                <a:gd name="connsiteX1693" fmla="*/ 9572438 w 9586368"/>
                <a:gd name="connsiteY1693" fmla="*/ 5282838 h 6479439"/>
                <a:gd name="connsiteX1694" fmla="*/ 9568419 w 9586368"/>
                <a:gd name="connsiteY1694" fmla="*/ 5278799 h 6479439"/>
                <a:gd name="connsiteX1695" fmla="*/ 9568419 w 9586368"/>
                <a:gd name="connsiteY1695" fmla="*/ 5268928 h 6479439"/>
                <a:gd name="connsiteX1696" fmla="*/ 9333125 w 9586368"/>
                <a:gd name="connsiteY1696" fmla="*/ 5264889 h 6479439"/>
                <a:gd name="connsiteX1697" fmla="*/ 9343036 w 9586368"/>
                <a:gd name="connsiteY1697" fmla="*/ 5264889 h 6479439"/>
                <a:gd name="connsiteX1698" fmla="*/ 9347055 w 9586368"/>
                <a:gd name="connsiteY1698" fmla="*/ 5268928 h 6479439"/>
                <a:gd name="connsiteX1699" fmla="*/ 9347055 w 9586368"/>
                <a:gd name="connsiteY1699" fmla="*/ 5278799 h 6479439"/>
                <a:gd name="connsiteX1700" fmla="*/ 9343036 w 9586368"/>
                <a:gd name="connsiteY1700" fmla="*/ 5282838 h 6479439"/>
                <a:gd name="connsiteX1701" fmla="*/ 9333125 w 9586368"/>
                <a:gd name="connsiteY1701" fmla="*/ 5282838 h 6479439"/>
                <a:gd name="connsiteX1702" fmla="*/ 9329106 w 9586368"/>
                <a:gd name="connsiteY1702" fmla="*/ 5278799 h 6479439"/>
                <a:gd name="connsiteX1703" fmla="*/ 9329106 w 9586368"/>
                <a:gd name="connsiteY1703" fmla="*/ 5268928 h 6479439"/>
                <a:gd name="connsiteX1704" fmla="*/ 9093811 w 9586368"/>
                <a:gd name="connsiteY1704" fmla="*/ 5264889 h 6479439"/>
                <a:gd name="connsiteX1705" fmla="*/ 9103722 w 9586368"/>
                <a:gd name="connsiteY1705" fmla="*/ 5264889 h 6479439"/>
                <a:gd name="connsiteX1706" fmla="*/ 9107741 w 9586368"/>
                <a:gd name="connsiteY1706" fmla="*/ 5268928 h 6479439"/>
                <a:gd name="connsiteX1707" fmla="*/ 9107741 w 9586368"/>
                <a:gd name="connsiteY1707" fmla="*/ 5278799 h 6479439"/>
                <a:gd name="connsiteX1708" fmla="*/ 9103722 w 9586368"/>
                <a:gd name="connsiteY1708" fmla="*/ 5282838 h 6479439"/>
                <a:gd name="connsiteX1709" fmla="*/ 9093811 w 9586368"/>
                <a:gd name="connsiteY1709" fmla="*/ 5282838 h 6479439"/>
                <a:gd name="connsiteX1710" fmla="*/ 9089792 w 9586368"/>
                <a:gd name="connsiteY1710" fmla="*/ 5278799 h 6479439"/>
                <a:gd name="connsiteX1711" fmla="*/ 9089792 w 9586368"/>
                <a:gd name="connsiteY1711" fmla="*/ 5268928 h 6479439"/>
                <a:gd name="connsiteX1712" fmla="*/ 8854496 w 9586368"/>
                <a:gd name="connsiteY1712" fmla="*/ 5264889 h 6479439"/>
                <a:gd name="connsiteX1713" fmla="*/ 8864407 w 9586368"/>
                <a:gd name="connsiteY1713" fmla="*/ 5264889 h 6479439"/>
                <a:gd name="connsiteX1714" fmla="*/ 8868426 w 9586368"/>
                <a:gd name="connsiteY1714" fmla="*/ 5268928 h 6479439"/>
                <a:gd name="connsiteX1715" fmla="*/ 8868426 w 9586368"/>
                <a:gd name="connsiteY1715" fmla="*/ 5278799 h 6479439"/>
                <a:gd name="connsiteX1716" fmla="*/ 8864407 w 9586368"/>
                <a:gd name="connsiteY1716" fmla="*/ 5282838 h 6479439"/>
                <a:gd name="connsiteX1717" fmla="*/ 8854496 w 9586368"/>
                <a:gd name="connsiteY1717" fmla="*/ 5282838 h 6479439"/>
                <a:gd name="connsiteX1718" fmla="*/ 8850477 w 9586368"/>
                <a:gd name="connsiteY1718" fmla="*/ 5278799 h 6479439"/>
                <a:gd name="connsiteX1719" fmla="*/ 8850477 w 9586368"/>
                <a:gd name="connsiteY1719" fmla="*/ 5268928 h 6479439"/>
                <a:gd name="connsiteX1720" fmla="*/ 8615184 w 9586368"/>
                <a:gd name="connsiteY1720" fmla="*/ 5264889 h 6479439"/>
                <a:gd name="connsiteX1721" fmla="*/ 8625095 w 9586368"/>
                <a:gd name="connsiteY1721" fmla="*/ 5264889 h 6479439"/>
                <a:gd name="connsiteX1722" fmla="*/ 8629114 w 9586368"/>
                <a:gd name="connsiteY1722" fmla="*/ 5268928 h 6479439"/>
                <a:gd name="connsiteX1723" fmla="*/ 8629114 w 9586368"/>
                <a:gd name="connsiteY1723" fmla="*/ 5278799 h 6479439"/>
                <a:gd name="connsiteX1724" fmla="*/ 8625095 w 9586368"/>
                <a:gd name="connsiteY1724" fmla="*/ 5282838 h 6479439"/>
                <a:gd name="connsiteX1725" fmla="*/ 8615184 w 9586368"/>
                <a:gd name="connsiteY1725" fmla="*/ 5282838 h 6479439"/>
                <a:gd name="connsiteX1726" fmla="*/ 8611165 w 9586368"/>
                <a:gd name="connsiteY1726" fmla="*/ 5278799 h 6479439"/>
                <a:gd name="connsiteX1727" fmla="*/ 8611165 w 9586368"/>
                <a:gd name="connsiteY1727" fmla="*/ 5268928 h 6479439"/>
                <a:gd name="connsiteX1728" fmla="*/ 8375869 w 9586368"/>
                <a:gd name="connsiteY1728" fmla="*/ 5264889 h 6479439"/>
                <a:gd name="connsiteX1729" fmla="*/ 8385779 w 9586368"/>
                <a:gd name="connsiteY1729" fmla="*/ 5264889 h 6479439"/>
                <a:gd name="connsiteX1730" fmla="*/ 8389799 w 9586368"/>
                <a:gd name="connsiteY1730" fmla="*/ 5268928 h 6479439"/>
                <a:gd name="connsiteX1731" fmla="*/ 8389799 w 9586368"/>
                <a:gd name="connsiteY1731" fmla="*/ 5278799 h 6479439"/>
                <a:gd name="connsiteX1732" fmla="*/ 8385779 w 9586368"/>
                <a:gd name="connsiteY1732" fmla="*/ 5282838 h 6479439"/>
                <a:gd name="connsiteX1733" fmla="*/ 8375869 w 9586368"/>
                <a:gd name="connsiteY1733" fmla="*/ 5282838 h 6479439"/>
                <a:gd name="connsiteX1734" fmla="*/ 8371850 w 9586368"/>
                <a:gd name="connsiteY1734" fmla="*/ 5278799 h 6479439"/>
                <a:gd name="connsiteX1735" fmla="*/ 8371850 w 9586368"/>
                <a:gd name="connsiteY1735" fmla="*/ 5268928 h 6479439"/>
                <a:gd name="connsiteX1736" fmla="*/ 8136553 w 9586368"/>
                <a:gd name="connsiteY1736" fmla="*/ 5264889 h 6479439"/>
                <a:gd name="connsiteX1737" fmla="*/ 8146464 w 9586368"/>
                <a:gd name="connsiteY1737" fmla="*/ 5264889 h 6479439"/>
                <a:gd name="connsiteX1738" fmla="*/ 8150483 w 9586368"/>
                <a:gd name="connsiteY1738" fmla="*/ 5268928 h 6479439"/>
                <a:gd name="connsiteX1739" fmla="*/ 8150483 w 9586368"/>
                <a:gd name="connsiteY1739" fmla="*/ 5278799 h 6479439"/>
                <a:gd name="connsiteX1740" fmla="*/ 8146464 w 9586368"/>
                <a:gd name="connsiteY1740" fmla="*/ 5282838 h 6479439"/>
                <a:gd name="connsiteX1741" fmla="*/ 8136553 w 9586368"/>
                <a:gd name="connsiteY1741" fmla="*/ 5282838 h 6479439"/>
                <a:gd name="connsiteX1742" fmla="*/ 8132534 w 9586368"/>
                <a:gd name="connsiteY1742" fmla="*/ 5278799 h 6479439"/>
                <a:gd name="connsiteX1743" fmla="*/ 8132534 w 9586368"/>
                <a:gd name="connsiteY1743" fmla="*/ 5268928 h 6479439"/>
                <a:gd name="connsiteX1744" fmla="*/ 7897241 w 9586368"/>
                <a:gd name="connsiteY1744" fmla="*/ 5264889 h 6479439"/>
                <a:gd name="connsiteX1745" fmla="*/ 7907151 w 9586368"/>
                <a:gd name="connsiteY1745" fmla="*/ 5264889 h 6479439"/>
                <a:gd name="connsiteX1746" fmla="*/ 7911170 w 9586368"/>
                <a:gd name="connsiteY1746" fmla="*/ 5268928 h 6479439"/>
                <a:gd name="connsiteX1747" fmla="*/ 7911170 w 9586368"/>
                <a:gd name="connsiteY1747" fmla="*/ 5278799 h 6479439"/>
                <a:gd name="connsiteX1748" fmla="*/ 7907151 w 9586368"/>
                <a:gd name="connsiteY1748" fmla="*/ 5282838 h 6479439"/>
                <a:gd name="connsiteX1749" fmla="*/ 7897241 w 9586368"/>
                <a:gd name="connsiteY1749" fmla="*/ 5282838 h 6479439"/>
                <a:gd name="connsiteX1750" fmla="*/ 7893222 w 9586368"/>
                <a:gd name="connsiteY1750" fmla="*/ 5278799 h 6479439"/>
                <a:gd name="connsiteX1751" fmla="*/ 7893222 w 9586368"/>
                <a:gd name="connsiteY1751" fmla="*/ 5268928 h 6479439"/>
                <a:gd name="connsiteX1752" fmla="*/ 7657926 w 9586368"/>
                <a:gd name="connsiteY1752" fmla="*/ 5264889 h 6479439"/>
                <a:gd name="connsiteX1753" fmla="*/ 7667836 w 9586368"/>
                <a:gd name="connsiteY1753" fmla="*/ 5264889 h 6479439"/>
                <a:gd name="connsiteX1754" fmla="*/ 7671855 w 9586368"/>
                <a:gd name="connsiteY1754" fmla="*/ 5268928 h 6479439"/>
                <a:gd name="connsiteX1755" fmla="*/ 7671855 w 9586368"/>
                <a:gd name="connsiteY1755" fmla="*/ 5278799 h 6479439"/>
                <a:gd name="connsiteX1756" fmla="*/ 7667836 w 9586368"/>
                <a:gd name="connsiteY1756" fmla="*/ 5282838 h 6479439"/>
                <a:gd name="connsiteX1757" fmla="*/ 7657926 w 9586368"/>
                <a:gd name="connsiteY1757" fmla="*/ 5282838 h 6479439"/>
                <a:gd name="connsiteX1758" fmla="*/ 7653906 w 9586368"/>
                <a:gd name="connsiteY1758" fmla="*/ 5278799 h 6479439"/>
                <a:gd name="connsiteX1759" fmla="*/ 7653906 w 9586368"/>
                <a:gd name="connsiteY1759" fmla="*/ 5268928 h 6479439"/>
                <a:gd name="connsiteX1760" fmla="*/ 7418611 w 9586368"/>
                <a:gd name="connsiteY1760" fmla="*/ 5264889 h 6479439"/>
                <a:gd name="connsiteX1761" fmla="*/ 7428521 w 9586368"/>
                <a:gd name="connsiteY1761" fmla="*/ 5264889 h 6479439"/>
                <a:gd name="connsiteX1762" fmla="*/ 7432540 w 9586368"/>
                <a:gd name="connsiteY1762" fmla="*/ 5268928 h 6479439"/>
                <a:gd name="connsiteX1763" fmla="*/ 7432540 w 9586368"/>
                <a:gd name="connsiteY1763" fmla="*/ 5278799 h 6479439"/>
                <a:gd name="connsiteX1764" fmla="*/ 7428521 w 9586368"/>
                <a:gd name="connsiteY1764" fmla="*/ 5282838 h 6479439"/>
                <a:gd name="connsiteX1765" fmla="*/ 7418611 w 9586368"/>
                <a:gd name="connsiteY1765" fmla="*/ 5282838 h 6479439"/>
                <a:gd name="connsiteX1766" fmla="*/ 7414592 w 9586368"/>
                <a:gd name="connsiteY1766" fmla="*/ 5278799 h 6479439"/>
                <a:gd name="connsiteX1767" fmla="*/ 7414592 w 9586368"/>
                <a:gd name="connsiteY1767" fmla="*/ 5268928 h 6479439"/>
                <a:gd name="connsiteX1768" fmla="*/ 7179298 w 9586368"/>
                <a:gd name="connsiteY1768" fmla="*/ 5264889 h 6479439"/>
                <a:gd name="connsiteX1769" fmla="*/ 7189209 w 9586368"/>
                <a:gd name="connsiteY1769" fmla="*/ 5264889 h 6479439"/>
                <a:gd name="connsiteX1770" fmla="*/ 7193228 w 9586368"/>
                <a:gd name="connsiteY1770" fmla="*/ 5268928 h 6479439"/>
                <a:gd name="connsiteX1771" fmla="*/ 7193228 w 9586368"/>
                <a:gd name="connsiteY1771" fmla="*/ 5278799 h 6479439"/>
                <a:gd name="connsiteX1772" fmla="*/ 7189209 w 9586368"/>
                <a:gd name="connsiteY1772" fmla="*/ 5282838 h 6479439"/>
                <a:gd name="connsiteX1773" fmla="*/ 7179298 w 9586368"/>
                <a:gd name="connsiteY1773" fmla="*/ 5282838 h 6479439"/>
                <a:gd name="connsiteX1774" fmla="*/ 7175279 w 9586368"/>
                <a:gd name="connsiteY1774" fmla="*/ 5278799 h 6479439"/>
                <a:gd name="connsiteX1775" fmla="*/ 7175279 w 9586368"/>
                <a:gd name="connsiteY1775" fmla="*/ 5268928 h 6479439"/>
                <a:gd name="connsiteX1776" fmla="*/ 6939983 w 9586368"/>
                <a:gd name="connsiteY1776" fmla="*/ 5264889 h 6479439"/>
                <a:gd name="connsiteX1777" fmla="*/ 6949894 w 9586368"/>
                <a:gd name="connsiteY1777" fmla="*/ 5264889 h 6479439"/>
                <a:gd name="connsiteX1778" fmla="*/ 6953913 w 9586368"/>
                <a:gd name="connsiteY1778" fmla="*/ 5268928 h 6479439"/>
                <a:gd name="connsiteX1779" fmla="*/ 6953913 w 9586368"/>
                <a:gd name="connsiteY1779" fmla="*/ 5278799 h 6479439"/>
                <a:gd name="connsiteX1780" fmla="*/ 6949894 w 9586368"/>
                <a:gd name="connsiteY1780" fmla="*/ 5282838 h 6479439"/>
                <a:gd name="connsiteX1781" fmla="*/ 6939983 w 9586368"/>
                <a:gd name="connsiteY1781" fmla="*/ 5282838 h 6479439"/>
                <a:gd name="connsiteX1782" fmla="*/ 6935964 w 9586368"/>
                <a:gd name="connsiteY1782" fmla="*/ 5278799 h 6479439"/>
                <a:gd name="connsiteX1783" fmla="*/ 6935964 w 9586368"/>
                <a:gd name="connsiteY1783" fmla="*/ 5268928 h 6479439"/>
                <a:gd name="connsiteX1784" fmla="*/ 6700670 w 9586368"/>
                <a:gd name="connsiteY1784" fmla="*/ 5264889 h 6479439"/>
                <a:gd name="connsiteX1785" fmla="*/ 6710581 w 9586368"/>
                <a:gd name="connsiteY1785" fmla="*/ 5264889 h 6479439"/>
                <a:gd name="connsiteX1786" fmla="*/ 6714600 w 9586368"/>
                <a:gd name="connsiteY1786" fmla="*/ 5268928 h 6479439"/>
                <a:gd name="connsiteX1787" fmla="*/ 6714600 w 9586368"/>
                <a:gd name="connsiteY1787" fmla="*/ 5278799 h 6479439"/>
                <a:gd name="connsiteX1788" fmla="*/ 6710581 w 9586368"/>
                <a:gd name="connsiteY1788" fmla="*/ 5282838 h 6479439"/>
                <a:gd name="connsiteX1789" fmla="*/ 6700670 w 9586368"/>
                <a:gd name="connsiteY1789" fmla="*/ 5282838 h 6479439"/>
                <a:gd name="connsiteX1790" fmla="*/ 6696651 w 9586368"/>
                <a:gd name="connsiteY1790" fmla="*/ 5278799 h 6479439"/>
                <a:gd name="connsiteX1791" fmla="*/ 6696651 w 9586368"/>
                <a:gd name="connsiteY1791" fmla="*/ 5268928 h 6479439"/>
                <a:gd name="connsiteX1792" fmla="*/ 6461356 w 9586368"/>
                <a:gd name="connsiteY1792" fmla="*/ 5264889 h 6479439"/>
                <a:gd name="connsiteX1793" fmla="*/ 6471266 w 9586368"/>
                <a:gd name="connsiteY1793" fmla="*/ 5264889 h 6479439"/>
                <a:gd name="connsiteX1794" fmla="*/ 6475285 w 9586368"/>
                <a:gd name="connsiteY1794" fmla="*/ 5268928 h 6479439"/>
                <a:gd name="connsiteX1795" fmla="*/ 6475285 w 9586368"/>
                <a:gd name="connsiteY1795" fmla="*/ 5278799 h 6479439"/>
                <a:gd name="connsiteX1796" fmla="*/ 6471266 w 9586368"/>
                <a:gd name="connsiteY1796" fmla="*/ 5282838 h 6479439"/>
                <a:gd name="connsiteX1797" fmla="*/ 6461356 w 9586368"/>
                <a:gd name="connsiteY1797" fmla="*/ 5282838 h 6479439"/>
                <a:gd name="connsiteX1798" fmla="*/ 6457337 w 9586368"/>
                <a:gd name="connsiteY1798" fmla="*/ 5278799 h 6479439"/>
                <a:gd name="connsiteX1799" fmla="*/ 6457337 w 9586368"/>
                <a:gd name="connsiteY1799" fmla="*/ 5268928 h 6479439"/>
                <a:gd name="connsiteX1800" fmla="*/ 6222042 w 9586368"/>
                <a:gd name="connsiteY1800" fmla="*/ 5264889 h 6479439"/>
                <a:gd name="connsiteX1801" fmla="*/ 6231952 w 9586368"/>
                <a:gd name="connsiteY1801" fmla="*/ 5264889 h 6479439"/>
                <a:gd name="connsiteX1802" fmla="*/ 6235971 w 9586368"/>
                <a:gd name="connsiteY1802" fmla="*/ 5268928 h 6479439"/>
                <a:gd name="connsiteX1803" fmla="*/ 6235971 w 9586368"/>
                <a:gd name="connsiteY1803" fmla="*/ 5278799 h 6479439"/>
                <a:gd name="connsiteX1804" fmla="*/ 6231952 w 9586368"/>
                <a:gd name="connsiteY1804" fmla="*/ 5282838 h 6479439"/>
                <a:gd name="connsiteX1805" fmla="*/ 6222042 w 9586368"/>
                <a:gd name="connsiteY1805" fmla="*/ 5282838 h 6479439"/>
                <a:gd name="connsiteX1806" fmla="*/ 6218023 w 9586368"/>
                <a:gd name="connsiteY1806" fmla="*/ 5278799 h 6479439"/>
                <a:gd name="connsiteX1807" fmla="*/ 6218023 w 9586368"/>
                <a:gd name="connsiteY1807" fmla="*/ 5268928 h 6479439"/>
                <a:gd name="connsiteX1808" fmla="*/ 5982729 w 9586368"/>
                <a:gd name="connsiteY1808" fmla="*/ 5264889 h 6479439"/>
                <a:gd name="connsiteX1809" fmla="*/ 5992639 w 9586368"/>
                <a:gd name="connsiteY1809" fmla="*/ 5264889 h 6479439"/>
                <a:gd name="connsiteX1810" fmla="*/ 5996658 w 9586368"/>
                <a:gd name="connsiteY1810" fmla="*/ 5268928 h 6479439"/>
                <a:gd name="connsiteX1811" fmla="*/ 5996658 w 9586368"/>
                <a:gd name="connsiteY1811" fmla="*/ 5278799 h 6479439"/>
                <a:gd name="connsiteX1812" fmla="*/ 5992639 w 9586368"/>
                <a:gd name="connsiteY1812" fmla="*/ 5282838 h 6479439"/>
                <a:gd name="connsiteX1813" fmla="*/ 5982729 w 9586368"/>
                <a:gd name="connsiteY1813" fmla="*/ 5282838 h 6479439"/>
                <a:gd name="connsiteX1814" fmla="*/ 5978710 w 9586368"/>
                <a:gd name="connsiteY1814" fmla="*/ 5278799 h 6479439"/>
                <a:gd name="connsiteX1815" fmla="*/ 5978710 w 9586368"/>
                <a:gd name="connsiteY1815" fmla="*/ 5268928 h 6479439"/>
                <a:gd name="connsiteX1816" fmla="*/ 5743412 w 9586368"/>
                <a:gd name="connsiteY1816" fmla="*/ 5264889 h 6479439"/>
                <a:gd name="connsiteX1817" fmla="*/ 5753323 w 9586368"/>
                <a:gd name="connsiteY1817" fmla="*/ 5264889 h 6479439"/>
                <a:gd name="connsiteX1818" fmla="*/ 5757342 w 9586368"/>
                <a:gd name="connsiteY1818" fmla="*/ 5268928 h 6479439"/>
                <a:gd name="connsiteX1819" fmla="*/ 5757342 w 9586368"/>
                <a:gd name="connsiteY1819" fmla="*/ 5278799 h 6479439"/>
                <a:gd name="connsiteX1820" fmla="*/ 5753323 w 9586368"/>
                <a:gd name="connsiteY1820" fmla="*/ 5282838 h 6479439"/>
                <a:gd name="connsiteX1821" fmla="*/ 5743412 w 9586368"/>
                <a:gd name="connsiteY1821" fmla="*/ 5282838 h 6479439"/>
                <a:gd name="connsiteX1822" fmla="*/ 5739393 w 9586368"/>
                <a:gd name="connsiteY1822" fmla="*/ 5278799 h 6479439"/>
                <a:gd name="connsiteX1823" fmla="*/ 5739393 w 9586368"/>
                <a:gd name="connsiteY1823" fmla="*/ 5268928 h 6479439"/>
                <a:gd name="connsiteX1824" fmla="*/ 5504099 w 9586368"/>
                <a:gd name="connsiteY1824" fmla="*/ 5264889 h 6479439"/>
                <a:gd name="connsiteX1825" fmla="*/ 5514010 w 9586368"/>
                <a:gd name="connsiteY1825" fmla="*/ 5264889 h 6479439"/>
                <a:gd name="connsiteX1826" fmla="*/ 5518029 w 9586368"/>
                <a:gd name="connsiteY1826" fmla="*/ 5268928 h 6479439"/>
                <a:gd name="connsiteX1827" fmla="*/ 5518029 w 9586368"/>
                <a:gd name="connsiteY1827" fmla="*/ 5278799 h 6479439"/>
                <a:gd name="connsiteX1828" fmla="*/ 5514010 w 9586368"/>
                <a:gd name="connsiteY1828" fmla="*/ 5282838 h 6479439"/>
                <a:gd name="connsiteX1829" fmla="*/ 5504099 w 9586368"/>
                <a:gd name="connsiteY1829" fmla="*/ 5282838 h 6479439"/>
                <a:gd name="connsiteX1830" fmla="*/ 5500080 w 9586368"/>
                <a:gd name="connsiteY1830" fmla="*/ 5278799 h 6479439"/>
                <a:gd name="connsiteX1831" fmla="*/ 5500080 w 9586368"/>
                <a:gd name="connsiteY1831" fmla="*/ 5268928 h 6479439"/>
                <a:gd name="connsiteX1832" fmla="*/ 5264784 w 9586368"/>
                <a:gd name="connsiteY1832" fmla="*/ 5264889 h 6479439"/>
                <a:gd name="connsiteX1833" fmla="*/ 5274694 w 9586368"/>
                <a:gd name="connsiteY1833" fmla="*/ 5264889 h 6479439"/>
                <a:gd name="connsiteX1834" fmla="*/ 5278713 w 9586368"/>
                <a:gd name="connsiteY1834" fmla="*/ 5268928 h 6479439"/>
                <a:gd name="connsiteX1835" fmla="*/ 5278713 w 9586368"/>
                <a:gd name="connsiteY1835" fmla="*/ 5278799 h 6479439"/>
                <a:gd name="connsiteX1836" fmla="*/ 5274694 w 9586368"/>
                <a:gd name="connsiteY1836" fmla="*/ 5282838 h 6479439"/>
                <a:gd name="connsiteX1837" fmla="*/ 5264784 w 9586368"/>
                <a:gd name="connsiteY1837" fmla="*/ 5282838 h 6479439"/>
                <a:gd name="connsiteX1838" fmla="*/ 5260765 w 9586368"/>
                <a:gd name="connsiteY1838" fmla="*/ 5278799 h 6479439"/>
                <a:gd name="connsiteX1839" fmla="*/ 5260765 w 9586368"/>
                <a:gd name="connsiteY1839" fmla="*/ 5268928 h 6479439"/>
                <a:gd name="connsiteX1840" fmla="*/ 5025470 w 9586368"/>
                <a:gd name="connsiteY1840" fmla="*/ 5264889 h 6479439"/>
                <a:gd name="connsiteX1841" fmla="*/ 5035381 w 9586368"/>
                <a:gd name="connsiteY1841" fmla="*/ 5264889 h 6479439"/>
                <a:gd name="connsiteX1842" fmla="*/ 5039400 w 9586368"/>
                <a:gd name="connsiteY1842" fmla="*/ 5268928 h 6479439"/>
                <a:gd name="connsiteX1843" fmla="*/ 5039400 w 9586368"/>
                <a:gd name="connsiteY1843" fmla="*/ 5278799 h 6479439"/>
                <a:gd name="connsiteX1844" fmla="*/ 5035381 w 9586368"/>
                <a:gd name="connsiteY1844" fmla="*/ 5282838 h 6479439"/>
                <a:gd name="connsiteX1845" fmla="*/ 5025470 w 9586368"/>
                <a:gd name="connsiteY1845" fmla="*/ 5282838 h 6479439"/>
                <a:gd name="connsiteX1846" fmla="*/ 5021451 w 9586368"/>
                <a:gd name="connsiteY1846" fmla="*/ 5278799 h 6479439"/>
                <a:gd name="connsiteX1847" fmla="*/ 5021451 w 9586368"/>
                <a:gd name="connsiteY1847" fmla="*/ 5268928 h 6479439"/>
                <a:gd name="connsiteX1848" fmla="*/ 4786241 w 9586368"/>
                <a:gd name="connsiteY1848" fmla="*/ 5264889 h 6479439"/>
                <a:gd name="connsiteX1849" fmla="*/ 4796152 w 9586368"/>
                <a:gd name="connsiteY1849" fmla="*/ 5264889 h 6479439"/>
                <a:gd name="connsiteX1850" fmla="*/ 4800171 w 9586368"/>
                <a:gd name="connsiteY1850" fmla="*/ 5268928 h 6479439"/>
                <a:gd name="connsiteX1851" fmla="*/ 4800171 w 9586368"/>
                <a:gd name="connsiteY1851" fmla="*/ 5278799 h 6479439"/>
                <a:gd name="connsiteX1852" fmla="*/ 4796152 w 9586368"/>
                <a:gd name="connsiteY1852" fmla="*/ 5282838 h 6479439"/>
                <a:gd name="connsiteX1853" fmla="*/ 4786241 w 9586368"/>
                <a:gd name="connsiteY1853" fmla="*/ 5282838 h 6479439"/>
                <a:gd name="connsiteX1854" fmla="*/ 4782224 w 9586368"/>
                <a:gd name="connsiteY1854" fmla="*/ 5278799 h 6479439"/>
                <a:gd name="connsiteX1855" fmla="*/ 4782224 w 9586368"/>
                <a:gd name="connsiteY1855" fmla="*/ 5268928 h 6479439"/>
                <a:gd name="connsiteX1856" fmla="*/ 4546929 w 9586368"/>
                <a:gd name="connsiteY1856" fmla="*/ 5264889 h 6479439"/>
                <a:gd name="connsiteX1857" fmla="*/ 4556840 w 9586368"/>
                <a:gd name="connsiteY1857" fmla="*/ 5264889 h 6479439"/>
                <a:gd name="connsiteX1858" fmla="*/ 4560859 w 9586368"/>
                <a:gd name="connsiteY1858" fmla="*/ 5268928 h 6479439"/>
                <a:gd name="connsiteX1859" fmla="*/ 4560859 w 9586368"/>
                <a:gd name="connsiteY1859" fmla="*/ 5278799 h 6479439"/>
                <a:gd name="connsiteX1860" fmla="*/ 4556840 w 9586368"/>
                <a:gd name="connsiteY1860" fmla="*/ 5282838 h 6479439"/>
                <a:gd name="connsiteX1861" fmla="*/ 4546929 w 9586368"/>
                <a:gd name="connsiteY1861" fmla="*/ 5282838 h 6479439"/>
                <a:gd name="connsiteX1862" fmla="*/ 4542910 w 9586368"/>
                <a:gd name="connsiteY1862" fmla="*/ 5278799 h 6479439"/>
                <a:gd name="connsiteX1863" fmla="*/ 4542910 w 9586368"/>
                <a:gd name="connsiteY1863" fmla="*/ 5268928 h 6479439"/>
                <a:gd name="connsiteX1864" fmla="*/ 4307612 w 9586368"/>
                <a:gd name="connsiteY1864" fmla="*/ 5264889 h 6479439"/>
                <a:gd name="connsiteX1865" fmla="*/ 4317523 w 9586368"/>
                <a:gd name="connsiteY1865" fmla="*/ 5264889 h 6479439"/>
                <a:gd name="connsiteX1866" fmla="*/ 4321543 w 9586368"/>
                <a:gd name="connsiteY1866" fmla="*/ 5268928 h 6479439"/>
                <a:gd name="connsiteX1867" fmla="*/ 4321543 w 9586368"/>
                <a:gd name="connsiteY1867" fmla="*/ 5278799 h 6479439"/>
                <a:gd name="connsiteX1868" fmla="*/ 4317523 w 9586368"/>
                <a:gd name="connsiteY1868" fmla="*/ 5282838 h 6479439"/>
                <a:gd name="connsiteX1869" fmla="*/ 4307612 w 9586368"/>
                <a:gd name="connsiteY1869" fmla="*/ 5282838 h 6479439"/>
                <a:gd name="connsiteX1870" fmla="*/ 4303595 w 9586368"/>
                <a:gd name="connsiteY1870" fmla="*/ 5278799 h 6479439"/>
                <a:gd name="connsiteX1871" fmla="*/ 4303595 w 9586368"/>
                <a:gd name="connsiteY1871" fmla="*/ 5268928 h 6479439"/>
                <a:gd name="connsiteX1872" fmla="*/ 4068297 w 9586368"/>
                <a:gd name="connsiteY1872" fmla="*/ 5264889 h 6479439"/>
                <a:gd name="connsiteX1873" fmla="*/ 4078210 w 9586368"/>
                <a:gd name="connsiteY1873" fmla="*/ 5264889 h 6479439"/>
                <a:gd name="connsiteX1874" fmla="*/ 4082229 w 9586368"/>
                <a:gd name="connsiteY1874" fmla="*/ 5268928 h 6479439"/>
                <a:gd name="connsiteX1875" fmla="*/ 4082229 w 9586368"/>
                <a:gd name="connsiteY1875" fmla="*/ 5278799 h 6479439"/>
                <a:gd name="connsiteX1876" fmla="*/ 4078210 w 9586368"/>
                <a:gd name="connsiteY1876" fmla="*/ 5282838 h 6479439"/>
                <a:gd name="connsiteX1877" fmla="*/ 4068297 w 9586368"/>
                <a:gd name="connsiteY1877" fmla="*/ 5282838 h 6479439"/>
                <a:gd name="connsiteX1878" fmla="*/ 4064278 w 9586368"/>
                <a:gd name="connsiteY1878" fmla="*/ 5278799 h 6479439"/>
                <a:gd name="connsiteX1879" fmla="*/ 4064278 w 9586368"/>
                <a:gd name="connsiteY1879" fmla="*/ 5268928 h 6479439"/>
                <a:gd name="connsiteX1880" fmla="*/ 3828990 w 9586368"/>
                <a:gd name="connsiteY1880" fmla="*/ 5264889 h 6479439"/>
                <a:gd name="connsiteX1881" fmla="*/ 3838899 w 9586368"/>
                <a:gd name="connsiteY1881" fmla="*/ 5264889 h 6479439"/>
                <a:gd name="connsiteX1882" fmla="*/ 3842917 w 9586368"/>
                <a:gd name="connsiteY1882" fmla="*/ 5268928 h 6479439"/>
                <a:gd name="connsiteX1883" fmla="*/ 3842917 w 9586368"/>
                <a:gd name="connsiteY1883" fmla="*/ 5278799 h 6479439"/>
                <a:gd name="connsiteX1884" fmla="*/ 3838899 w 9586368"/>
                <a:gd name="connsiteY1884" fmla="*/ 5282838 h 6479439"/>
                <a:gd name="connsiteX1885" fmla="*/ 3828990 w 9586368"/>
                <a:gd name="connsiteY1885" fmla="*/ 5282838 h 6479439"/>
                <a:gd name="connsiteX1886" fmla="*/ 3824971 w 9586368"/>
                <a:gd name="connsiteY1886" fmla="*/ 5278799 h 6479439"/>
                <a:gd name="connsiteX1887" fmla="*/ 3824971 w 9586368"/>
                <a:gd name="connsiteY1887" fmla="*/ 5268928 h 6479439"/>
                <a:gd name="connsiteX1888" fmla="*/ 3589676 w 9586368"/>
                <a:gd name="connsiteY1888" fmla="*/ 5264889 h 6479439"/>
                <a:gd name="connsiteX1889" fmla="*/ 3599585 w 9586368"/>
                <a:gd name="connsiteY1889" fmla="*/ 5264889 h 6479439"/>
                <a:gd name="connsiteX1890" fmla="*/ 3603604 w 9586368"/>
                <a:gd name="connsiteY1890" fmla="*/ 5268928 h 6479439"/>
                <a:gd name="connsiteX1891" fmla="*/ 3603604 w 9586368"/>
                <a:gd name="connsiteY1891" fmla="*/ 5278799 h 6479439"/>
                <a:gd name="connsiteX1892" fmla="*/ 3599585 w 9586368"/>
                <a:gd name="connsiteY1892" fmla="*/ 5282838 h 6479439"/>
                <a:gd name="connsiteX1893" fmla="*/ 3589676 w 9586368"/>
                <a:gd name="connsiteY1893" fmla="*/ 5282838 h 6479439"/>
                <a:gd name="connsiteX1894" fmla="*/ 3585657 w 9586368"/>
                <a:gd name="connsiteY1894" fmla="*/ 5278799 h 6479439"/>
                <a:gd name="connsiteX1895" fmla="*/ 3585657 w 9586368"/>
                <a:gd name="connsiteY1895" fmla="*/ 5268928 h 6479439"/>
                <a:gd name="connsiteX1896" fmla="*/ 3350359 w 9586368"/>
                <a:gd name="connsiteY1896" fmla="*/ 5264889 h 6479439"/>
                <a:gd name="connsiteX1897" fmla="*/ 3360268 w 9586368"/>
                <a:gd name="connsiteY1897" fmla="*/ 5264889 h 6479439"/>
                <a:gd name="connsiteX1898" fmla="*/ 3364287 w 9586368"/>
                <a:gd name="connsiteY1898" fmla="*/ 5268928 h 6479439"/>
                <a:gd name="connsiteX1899" fmla="*/ 3364287 w 9586368"/>
                <a:gd name="connsiteY1899" fmla="*/ 5278799 h 6479439"/>
                <a:gd name="connsiteX1900" fmla="*/ 3360268 w 9586368"/>
                <a:gd name="connsiteY1900" fmla="*/ 5282838 h 6479439"/>
                <a:gd name="connsiteX1901" fmla="*/ 3350359 w 9586368"/>
                <a:gd name="connsiteY1901" fmla="*/ 5282838 h 6479439"/>
                <a:gd name="connsiteX1902" fmla="*/ 3346340 w 9586368"/>
                <a:gd name="connsiteY1902" fmla="*/ 5278799 h 6479439"/>
                <a:gd name="connsiteX1903" fmla="*/ 3346340 w 9586368"/>
                <a:gd name="connsiteY1903" fmla="*/ 5268928 h 6479439"/>
                <a:gd name="connsiteX1904" fmla="*/ 3111048 w 9586368"/>
                <a:gd name="connsiteY1904" fmla="*/ 5264889 h 6479439"/>
                <a:gd name="connsiteX1905" fmla="*/ 3120959 w 9586368"/>
                <a:gd name="connsiteY1905" fmla="*/ 5264889 h 6479439"/>
                <a:gd name="connsiteX1906" fmla="*/ 3124977 w 9586368"/>
                <a:gd name="connsiteY1906" fmla="*/ 5268928 h 6479439"/>
                <a:gd name="connsiteX1907" fmla="*/ 3124977 w 9586368"/>
                <a:gd name="connsiteY1907" fmla="*/ 5278799 h 6479439"/>
                <a:gd name="connsiteX1908" fmla="*/ 3120959 w 9586368"/>
                <a:gd name="connsiteY1908" fmla="*/ 5282838 h 6479439"/>
                <a:gd name="connsiteX1909" fmla="*/ 3111048 w 9586368"/>
                <a:gd name="connsiteY1909" fmla="*/ 5282838 h 6479439"/>
                <a:gd name="connsiteX1910" fmla="*/ 3107029 w 9586368"/>
                <a:gd name="connsiteY1910" fmla="*/ 5278799 h 6479439"/>
                <a:gd name="connsiteX1911" fmla="*/ 3107029 w 9586368"/>
                <a:gd name="connsiteY1911" fmla="*/ 5268928 h 6479439"/>
                <a:gd name="connsiteX1912" fmla="*/ 2871737 w 9586368"/>
                <a:gd name="connsiteY1912" fmla="*/ 5264889 h 6479439"/>
                <a:gd name="connsiteX1913" fmla="*/ 2881646 w 9586368"/>
                <a:gd name="connsiteY1913" fmla="*/ 5264889 h 6479439"/>
                <a:gd name="connsiteX1914" fmla="*/ 2885666 w 9586368"/>
                <a:gd name="connsiteY1914" fmla="*/ 5268928 h 6479439"/>
                <a:gd name="connsiteX1915" fmla="*/ 2885666 w 9586368"/>
                <a:gd name="connsiteY1915" fmla="*/ 5278799 h 6479439"/>
                <a:gd name="connsiteX1916" fmla="*/ 2881646 w 9586368"/>
                <a:gd name="connsiteY1916" fmla="*/ 5282838 h 6479439"/>
                <a:gd name="connsiteX1917" fmla="*/ 2871737 w 9586368"/>
                <a:gd name="connsiteY1917" fmla="*/ 5282838 h 6479439"/>
                <a:gd name="connsiteX1918" fmla="*/ 2867717 w 9586368"/>
                <a:gd name="connsiteY1918" fmla="*/ 5278799 h 6479439"/>
                <a:gd name="connsiteX1919" fmla="*/ 2867717 w 9586368"/>
                <a:gd name="connsiteY1919" fmla="*/ 5268928 h 6479439"/>
                <a:gd name="connsiteX1920" fmla="*/ 2632423 w 9586368"/>
                <a:gd name="connsiteY1920" fmla="*/ 5264889 h 6479439"/>
                <a:gd name="connsiteX1921" fmla="*/ 2642334 w 9586368"/>
                <a:gd name="connsiteY1921" fmla="*/ 5264889 h 6479439"/>
                <a:gd name="connsiteX1922" fmla="*/ 2646352 w 9586368"/>
                <a:gd name="connsiteY1922" fmla="*/ 5268928 h 6479439"/>
                <a:gd name="connsiteX1923" fmla="*/ 2646352 w 9586368"/>
                <a:gd name="connsiteY1923" fmla="*/ 5278799 h 6479439"/>
                <a:gd name="connsiteX1924" fmla="*/ 2642334 w 9586368"/>
                <a:gd name="connsiteY1924" fmla="*/ 5282838 h 6479439"/>
                <a:gd name="connsiteX1925" fmla="*/ 2632423 w 9586368"/>
                <a:gd name="connsiteY1925" fmla="*/ 5282838 h 6479439"/>
                <a:gd name="connsiteX1926" fmla="*/ 2628404 w 9586368"/>
                <a:gd name="connsiteY1926" fmla="*/ 5278799 h 6479439"/>
                <a:gd name="connsiteX1927" fmla="*/ 2628404 w 9586368"/>
                <a:gd name="connsiteY1927" fmla="*/ 5268928 h 6479439"/>
                <a:gd name="connsiteX1928" fmla="*/ 2393104 w 9586368"/>
                <a:gd name="connsiteY1928" fmla="*/ 5264889 h 6479439"/>
                <a:gd name="connsiteX1929" fmla="*/ 2403015 w 9586368"/>
                <a:gd name="connsiteY1929" fmla="*/ 5264889 h 6479439"/>
                <a:gd name="connsiteX1930" fmla="*/ 2407034 w 9586368"/>
                <a:gd name="connsiteY1930" fmla="*/ 5268928 h 6479439"/>
                <a:gd name="connsiteX1931" fmla="*/ 2407034 w 9586368"/>
                <a:gd name="connsiteY1931" fmla="*/ 5278799 h 6479439"/>
                <a:gd name="connsiteX1932" fmla="*/ 2403015 w 9586368"/>
                <a:gd name="connsiteY1932" fmla="*/ 5282838 h 6479439"/>
                <a:gd name="connsiteX1933" fmla="*/ 2393104 w 9586368"/>
                <a:gd name="connsiteY1933" fmla="*/ 5282838 h 6479439"/>
                <a:gd name="connsiteX1934" fmla="*/ 2389087 w 9586368"/>
                <a:gd name="connsiteY1934" fmla="*/ 5278799 h 6479439"/>
                <a:gd name="connsiteX1935" fmla="*/ 2389087 w 9586368"/>
                <a:gd name="connsiteY1935" fmla="*/ 5268928 h 6479439"/>
                <a:gd name="connsiteX1936" fmla="*/ 721961 w 9586368"/>
                <a:gd name="connsiteY1936" fmla="*/ 5264889 h 6479439"/>
                <a:gd name="connsiteX1937" fmla="*/ 731872 w 9586368"/>
                <a:gd name="connsiteY1937" fmla="*/ 5264889 h 6479439"/>
                <a:gd name="connsiteX1938" fmla="*/ 735891 w 9586368"/>
                <a:gd name="connsiteY1938" fmla="*/ 5268928 h 6479439"/>
                <a:gd name="connsiteX1939" fmla="*/ 735891 w 9586368"/>
                <a:gd name="connsiteY1939" fmla="*/ 5278799 h 6479439"/>
                <a:gd name="connsiteX1940" fmla="*/ 731872 w 9586368"/>
                <a:gd name="connsiteY1940" fmla="*/ 5282838 h 6479439"/>
                <a:gd name="connsiteX1941" fmla="*/ 721961 w 9586368"/>
                <a:gd name="connsiteY1941" fmla="*/ 5282838 h 6479439"/>
                <a:gd name="connsiteX1942" fmla="*/ 717943 w 9586368"/>
                <a:gd name="connsiteY1942" fmla="*/ 5278799 h 6479439"/>
                <a:gd name="connsiteX1943" fmla="*/ 717943 w 9586368"/>
                <a:gd name="connsiteY1943" fmla="*/ 5268928 h 6479439"/>
                <a:gd name="connsiteX1944" fmla="*/ 482649 w 9586368"/>
                <a:gd name="connsiteY1944" fmla="*/ 5264889 h 6479439"/>
                <a:gd name="connsiteX1945" fmla="*/ 492560 w 9586368"/>
                <a:gd name="connsiteY1945" fmla="*/ 5264889 h 6479439"/>
                <a:gd name="connsiteX1946" fmla="*/ 496579 w 9586368"/>
                <a:gd name="connsiteY1946" fmla="*/ 5268928 h 6479439"/>
                <a:gd name="connsiteX1947" fmla="*/ 496579 w 9586368"/>
                <a:gd name="connsiteY1947" fmla="*/ 5278799 h 6479439"/>
                <a:gd name="connsiteX1948" fmla="*/ 492560 w 9586368"/>
                <a:gd name="connsiteY1948" fmla="*/ 5282838 h 6479439"/>
                <a:gd name="connsiteX1949" fmla="*/ 482649 w 9586368"/>
                <a:gd name="connsiteY1949" fmla="*/ 5282838 h 6479439"/>
                <a:gd name="connsiteX1950" fmla="*/ 478630 w 9586368"/>
                <a:gd name="connsiteY1950" fmla="*/ 5278799 h 6479439"/>
                <a:gd name="connsiteX1951" fmla="*/ 478630 w 9586368"/>
                <a:gd name="connsiteY1951" fmla="*/ 5268928 h 6479439"/>
                <a:gd name="connsiteX1952" fmla="*/ 243336 w 9586368"/>
                <a:gd name="connsiteY1952" fmla="*/ 5264889 h 6479439"/>
                <a:gd name="connsiteX1953" fmla="*/ 253246 w 9586368"/>
                <a:gd name="connsiteY1953" fmla="*/ 5264889 h 6479439"/>
                <a:gd name="connsiteX1954" fmla="*/ 257265 w 9586368"/>
                <a:gd name="connsiteY1954" fmla="*/ 5268928 h 6479439"/>
                <a:gd name="connsiteX1955" fmla="*/ 257265 w 9586368"/>
                <a:gd name="connsiteY1955" fmla="*/ 5278799 h 6479439"/>
                <a:gd name="connsiteX1956" fmla="*/ 253246 w 9586368"/>
                <a:gd name="connsiteY1956" fmla="*/ 5282838 h 6479439"/>
                <a:gd name="connsiteX1957" fmla="*/ 243336 w 9586368"/>
                <a:gd name="connsiteY1957" fmla="*/ 5282838 h 6479439"/>
                <a:gd name="connsiteX1958" fmla="*/ 239317 w 9586368"/>
                <a:gd name="connsiteY1958" fmla="*/ 5278799 h 6479439"/>
                <a:gd name="connsiteX1959" fmla="*/ 239317 w 9586368"/>
                <a:gd name="connsiteY1959" fmla="*/ 5268928 h 6479439"/>
                <a:gd name="connsiteX1960" fmla="*/ 4022 w 9586368"/>
                <a:gd name="connsiteY1960" fmla="*/ 5264889 h 6479439"/>
                <a:gd name="connsiteX1961" fmla="*/ 13933 w 9586368"/>
                <a:gd name="connsiteY1961" fmla="*/ 5264889 h 6479439"/>
                <a:gd name="connsiteX1962" fmla="*/ 17952 w 9586368"/>
                <a:gd name="connsiteY1962" fmla="*/ 5268928 h 6479439"/>
                <a:gd name="connsiteX1963" fmla="*/ 17952 w 9586368"/>
                <a:gd name="connsiteY1963" fmla="*/ 5278799 h 6479439"/>
                <a:gd name="connsiteX1964" fmla="*/ 13933 w 9586368"/>
                <a:gd name="connsiteY1964" fmla="*/ 5282838 h 6479439"/>
                <a:gd name="connsiteX1965" fmla="*/ 4022 w 9586368"/>
                <a:gd name="connsiteY1965" fmla="*/ 5282838 h 6479439"/>
                <a:gd name="connsiteX1966" fmla="*/ 3 w 9586368"/>
                <a:gd name="connsiteY1966" fmla="*/ 5278799 h 6479439"/>
                <a:gd name="connsiteX1967" fmla="*/ 3 w 9586368"/>
                <a:gd name="connsiteY1967" fmla="*/ 5268928 h 6479439"/>
                <a:gd name="connsiteX1968" fmla="*/ 2157819 w 9586368"/>
                <a:gd name="connsiteY1968" fmla="*/ 5025610 h 6479439"/>
                <a:gd name="connsiteX1969" fmla="*/ 2167729 w 9586368"/>
                <a:gd name="connsiteY1969" fmla="*/ 5025610 h 6479439"/>
                <a:gd name="connsiteX1970" fmla="*/ 2171748 w 9586368"/>
                <a:gd name="connsiteY1970" fmla="*/ 5029648 h 6479439"/>
                <a:gd name="connsiteX1971" fmla="*/ 2171748 w 9586368"/>
                <a:gd name="connsiteY1971" fmla="*/ 5039519 h 6479439"/>
                <a:gd name="connsiteX1972" fmla="*/ 2167729 w 9586368"/>
                <a:gd name="connsiteY1972" fmla="*/ 5043558 h 6479439"/>
                <a:gd name="connsiteX1973" fmla="*/ 2157819 w 9586368"/>
                <a:gd name="connsiteY1973" fmla="*/ 5043558 h 6479439"/>
                <a:gd name="connsiteX1974" fmla="*/ 2153800 w 9586368"/>
                <a:gd name="connsiteY1974" fmla="*/ 5039519 h 6479439"/>
                <a:gd name="connsiteX1975" fmla="*/ 2153800 w 9586368"/>
                <a:gd name="connsiteY1975" fmla="*/ 5029648 h 6479439"/>
                <a:gd name="connsiteX1976" fmla="*/ 1918510 w 9586368"/>
                <a:gd name="connsiteY1976" fmla="*/ 5025610 h 6479439"/>
                <a:gd name="connsiteX1977" fmla="*/ 1928420 w 9586368"/>
                <a:gd name="connsiteY1977" fmla="*/ 5025610 h 6479439"/>
                <a:gd name="connsiteX1978" fmla="*/ 1932440 w 9586368"/>
                <a:gd name="connsiteY1978" fmla="*/ 5029648 h 6479439"/>
                <a:gd name="connsiteX1979" fmla="*/ 1932440 w 9586368"/>
                <a:gd name="connsiteY1979" fmla="*/ 5039519 h 6479439"/>
                <a:gd name="connsiteX1980" fmla="*/ 1928420 w 9586368"/>
                <a:gd name="connsiteY1980" fmla="*/ 5043558 h 6479439"/>
                <a:gd name="connsiteX1981" fmla="*/ 1918510 w 9586368"/>
                <a:gd name="connsiteY1981" fmla="*/ 5043558 h 6479439"/>
                <a:gd name="connsiteX1982" fmla="*/ 1914492 w 9586368"/>
                <a:gd name="connsiteY1982" fmla="*/ 5039519 h 6479439"/>
                <a:gd name="connsiteX1983" fmla="*/ 1914492 w 9586368"/>
                <a:gd name="connsiteY1983" fmla="*/ 5029648 h 6479439"/>
                <a:gd name="connsiteX1984" fmla="*/ 1679204 w 9586368"/>
                <a:gd name="connsiteY1984" fmla="*/ 5025610 h 6479439"/>
                <a:gd name="connsiteX1985" fmla="*/ 1689115 w 9586368"/>
                <a:gd name="connsiteY1985" fmla="*/ 5025610 h 6479439"/>
                <a:gd name="connsiteX1986" fmla="*/ 1693133 w 9586368"/>
                <a:gd name="connsiteY1986" fmla="*/ 5029648 h 6479439"/>
                <a:gd name="connsiteX1987" fmla="*/ 1693133 w 9586368"/>
                <a:gd name="connsiteY1987" fmla="*/ 5039519 h 6479439"/>
                <a:gd name="connsiteX1988" fmla="*/ 1689115 w 9586368"/>
                <a:gd name="connsiteY1988" fmla="*/ 5043558 h 6479439"/>
                <a:gd name="connsiteX1989" fmla="*/ 1679204 w 9586368"/>
                <a:gd name="connsiteY1989" fmla="*/ 5043558 h 6479439"/>
                <a:gd name="connsiteX1990" fmla="*/ 1675185 w 9586368"/>
                <a:gd name="connsiteY1990" fmla="*/ 5039519 h 6479439"/>
                <a:gd name="connsiteX1991" fmla="*/ 1675185 w 9586368"/>
                <a:gd name="connsiteY1991" fmla="*/ 5029648 h 6479439"/>
                <a:gd name="connsiteX1992" fmla="*/ 1439889 w 9586368"/>
                <a:gd name="connsiteY1992" fmla="*/ 5025610 h 6479439"/>
                <a:gd name="connsiteX1993" fmla="*/ 1449798 w 9586368"/>
                <a:gd name="connsiteY1993" fmla="*/ 5025610 h 6479439"/>
                <a:gd name="connsiteX1994" fmla="*/ 1453818 w 9586368"/>
                <a:gd name="connsiteY1994" fmla="*/ 5029648 h 6479439"/>
                <a:gd name="connsiteX1995" fmla="*/ 1453818 w 9586368"/>
                <a:gd name="connsiteY1995" fmla="*/ 5039519 h 6479439"/>
                <a:gd name="connsiteX1996" fmla="*/ 1449798 w 9586368"/>
                <a:gd name="connsiteY1996" fmla="*/ 5043558 h 6479439"/>
                <a:gd name="connsiteX1997" fmla="*/ 1439889 w 9586368"/>
                <a:gd name="connsiteY1997" fmla="*/ 5043558 h 6479439"/>
                <a:gd name="connsiteX1998" fmla="*/ 1435870 w 9586368"/>
                <a:gd name="connsiteY1998" fmla="*/ 5039519 h 6479439"/>
                <a:gd name="connsiteX1999" fmla="*/ 1435870 w 9586368"/>
                <a:gd name="connsiteY1999" fmla="*/ 5029648 h 6479439"/>
                <a:gd name="connsiteX2000" fmla="*/ 1200573 w 9586368"/>
                <a:gd name="connsiteY2000" fmla="*/ 5025610 h 6479439"/>
                <a:gd name="connsiteX2001" fmla="*/ 1210484 w 9586368"/>
                <a:gd name="connsiteY2001" fmla="*/ 5025610 h 6479439"/>
                <a:gd name="connsiteX2002" fmla="*/ 1214502 w 9586368"/>
                <a:gd name="connsiteY2002" fmla="*/ 5029648 h 6479439"/>
                <a:gd name="connsiteX2003" fmla="*/ 1214502 w 9586368"/>
                <a:gd name="connsiteY2003" fmla="*/ 5039519 h 6479439"/>
                <a:gd name="connsiteX2004" fmla="*/ 1210484 w 9586368"/>
                <a:gd name="connsiteY2004" fmla="*/ 5043558 h 6479439"/>
                <a:gd name="connsiteX2005" fmla="*/ 1200573 w 9586368"/>
                <a:gd name="connsiteY2005" fmla="*/ 5043558 h 6479439"/>
                <a:gd name="connsiteX2006" fmla="*/ 1196555 w 9586368"/>
                <a:gd name="connsiteY2006" fmla="*/ 5039519 h 6479439"/>
                <a:gd name="connsiteX2007" fmla="*/ 1196555 w 9586368"/>
                <a:gd name="connsiteY2007" fmla="*/ 5029648 h 6479439"/>
                <a:gd name="connsiteX2008" fmla="*/ 961261 w 9586368"/>
                <a:gd name="connsiteY2008" fmla="*/ 5025610 h 6479439"/>
                <a:gd name="connsiteX2009" fmla="*/ 971171 w 9586368"/>
                <a:gd name="connsiteY2009" fmla="*/ 5025610 h 6479439"/>
                <a:gd name="connsiteX2010" fmla="*/ 975190 w 9586368"/>
                <a:gd name="connsiteY2010" fmla="*/ 5029648 h 6479439"/>
                <a:gd name="connsiteX2011" fmla="*/ 975190 w 9586368"/>
                <a:gd name="connsiteY2011" fmla="*/ 5039519 h 6479439"/>
                <a:gd name="connsiteX2012" fmla="*/ 971171 w 9586368"/>
                <a:gd name="connsiteY2012" fmla="*/ 5043558 h 6479439"/>
                <a:gd name="connsiteX2013" fmla="*/ 961261 w 9586368"/>
                <a:gd name="connsiteY2013" fmla="*/ 5043558 h 6479439"/>
                <a:gd name="connsiteX2014" fmla="*/ 957242 w 9586368"/>
                <a:gd name="connsiteY2014" fmla="*/ 5039519 h 6479439"/>
                <a:gd name="connsiteX2015" fmla="*/ 957242 w 9586368"/>
                <a:gd name="connsiteY2015" fmla="*/ 5029648 h 6479439"/>
                <a:gd name="connsiteX2016" fmla="*/ 9572438 w 9586368"/>
                <a:gd name="connsiteY2016" fmla="*/ 5025558 h 6479439"/>
                <a:gd name="connsiteX2017" fmla="*/ 9582349 w 9586368"/>
                <a:gd name="connsiteY2017" fmla="*/ 5025558 h 6479439"/>
                <a:gd name="connsiteX2018" fmla="*/ 9586368 w 9586368"/>
                <a:gd name="connsiteY2018" fmla="*/ 5029597 h 6479439"/>
                <a:gd name="connsiteX2019" fmla="*/ 9586368 w 9586368"/>
                <a:gd name="connsiteY2019" fmla="*/ 5039468 h 6479439"/>
                <a:gd name="connsiteX2020" fmla="*/ 9582349 w 9586368"/>
                <a:gd name="connsiteY2020" fmla="*/ 5043507 h 6479439"/>
                <a:gd name="connsiteX2021" fmla="*/ 9572438 w 9586368"/>
                <a:gd name="connsiteY2021" fmla="*/ 5043507 h 6479439"/>
                <a:gd name="connsiteX2022" fmla="*/ 9568419 w 9586368"/>
                <a:gd name="connsiteY2022" fmla="*/ 5039468 h 6479439"/>
                <a:gd name="connsiteX2023" fmla="*/ 9568419 w 9586368"/>
                <a:gd name="connsiteY2023" fmla="*/ 5029597 h 6479439"/>
                <a:gd name="connsiteX2024" fmla="*/ 9333125 w 9586368"/>
                <a:gd name="connsiteY2024" fmla="*/ 5025558 h 6479439"/>
                <a:gd name="connsiteX2025" fmla="*/ 9343036 w 9586368"/>
                <a:gd name="connsiteY2025" fmla="*/ 5025558 h 6479439"/>
                <a:gd name="connsiteX2026" fmla="*/ 9347055 w 9586368"/>
                <a:gd name="connsiteY2026" fmla="*/ 5029597 h 6479439"/>
                <a:gd name="connsiteX2027" fmla="*/ 9347055 w 9586368"/>
                <a:gd name="connsiteY2027" fmla="*/ 5039468 h 6479439"/>
                <a:gd name="connsiteX2028" fmla="*/ 9343036 w 9586368"/>
                <a:gd name="connsiteY2028" fmla="*/ 5043507 h 6479439"/>
                <a:gd name="connsiteX2029" fmla="*/ 9333125 w 9586368"/>
                <a:gd name="connsiteY2029" fmla="*/ 5043507 h 6479439"/>
                <a:gd name="connsiteX2030" fmla="*/ 9329106 w 9586368"/>
                <a:gd name="connsiteY2030" fmla="*/ 5039468 h 6479439"/>
                <a:gd name="connsiteX2031" fmla="*/ 9329106 w 9586368"/>
                <a:gd name="connsiteY2031" fmla="*/ 5029597 h 6479439"/>
                <a:gd name="connsiteX2032" fmla="*/ 9093811 w 9586368"/>
                <a:gd name="connsiteY2032" fmla="*/ 5025558 h 6479439"/>
                <a:gd name="connsiteX2033" fmla="*/ 9103722 w 9586368"/>
                <a:gd name="connsiteY2033" fmla="*/ 5025558 h 6479439"/>
                <a:gd name="connsiteX2034" fmla="*/ 9107741 w 9586368"/>
                <a:gd name="connsiteY2034" fmla="*/ 5029597 h 6479439"/>
                <a:gd name="connsiteX2035" fmla="*/ 9107741 w 9586368"/>
                <a:gd name="connsiteY2035" fmla="*/ 5039468 h 6479439"/>
                <a:gd name="connsiteX2036" fmla="*/ 9103722 w 9586368"/>
                <a:gd name="connsiteY2036" fmla="*/ 5043507 h 6479439"/>
                <a:gd name="connsiteX2037" fmla="*/ 9093811 w 9586368"/>
                <a:gd name="connsiteY2037" fmla="*/ 5043507 h 6479439"/>
                <a:gd name="connsiteX2038" fmla="*/ 9089792 w 9586368"/>
                <a:gd name="connsiteY2038" fmla="*/ 5039468 h 6479439"/>
                <a:gd name="connsiteX2039" fmla="*/ 9089792 w 9586368"/>
                <a:gd name="connsiteY2039" fmla="*/ 5029597 h 6479439"/>
                <a:gd name="connsiteX2040" fmla="*/ 8854496 w 9586368"/>
                <a:gd name="connsiteY2040" fmla="*/ 5025558 h 6479439"/>
                <a:gd name="connsiteX2041" fmla="*/ 8864407 w 9586368"/>
                <a:gd name="connsiteY2041" fmla="*/ 5025558 h 6479439"/>
                <a:gd name="connsiteX2042" fmla="*/ 8868426 w 9586368"/>
                <a:gd name="connsiteY2042" fmla="*/ 5029597 h 6479439"/>
                <a:gd name="connsiteX2043" fmla="*/ 8868426 w 9586368"/>
                <a:gd name="connsiteY2043" fmla="*/ 5039468 h 6479439"/>
                <a:gd name="connsiteX2044" fmla="*/ 8864407 w 9586368"/>
                <a:gd name="connsiteY2044" fmla="*/ 5043507 h 6479439"/>
                <a:gd name="connsiteX2045" fmla="*/ 8854496 w 9586368"/>
                <a:gd name="connsiteY2045" fmla="*/ 5043507 h 6479439"/>
                <a:gd name="connsiteX2046" fmla="*/ 8850477 w 9586368"/>
                <a:gd name="connsiteY2046" fmla="*/ 5039468 h 6479439"/>
                <a:gd name="connsiteX2047" fmla="*/ 8850477 w 9586368"/>
                <a:gd name="connsiteY2047" fmla="*/ 5029597 h 6479439"/>
                <a:gd name="connsiteX2048" fmla="*/ 8615184 w 9586368"/>
                <a:gd name="connsiteY2048" fmla="*/ 5025558 h 6479439"/>
                <a:gd name="connsiteX2049" fmla="*/ 8625095 w 9586368"/>
                <a:gd name="connsiteY2049" fmla="*/ 5025558 h 6479439"/>
                <a:gd name="connsiteX2050" fmla="*/ 8629114 w 9586368"/>
                <a:gd name="connsiteY2050" fmla="*/ 5029597 h 6479439"/>
                <a:gd name="connsiteX2051" fmla="*/ 8629114 w 9586368"/>
                <a:gd name="connsiteY2051" fmla="*/ 5039468 h 6479439"/>
                <a:gd name="connsiteX2052" fmla="*/ 8625095 w 9586368"/>
                <a:gd name="connsiteY2052" fmla="*/ 5043507 h 6479439"/>
                <a:gd name="connsiteX2053" fmla="*/ 8615184 w 9586368"/>
                <a:gd name="connsiteY2053" fmla="*/ 5043507 h 6479439"/>
                <a:gd name="connsiteX2054" fmla="*/ 8611165 w 9586368"/>
                <a:gd name="connsiteY2054" fmla="*/ 5039468 h 6479439"/>
                <a:gd name="connsiteX2055" fmla="*/ 8611165 w 9586368"/>
                <a:gd name="connsiteY2055" fmla="*/ 5029597 h 6479439"/>
                <a:gd name="connsiteX2056" fmla="*/ 8375869 w 9586368"/>
                <a:gd name="connsiteY2056" fmla="*/ 5025558 h 6479439"/>
                <a:gd name="connsiteX2057" fmla="*/ 8385779 w 9586368"/>
                <a:gd name="connsiteY2057" fmla="*/ 5025558 h 6479439"/>
                <a:gd name="connsiteX2058" fmla="*/ 8389799 w 9586368"/>
                <a:gd name="connsiteY2058" fmla="*/ 5029597 h 6479439"/>
                <a:gd name="connsiteX2059" fmla="*/ 8389799 w 9586368"/>
                <a:gd name="connsiteY2059" fmla="*/ 5039468 h 6479439"/>
                <a:gd name="connsiteX2060" fmla="*/ 8385779 w 9586368"/>
                <a:gd name="connsiteY2060" fmla="*/ 5043507 h 6479439"/>
                <a:gd name="connsiteX2061" fmla="*/ 8375869 w 9586368"/>
                <a:gd name="connsiteY2061" fmla="*/ 5043507 h 6479439"/>
                <a:gd name="connsiteX2062" fmla="*/ 8371850 w 9586368"/>
                <a:gd name="connsiteY2062" fmla="*/ 5039468 h 6479439"/>
                <a:gd name="connsiteX2063" fmla="*/ 8371850 w 9586368"/>
                <a:gd name="connsiteY2063" fmla="*/ 5029597 h 6479439"/>
                <a:gd name="connsiteX2064" fmla="*/ 8136553 w 9586368"/>
                <a:gd name="connsiteY2064" fmla="*/ 5025558 h 6479439"/>
                <a:gd name="connsiteX2065" fmla="*/ 8146464 w 9586368"/>
                <a:gd name="connsiteY2065" fmla="*/ 5025558 h 6479439"/>
                <a:gd name="connsiteX2066" fmla="*/ 8150483 w 9586368"/>
                <a:gd name="connsiteY2066" fmla="*/ 5029597 h 6479439"/>
                <a:gd name="connsiteX2067" fmla="*/ 8150483 w 9586368"/>
                <a:gd name="connsiteY2067" fmla="*/ 5039468 h 6479439"/>
                <a:gd name="connsiteX2068" fmla="*/ 8146464 w 9586368"/>
                <a:gd name="connsiteY2068" fmla="*/ 5043507 h 6479439"/>
                <a:gd name="connsiteX2069" fmla="*/ 8136553 w 9586368"/>
                <a:gd name="connsiteY2069" fmla="*/ 5043507 h 6479439"/>
                <a:gd name="connsiteX2070" fmla="*/ 8132534 w 9586368"/>
                <a:gd name="connsiteY2070" fmla="*/ 5039468 h 6479439"/>
                <a:gd name="connsiteX2071" fmla="*/ 8132534 w 9586368"/>
                <a:gd name="connsiteY2071" fmla="*/ 5029597 h 6479439"/>
                <a:gd name="connsiteX2072" fmla="*/ 7897241 w 9586368"/>
                <a:gd name="connsiteY2072" fmla="*/ 5025558 h 6479439"/>
                <a:gd name="connsiteX2073" fmla="*/ 7907151 w 9586368"/>
                <a:gd name="connsiteY2073" fmla="*/ 5025558 h 6479439"/>
                <a:gd name="connsiteX2074" fmla="*/ 7911170 w 9586368"/>
                <a:gd name="connsiteY2074" fmla="*/ 5029597 h 6479439"/>
                <a:gd name="connsiteX2075" fmla="*/ 7911170 w 9586368"/>
                <a:gd name="connsiteY2075" fmla="*/ 5039468 h 6479439"/>
                <a:gd name="connsiteX2076" fmla="*/ 7907151 w 9586368"/>
                <a:gd name="connsiteY2076" fmla="*/ 5043507 h 6479439"/>
                <a:gd name="connsiteX2077" fmla="*/ 7897241 w 9586368"/>
                <a:gd name="connsiteY2077" fmla="*/ 5043507 h 6479439"/>
                <a:gd name="connsiteX2078" fmla="*/ 7893222 w 9586368"/>
                <a:gd name="connsiteY2078" fmla="*/ 5039468 h 6479439"/>
                <a:gd name="connsiteX2079" fmla="*/ 7893222 w 9586368"/>
                <a:gd name="connsiteY2079" fmla="*/ 5029597 h 6479439"/>
                <a:gd name="connsiteX2080" fmla="*/ 7657926 w 9586368"/>
                <a:gd name="connsiteY2080" fmla="*/ 5025558 h 6479439"/>
                <a:gd name="connsiteX2081" fmla="*/ 7667836 w 9586368"/>
                <a:gd name="connsiteY2081" fmla="*/ 5025558 h 6479439"/>
                <a:gd name="connsiteX2082" fmla="*/ 7671855 w 9586368"/>
                <a:gd name="connsiteY2082" fmla="*/ 5029597 h 6479439"/>
                <a:gd name="connsiteX2083" fmla="*/ 7671855 w 9586368"/>
                <a:gd name="connsiteY2083" fmla="*/ 5039468 h 6479439"/>
                <a:gd name="connsiteX2084" fmla="*/ 7667836 w 9586368"/>
                <a:gd name="connsiteY2084" fmla="*/ 5043507 h 6479439"/>
                <a:gd name="connsiteX2085" fmla="*/ 7657926 w 9586368"/>
                <a:gd name="connsiteY2085" fmla="*/ 5043507 h 6479439"/>
                <a:gd name="connsiteX2086" fmla="*/ 7653906 w 9586368"/>
                <a:gd name="connsiteY2086" fmla="*/ 5039468 h 6479439"/>
                <a:gd name="connsiteX2087" fmla="*/ 7653906 w 9586368"/>
                <a:gd name="connsiteY2087" fmla="*/ 5029597 h 6479439"/>
                <a:gd name="connsiteX2088" fmla="*/ 7418611 w 9586368"/>
                <a:gd name="connsiteY2088" fmla="*/ 5025558 h 6479439"/>
                <a:gd name="connsiteX2089" fmla="*/ 7428521 w 9586368"/>
                <a:gd name="connsiteY2089" fmla="*/ 5025558 h 6479439"/>
                <a:gd name="connsiteX2090" fmla="*/ 7432540 w 9586368"/>
                <a:gd name="connsiteY2090" fmla="*/ 5029597 h 6479439"/>
                <a:gd name="connsiteX2091" fmla="*/ 7432540 w 9586368"/>
                <a:gd name="connsiteY2091" fmla="*/ 5039468 h 6479439"/>
                <a:gd name="connsiteX2092" fmla="*/ 7428521 w 9586368"/>
                <a:gd name="connsiteY2092" fmla="*/ 5043507 h 6479439"/>
                <a:gd name="connsiteX2093" fmla="*/ 7418611 w 9586368"/>
                <a:gd name="connsiteY2093" fmla="*/ 5043507 h 6479439"/>
                <a:gd name="connsiteX2094" fmla="*/ 7414592 w 9586368"/>
                <a:gd name="connsiteY2094" fmla="*/ 5039468 h 6479439"/>
                <a:gd name="connsiteX2095" fmla="*/ 7414592 w 9586368"/>
                <a:gd name="connsiteY2095" fmla="*/ 5029597 h 6479439"/>
                <a:gd name="connsiteX2096" fmla="*/ 7179298 w 9586368"/>
                <a:gd name="connsiteY2096" fmla="*/ 5025558 h 6479439"/>
                <a:gd name="connsiteX2097" fmla="*/ 7189209 w 9586368"/>
                <a:gd name="connsiteY2097" fmla="*/ 5025558 h 6479439"/>
                <a:gd name="connsiteX2098" fmla="*/ 7193228 w 9586368"/>
                <a:gd name="connsiteY2098" fmla="*/ 5029597 h 6479439"/>
                <a:gd name="connsiteX2099" fmla="*/ 7193228 w 9586368"/>
                <a:gd name="connsiteY2099" fmla="*/ 5039468 h 6479439"/>
                <a:gd name="connsiteX2100" fmla="*/ 7189209 w 9586368"/>
                <a:gd name="connsiteY2100" fmla="*/ 5043507 h 6479439"/>
                <a:gd name="connsiteX2101" fmla="*/ 7179298 w 9586368"/>
                <a:gd name="connsiteY2101" fmla="*/ 5043507 h 6479439"/>
                <a:gd name="connsiteX2102" fmla="*/ 7175279 w 9586368"/>
                <a:gd name="connsiteY2102" fmla="*/ 5039468 h 6479439"/>
                <a:gd name="connsiteX2103" fmla="*/ 7175279 w 9586368"/>
                <a:gd name="connsiteY2103" fmla="*/ 5029597 h 6479439"/>
                <a:gd name="connsiteX2104" fmla="*/ 6939983 w 9586368"/>
                <a:gd name="connsiteY2104" fmla="*/ 5025558 h 6479439"/>
                <a:gd name="connsiteX2105" fmla="*/ 6949894 w 9586368"/>
                <a:gd name="connsiteY2105" fmla="*/ 5025558 h 6479439"/>
                <a:gd name="connsiteX2106" fmla="*/ 6953913 w 9586368"/>
                <a:gd name="connsiteY2106" fmla="*/ 5029597 h 6479439"/>
                <a:gd name="connsiteX2107" fmla="*/ 6953913 w 9586368"/>
                <a:gd name="connsiteY2107" fmla="*/ 5039468 h 6479439"/>
                <a:gd name="connsiteX2108" fmla="*/ 6949894 w 9586368"/>
                <a:gd name="connsiteY2108" fmla="*/ 5043507 h 6479439"/>
                <a:gd name="connsiteX2109" fmla="*/ 6939983 w 9586368"/>
                <a:gd name="connsiteY2109" fmla="*/ 5043507 h 6479439"/>
                <a:gd name="connsiteX2110" fmla="*/ 6935964 w 9586368"/>
                <a:gd name="connsiteY2110" fmla="*/ 5039468 h 6479439"/>
                <a:gd name="connsiteX2111" fmla="*/ 6935964 w 9586368"/>
                <a:gd name="connsiteY2111" fmla="*/ 5029597 h 6479439"/>
                <a:gd name="connsiteX2112" fmla="*/ 6700670 w 9586368"/>
                <a:gd name="connsiteY2112" fmla="*/ 5025558 h 6479439"/>
                <a:gd name="connsiteX2113" fmla="*/ 6710581 w 9586368"/>
                <a:gd name="connsiteY2113" fmla="*/ 5025558 h 6479439"/>
                <a:gd name="connsiteX2114" fmla="*/ 6714600 w 9586368"/>
                <a:gd name="connsiteY2114" fmla="*/ 5029597 h 6479439"/>
                <a:gd name="connsiteX2115" fmla="*/ 6714600 w 9586368"/>
                <a:gd name="connsiteY2115" fmla="*/ 5039468 h 6479439"/>
                <a:gd name="connsiteX2116" fmla="*/ 6710581 w 9586368"/>
                <a:gd name="connsiteY2116" fmla="*/ 5043507 h 6479439"/>
                <a:gd name="connsiteX2117" fmla="*/ 6700670 w 9586368"/>
                <a:gd name="connsiteY2117" fmla="*/ 5043507 h 6479439"/>
                <a:gd name="connsiteX2118" fmla="*/ 6696651 w 9586368"/>
                <a:gd name="connsiteY2118" fmla="*/ 5039468 h 6479439"/>
                <a:gd name="connsiteX2119" fmla="*/ 6696651 w 9586368"/>
                <a:gd name="connsiteY2119" fmla="*/ 5029597 h 6479439"/>
                <a:gd name="connsiteX2120" fmla="*/ 6461356 w 9586368"/>
                <a:gd name="connsiteY2120" fmla="*/ 5025558 h 6479439"/>
                <a:gd name="connsiteX2121" fmla="*/ 6471266 w 9586368"/>
                <a:gd name="connsiteY2121" fmla="*/ 5025558 h 6479439"/>
                <a:gd name="connsiteX2122" fmla="*/ 6475285 w 9586368"/>
                <a:gd name="connsiteY2122" fmla="*/ 5029597 h 6479439"/>
                <a:gd name="connsiteX2123" fmla="*/ 6475285 w 9586368"/>
                <a:gd name="connsiteY2123" fmla="*/ 5039468 h 6479439"/>
                <a:gd name="connsiteX2124" fmla="*/ 6471266 w 9586368"/>
                <a:gd name="connsiteY2124" fmla="*/ 5043507 h 6479439"/>
                <a:gd name="connsiteX2125" fmla="*/ 6461356 w 9586368"/>
                <a:gd name="connsiteY2125" fmla="*/ 5043507 h 6479439"/>
                <a:gd name="connsiteX2126" fmla="*/ 6457337 w 9586368"/>
                <a:gd name="connsiteY2126" fmla="*/ 5039468 h 6479439"/>
                <a:gd name="connsiteX2127" fmla="*/ 6457337 w 9586368"/>
                <a:gd name="connsiteY2127" fmla="*/ 5029597 h 6479439"/>
                <a:gd name="connsiteX2128" fmla="*/ 6222042 w 9586368"/>
                <a:gd name="connsiteY2128" fmla="*/ 5025558 h 6479439"/>
                <a:gd name="connsiteX2129" fmla="*/ 6231952 w 9586368"/>
                <a:gd name="connsiteY2129" fmla="*/ 5025558 h 6479439"/>
                <a:gd name="connsiteX2130" fmla="*/ 6235971 w 9586368"/>
                <a:gd name="connsiteY2130" fmla="*/ 5029597 h 6479439"/>
                <a:gd name="connsiteX2131" fmla="*/ 6235971 w 9586368"/>
                <a:gd name="connsiteY2131" fmla="*/ 5039468 h 6479439"/>
                <a:gd name="connsiteX2132" fmla="*/ 6231952 w 9586368"/>
                <a:gd name="connsiteY2132" fmla="*/ 5043507 h 6479439"/>
                <a:gd name="connsiteX2133" fmla="*/ 6222042 w 9586368"/>
                <a:gd name="connsiteY2133" fmla="*/ 5043507 h 6479439"/>
                <a:gd name="connsiteX2134" fmla="*/ 6218023 w 9586368"/>
                <a:gd name="connsiteY2134" fmla="*/ 5039468 h 6479439"/>
                <a:gd name="connsiteX2135" fmla="*/ 6218023 w 9586368"/>
                <a:gd name="connsiteY2135" fmla="*/ 5029597 h 6479439"/>
                <a:gd name="connsiteX2136" fmla="*/ 5982729 w 9586368"/>
                <a:gd name="connsiteY2136" fmla="*/ 5025558 h 6479439"/>
                <a:gd name="connsiteX2137" fmla="*/ 5992639 w 9586368"/>
                <a:gd name="connsiteY2137" fmla="*/ 5025558 h 6479439"/>
                <a:gd name="connsiteX2138" fmla="*/ 5996658 w 9586368"/>
                <a:gd name="connsiteY2138" fmla="*/ 5029597 h 6479439"/>
                <a:gd name="connsiteX2139" fmla="*/ 5996658 w 9586368"/>
                <a:gd name="connsiteY2139" fmla="*/ 5039468 h 6479439"/>
                <a:gd name="connsiteX2140" fmla="*/ 5992639 w 9586368"/>
                <a:gd name="connsiteY2140" fmla="*/ 5043507 h 6479439"/>
                <a:gd name="connsiteX2141" fmla="*/ 5982729 w 9586368"/>
                <a:gd name="connsiteY2141" fmla="*/ 5043507 h 6479439"/>
                <a:gd name="connsiteX2142" fmla="*/ 5978710 w 9586368"/>
                <a:gd name="connsiteY2142" fmla="*/ 5039468 h 6479439"/>
                <a:gd name="connsiteX2143" fmla="*/ 5978710 w 9586368"/>
                <a:gd name="connsiteY2143" fmla="*/ 5029597 h 6479439"/>
                <a:gd name="connsiteX2144" fmla="*/ 5743412 w 9586368"/>
                <a:gd name="connsiteY2144" fmla="*/ 5025558 h 6479439"/>
                <a:gd name="connsiteX2145" fmla="*/ 5753323 w 9586368"/>
                <a:gd name="connsiteY2145" fmla="*/ 5025558 h 6479439"/>
                <a:gd name="connsiteX2146" fmla="*/ 5757342 w 9586368"/>
                <a:gd name="connsiteY2146" fmla="*/ 5029597 h 6479439"/>
                <a:gd name="connsiteX2147" fmla="*/ 5757342 w 9586368"/>
                <a:gd name="connsiteY2147" fmla="*/ 5039468 h 6479439"/>
                <a:gd name="connsiteX2148" fmla="*/ 5753323 w 9586368"/>
                <a:gd name="connsiteY2148" fmla="*/ 5043507 h 6479439"/>
                <a:gd name="connsiteX2149" fmla="*/ 5743412 w 9586368"/>
                <a:gd name="connsiteY2149" fmla="*/ 5043507 h 6479439"/>
                <a:gd name="connsiteX2150" fmla="*/ 5739393 w 9586368"/>
                <a:gd name="connsiteY2150" fmla="*/ 5039468 h 6479439"/>
                <a:gd name="connsiteX2151" fmla="*/ 5739393 w 9586368"/>
                <a:gd name="connsiteY2151" fmla="*/ 5029597 h 6479439"/>
                <a:gd name="connsiteX2152" fmla="*/ 5504099 w 9586368"/>
                <a:gd name="connsiteY2152" fmla="*/ 5025558 h 6479439"/>
                <a:gd name="connsiteX2153" fmla="*/ 5514010 w 9586368"/>
                <a:gd name="connsiteY2153" fmla="*/ 5025558 h 6479439"/>
                <a:gd name="connsiteX2154" fmla="*/ 5518029 w 9586368"/>
                <a:gd name="connsiteY2154" fmla="*/ 5029597 h 6479439"/>
                <a:gd name="connsiteX2155" fmla="*/ 5518029 w 9586368"/>
                <a:gd name="connsiteY2155" fmla="*/ 5039468 h 6479439"/>
                <a:gd name="connsiteX2156" fmla="*/ 5514010 w 9586368"/>
                <a:gd name="connsiteY2156" fmla="*/ 5043507 h 6479439"/>
                <a:gd name="connsiteX2157" fmla="*/ 5504099 w 9586368"/>
                <a:gd name="connsiteY2157" fmla="*/ 5043507 h 6479439"/>
                <a:gd name="connsiteX2158" fmla="*/ 5500080 w 9586368"/>
                <a:gd name="connsiteY2158" fmla="*/ 5039468 h 6479439"/>
                <a:gd name="connsiteX2159" fmla="*/ 5500080 w 9586368"/>
                <a:gd name="connsiteY2159" fmla="*/ 5029597 h 6479439"/>
                <a:gd name="connsiteX2160" fmla="*/ 5264784 w 9586368"/>
                <a:gd name="connsiteY2160" fmla="*/ 5025558 h 6479439"/>
                <a:gd name="connsiteX2161" fmla="*/ 5274694 w 9586368"/>
                <a:gd name="connsiteY2161" fmla="*/ 5025558 h 6479439"/>
                <a:gd name="connsiteX2162" fmla="*/ 5278713 w 9586368"/>
                <a:gd name="connsiteY2162" fmla="*/ 5029597 h 6479439"/>
                <a:gd name="connsiteX2163" fmla="*/ 5278713 w 9586368"/>
                <a:gd name="connsiteY2163" fmla="*/ 5039468 h 6479439"/>
                <a:gd name="connsiteX2164" fmla="*/ 5274694 w 9586368"/>
                <a:gd name="connsiteY2164" fmla="*/ 5043507 h 6479439"/>
                <a:gd name="connsiteX2165" fmla="*/ 5264784 w 9586368"/>
                <a:gd name="connsiteY2165" fmla="*/ 5043507 h 6479439"/>
                <a:gd name="connsiteX2166" fmla="*/ 5260765 w 9586368"/>
                <a:gd name="connsiteY2166" fmla="*/ 5039468 h 6479439"/>
                <a:gd name="connsiteX2167" fmla="*/ 5260765 w 9586368"/>
                <a:gd name="connsiteY2167" fmla="*/ 5029597 h 6479439"/>
                <a:gd name="connsiteX2168" fmla="*/ 5025470 w 9586368"/>
                <a:gd name="connsiteY2168" fmla="*/ 5025558 h 6479439"/>
                <a:gd name="connsiteX2169" fmla="*/ 5035381 w 9586368"/>
                <a:gd name="connsiteY2169" fmla="*/ 5025558 h 6479439"/>
                <a:gd name="connsiteX2170" fmla="*/ 5039400 w 9586368"/>
                <a:gd name="connsiteY2170" fmla="*/ 5029597 h 6479439"/>
                <a:gd name="connsiteX2171" fmla="*/ 5039400 w 9586368"/>
                <a:gd name="connsiteY2171" fmla="*/ 5039468 h 6479439"/>
                <a:gd name="connsiteX2172" fmla="*/ 5035381 w 9586368"/>
                <a:gd name="connsiteY2172" fmla="*/ 5043507 h 6479439"/>
                <a:gd name="connsiteX2173" fmla="*/ 5025470 w 9586368"/>
                <a:gd name="connsiteY2173" fmla="*/ 5043507 h 6479439"/>
                <a:gd name="connsiteX2174" fmla="*/ 5021451 w 9586368"/>
                <a:gd name="connsiteY2174" fmla="*/ 5039468 h 6479439"/>
                <a:gd name="connsiteX2175" fmla="*/ 5021451 w 9586368"/>
                <a:gd name="connsiteY2175" fmla="*/ 5029597 h 6479439"/>
                <a:gd name="connsiteX2176" fmla="*/ 4786241 w 9586368"/>
                <a:gd name="connsiteY2176" fmla="*/ 5025558 h 6479439"/>
                <a:gd name="connsiteX2177" fmla="*/ 4796152 w 9586368"/>
                <a:gd name="connsiteY2177" fmla="*/ 5025558 h 6479439"/>
                <a:gd name="connsiteX2178" fmla="*/ 4800171 w 9586368"/>
                <a:gd name="connsiteY2178" fmla="*/ 5029597 h 6479439"/>
                <a:gd name="connsiteX2179" fmla="*/ 4800171 w 9586368"/>
                <a:gd name="connsiteY2179" fmla="*/ 5039468 h 6479439"/>
                <a:gd name="connsiteX2180" fmla="*/ 4796152 w 9586368"/>
                <a:gd name="connsiteY2180" fmla="*/ 5043507 h 6479439"/>
                <a:gd name="connsiteX2181" fmla="*/ 4786241 w 9586368"/>
                <a:gd name="connsiteY2181" fmla="*/ 5043507 h 6479439"/>
                <a:gd name="connsiteX2182" fmla="*/ 4782224 w 9586368"/>
                <a:gd name="connsiteY2182" fmla="*/ 5039468 h 6479439"/>
                <a:gd name="connsiteX2183" fmla="*/ 4782224 w 9586368"/>
                <a:gd name="connsiteY2183" fmla="*/ 5029597 h 6479439"/>
                <a:gd name="connsiteX2184" fmla="*/ 4546929 w 9586368"/>
                <a:gd name="connsiteY2184" fmla="*/ 5025558 h 6479439"/>
                <a:gd name="connsiteX2185" fmla="*/ 4556840 w 9586368"/>
                <a:gd name="connsiteY2185" fmla="*/ 5025558 h 6479439"/>
                <a:gd name="connsiteX2186" fmla="*/ 4560859 w 9586368"/>
                <a:gd name="connsiteY2186" fmla="*/ 5029597 h 6479439"/>
                <a:gd name="connsiteX2187" fmla="*/ 4560859 w 9586368"/>
                <a:gd name="connsiteY2187" fmla="*/ 5039468 h 6479439"/>
                <a:gd name="connsiteX2188" fmla="*/ 4556840 w 9586368"/>
                <a:gd name="connsiteY2188" fmla="*/ 5043507 h 6479439"/>
                <a:gd name="connsiteX2189" fmla="*/ 4546929 w 9586368"/>
                <a:gd name="connsiteY2189" fmla="*/ 5043507 h 6479439"/>
                <a:gd name="connsiteX2190" fmla="*/ 4542910 w 9586368"/>
                <a:gd name="connsiteY2190" fmla="*/ 5039468 h 6479439"/>
                <a:gd name="connsiteX2191" fmla="*/ 4542910 w 9586368"/>
                <a:gd name="connsiteY2191" fmla="*/ 5029597 h 6479439"/>
                <a:gd name="connsiteX2192" fmla="*/ 4307612 w 9586368"/>
                <a:gd name="connsiteY2192" fmla="*/ 5025558 h 6479439"/>
                <a:gd name="connsiteX2193" fmla="*/ 4317523 w 9586368"/>
                <a:gd name="connsiteY2193" fmla="*/ 5025558 h 6479439"/>
                <a:gd name="connsiteX2194" fmla="*/ 4321543 w 9586368"/>
                <a:gd name="connsiteY2194" fmla="*/ 5029597 h 6479439"/>
                <a:gd name="connsiteX2195" fmla="*/ 4321543 w 9586368"/>
                <a:gd name="connsiteY2195" fmla="*/ 5039468 h 6479439"/>
                <a:gd name="connsiteX2196" fmla="*/ 4317523 w 9586368"/>
                <a:gd name="connsiteY2196" fmla="*/ 5043507 h 6479439"/>
                <a:gd name="connsiteX2197" fmla="*/ 4307612 w 9586368"/>
                <a:gd name="connsiteY2197" fmla="*/ 5043507 h 6479439"/>
                <a:gd name="connsiteX2198" fmla="*/ 4303595 w 9586368"/>
                <a:gd name="connsiteY2198" fmla="*/ 5039468 h 6479439"/>
                <a:gd name="connsiteX2199" fmla="*/ 4303595 w 9586368"/>
                <a:gd name="connsiteY2199" fmla="*/ 5029597 h 6479439"/>
                <a:gd name="connsiteX2200" fmla="*/ 4068297 w 9586368"/>
                <a:gd name="connsiteY2200" fmla="*/ 5025558 h 6479439"/>
                <a:gd name="connsiteX2201" fmla="*/ 4078210 w 9586368"/>
                <a:gd name="connsiteY2201" fmla="*/ 5025558 h 6479439"/>
                <a:gd name="connsiteX2202" fmla="*/ 4082229 w 9586368"/>
                <a:gd name="connsiteY2202" fmla="*/ 5029597 h 6479439"/>
                <a:gd name="connsiteX2203" fmla="*/ 4082229 w 9586368"/>
                <a:gd name="connsiteY2203" fmla="*/ 5039468 h 6479439"/>
                <a:gd name="connsiteX2204" fmla="*/ 4078210 w 9586368"/>
                <a:gd name="connsiteY2204" fmla="*/ 5043507 h 6479439"/>
                <a:gd name="connsiteX2205" fmla="*/ 4068297 w 9586368"/>
                <a:gd name="connsiteY2205" fmla="*/ 5043507 h 6479439"/>
                <a:gd name="connsiteX2206" fmla="*/ 4064278 w 9586368"/>
                <a:gd name="connsiteY2206" fmla="*/ 5039468 h 6479439"/>
                <a:gd name="connsiteX2207" fmla="*/ 4064278 w 9586368"/>
                <a:gd name="connsiteY2207" fmla="*/ 5029597 h 6479439"/>
                <a:gd name="connsiteX2208" fmla="*/ 3828990 w 9586368"/>
                <a:gd name="connsiteY2208" fmla="*/ 5025558 h 6479439"/>
                <a:gd name="connsiteX2209" fmla="*/ 3838899 w 9586368"/>
                <a:gd name="connsiteY2209" fmla="*/ 5025558 h 6479439"/>
                <a:gd name="connsiteX2210" fmla="*/ 3842917 w 9586368"/>
                <a:gd name="connsiteY2210" fmla="*/ 5029597 h 6479439"/>
                <a:gd name="connsiteX2211" fmla="*/ 3842917 w 9586368"/>
                <a:gd name="connsiteY2211" fmla="*/ 5039468 h 6479439"/>
                <a:gd name="connsiteX2212" fmla="*/ 3838899 w 9586368"/>
                <a:gd name="connsiteY2212" fmla="*/ 5043507 h 6479439"/>
                <a:gd name="connsiteX2213" fmla="*/ 3828990 w 9586368"/>
                <a:gd name="connsiteY2213" fmla="*/ 5043507 h 6479439"/>
                <a:gd name="connsiteX2214" fmla="*/ 3824971 w 9586368"/>
                <a:gd name="connsiteY2214" fmla="*/ 5039468 h 6479439"/>
                <a:gd name="connsiteX2215" fmla="*/ 3824971 w 9586368"/>
                <a:gd name="connsiteY2215" fmla="*/ 5029597 h 6479439"/>
                <a:gd name="connsiteX2216" fmla="*/ 3589676 w 9586368"/>
                <a:gd name="connsiteY2216" fmla="*/ 5025558 h 6479439"/>
                <a:gd name="connsiteX2217" fmla="*/ 3599585 w 9586368"/>
                <a:gd name="connsiteY2217" fmla="*/ 5025558 h 6479439"/>
                <a:gd name="connsiteX2218" fmla="*/ 3603604 w 9586368"/>
                <a:gd name="connsiteY2218" fmla="*/ 5029597 h 6479439"/>
                <a:gd name="connsiteX2219" fmla="*/ 3603604 w 9586368"/>
                <a:gd name="connsiteY2219" fmla="*/ 5039468 h 6479439"/>
                <a:gd name="connsiteX2220" fmla="*/ 3599585 w 9586368"/>
                <a:gd name="connsiteY2220" fmla="*/ 5043507 h 6479439"/>
                <a:gd name="connsiteX2221" fmla="*/ 3589676 w 9586368"/>
                <a:gd name="connsiteY2221" fmla="*/ 5043507 h 6479439"/>
                <a:gd name="connsiteX2222" fmla="*/ 3585657 w 9586368"/>
                <a:gd name="connsiteY2222" fmla="*/ 5039468 h 6479439"/>
                <a:gd name="connsiteX2223" fmla="*/ 3585657 w 9586368"/>
                <a:gd name="connsiteY2223" fmla="*/ 5029597 h 6479439"/>
                <a:gd name="connsiteX2224" fmla="*/ 3350359 w 9586368"/>
                <a:gd name="connsiteY2224" fmla="*/ 5025558 h 6479439"/>
                <a:gd name="connsiteX2225" fmla="*/ 3360268 w 9586368"/>
                <a:gd name="connsiteY2225" fmla="*/ 5025558 h 6479439"/>
                <a:gd name="connsiteX2226" fmla="*/ 3364287 w 9586368"/>
                <a:gd name="connsiteY2226" fmla="*/ 5029597 h 6479439"/>
                <a:gd name="connsiteX2227" fmla="*/ 3364287 w 9586368"/>
                <a:gd name="connsiteY2227" fmla="*/ 5039468 h 6479439"/>
                <a:gd name="connsiteX2228" fmla="*/ 3360268 w 9586368"/>
                <a:gd name="connsiteY2228" fmla="*/ 5043507 h 6479439"/>
                <a:gd name="connsiteX2229" fmla="*/ 3350359 w 9586368"/>
                <a:gd name="connsiteY2229" fmla="*/ 5043507 h 6479439"/>
                <a:gd name="connsiteX2230" fmla="*/ 3346340 w 9586368"/>
                <a:gd name="connsiteY2230" fmla="*/ 5039468 h 6479439"/>
                <a:gd name="connsiteX2231" fmla="*/ 3346340 w 9586368"/>
                <a:gd name="connsiteY2231" fmla="*/ 5029597 h 6479439"/>
                <a:gd name="connsiteX2232" fmla="*/ 3111048 w 9586368"/>
                <a:gd name="connsiteY2232" fmla="*/ 5025558 h 6479439"/>
                <a:gd name="connsiteX2233" fmla="*/ 3120959 w 9586368"/>
                <a:gd name="connsiteY2233" fmla="*/ 5025558 h 6479439"/>
                <a:gd name="connsiteX2234" fmla="*/ 3124977 w 9586368"/>
                <a:gd name="connsiteY2234" fmla="*/ 5029597 h 6479439"/>
                <a:gd name="connsiteX2235" fmla="*/ 3124977 w 9586368"/>
                <a:gd name="connsiteY2235" fmla="*/ 5039468 h 6479439"/>
                <a:gd name="connsiteX2236" fmla="*/ 3120959 w 9586368"/>
                <a:gd name="connsiteY2236" fmla="*/ 5043507 h 6479439"/>
                <a:gd name="connsiteX2237" fmla="*/ 3111048 w 9586368"/>
                <a:gd name="connsiteY2237" fmla="*/ 5043507 h 6479439"/>
                <a:gd name="connsiteX2238" fmla="*/ 3107029 w 9586368"/>
                <a:gd name="connsiteY2238" fmla="*/ 5039468 h 6479439"/>
                <a:gd name="connsiteX2239" fmla="*/ 3107029 w 9586368"/>
                <a:gd name="connsiteY2239" fmla="*/ 5029597 h 6479439"/>
                <a:gd name="connsiteX2240" fmla="*/ 2871737 w 9586368"/>
                <a:gd name="connsiteY2240" fmla="*/ 5025558 h 6479439"/>
                <a:gd name="connsiteX2241" fmla="*/ 2881646 w 9586368"/>
                <a:gd name="connsiteY2241" fmla="*/ 5025558 h 6479439"/>
                <a:gd name="connsiteX2242" fmla="*/ 2885666 w 9586368"/>
                <a:gd name="connsiteY2242" fmla="*/ 5029597 h 6479439"/>
                <a:gd name="connsiteX2243" fmla="*/ 2885666 w 9586368"/>
                <a:gd name="connsiteY2243" fmla="*/ 5039468 h 6479439"/>
                <a:gd name="connsiteX2244" fmla="*/ 2881646 w 9586368"/>
                <a:gd name="connsiteY2244" fmla="*/ 5043507 h 6479439"/>
                <a:gd name="connsiteX2245" fmla="*/ 2871737 w 9586368"/>
                <a:gd name="connsiteY2245" fmla="*/ 5043507 h 6479439"/>
                <a:gd name="connsiteX2246" fmla="*/ 2867717 w 9586368"/>
                <a:gd name="connsiteY2246" fmla="*/ 5039468 h 6479439"/>
                <a:gd name="connsiteX2247" fmla="*/ 2867717 w 9586368"/>
                <a:gd name="connsiteY2247" fmla="*/ 5029597 h 6479439"/>
                <a:gd name="connsiteX2248" fmla="*/ 2632423 w 9586368"/>
                <a:gd name="connsiteY2248" fmla="*/ 5025558 h 6479439"/>
                <a:gd name="connsiteX2249" fmla="*/ 2642334 w 9586368"/>
                <a:gd name="connsiteY2249" fmla="*/ 5025558 h 6479439"/>
                <a:gd name="connsiteX2250" fmla="*/ 2646352 w 9586368"/>
                <a:gd name="connsiteY2250" fmla="*/ 5029597 h 6479439"/>
                <a:gd name="connsiteX2251" fmla="*/ 2646352 w 9586368"/>
                <a:gd name="connsiteY2251" fmla="*/ 5039468 h 6479439"/>
                <a:gd name="connsiteX2252" fmla="*/ 2642334 w 9586368"/>
                <a:gd name="connsiteY2252" fmla="*/ 5043507 h 6479439"/>
                <a:gd name="connsiteX2253" fmla="*/ 2632423 w 9586368"/>
                <a:gd name="connsiteY2253" fmla="*/ 5043507 h 6479439"/>
                <a:gd name="connsiteX2254" fmla="*/ 2628404 w 9586368"/>
                <a:gd name="connsiteY2254" fmla="*/ 5039468 h 6479439"/>
                <a:gd name="connsiteX2255" fmla="*/ 2628404 w 9586368"/>
                <a:gd name="connsiteY2255" fmla="*/ 5029597 h 6479439"/>
                <a:gd name="connsiteX2256" fmla="*/ 2393104 w 9586368"/>
                <a:gd name="connsiteY2256" fmla="*/ 5025558 h 6479439"/>
                <a:gd name="connsiteX2257" fmla="*/ 2403015 w 9586368"/>
                <a:gd name="connsiteY2257" fmla="*/ 5025558 h 6479439"/>
                <a:gd name="connsiteX2258" fmla="*/ 2407034 w 9586368"/>
                <a:gd name="connsiteY2258" fmla="*/ 5029597 h 6479439"/>
                <a:gd name="connsiteX2259" fmla="*/ 2407034 w 9586368"/>
                <a:gd name="connsiteY2259" fmla="*/ 5039468 h 6479439"/>
                <a:gd name="connsiteX2260" fmla="*/ 2403015 w 9586368"/>
                <a:gd name="connsiteY2260" fmla="*/ 5043507 h 6479439"/>
                <a:gd name="connsiteX2261" fmla="*/ 2393104 w 9586368"/>
                <a:gd name="connsiteY2261" fmla="*/ 5043507 h 6479439"/>
                <a:gd name="connsiteX2262" fmla="*/ 2389087 w 9586368"/>
                <a:gd name="connsiteY2262" fmla="*/ 5039468 h 6479439"/>
                <a:gd name="connsiteX2263" fmla="*/ 2389087 w 9586368"/>
                <a:gd name="connsiteY2263" fmla="*/ 5029597 h 6479439"/>
                <a:gd name="connsiteX2264" fmla="*/ 721962 w 9586368"/>
                <a:gd name="connsiteY2264" fmla="*/ 5025558 h 6479439"/>
                <a:gd name="connsiteX2265" fmla="*/ 731872 w 9586368"/>
                <a:gd name="connsiteY2265" fmla="*/ 5025558 h 6479439"/>
                <a:gd name="connsiteX2266" fmla="*/ 735891 w 9586368"/>
                <a:gd name="connsiteY2266" fmla="*/ 5029597 h 6479439"/>
                <a:gd name="connsiteX2267" fmla="*/ 735891 w 9586368"/>
                <a:gd name="connsiteY2267" fmla="*/ 5039468 h 6479439"/>
                <a:gd name="connsiteX2268" fmla="*/ 731872 w 9586368"/>
                <a:gd name="connsiteY2268" fmla="*/ 5043507 h 6479439"/>
                <a:gd name="connsiteX2269" fmla="*/ 721962 w 9586368"/>
                <a:gd name="connsiteY2269" fmla="*/ 5043507 h 6479439"/>
                <a:gd name="connsiteX2270" fmla="*/ 717944 w 9586368"/>
                <a:gd name="connsiteY2270" fmla="*/ 5039468 h 6479439"/>
                <a:gd name="connsiteX2271" fmla="*/ 717944 w 9586368"/>
                <a:gd name="connsiteY2271" fmla="*/ 5029597 h 6479439"/>
                <a:gd name="connsiteX2272" fmla="*/ 482650 w 9586368"/>
                <a:gd name="connsiteY2272" fmla="*/ 5025558 h 6479439"/>
                <a:gd name="connsiteX2273" fmla="*/ 492560 w 9586368"/>
                <a:gd name="connsiteY2273" fmla="*/ 5025558 h 6479439"/>
                <a:gd name="connsiteX2274" fmla="*/ 496580 w 9586368"/>
                <a:gd name="connsiteY2274" fmla="*/ 5029597 h 6479439"/>
                <a:gd name="connsiteX2275" fmla="*/ 496580 w 9586368"/>
                <a:gd name="connsiteY2275" fmla="*/ 5039468 h 6479439"/>
                <a:gd name="connsiteX2276" fmla="*/ 492560 w 9586368"/>
                <a:gd name="connsiteY2276" fmla="*/ 5043507 h 6479439"/>
                <a:gd name="connsiteX2277" fmla="*/ 482650 w 9586368"/>
                <a:gd name="connsiteY2277" fmla="*/ 5043507 h 6479439"/>
                <a:gd name="connsiteX2278" fmla="*/ 478631 w 9586368"/>
                <a:gd name="connsiteY2278" fmla="*/ 5039468 h 6479439"/>
                <a:gd name="connsiteX2279" fmla="*/ 478631 w 9586368"/>
                <a:gd name="connsiteY2279" fmla="*/ 5029597 h 6479439"/>
                <a:gd name="connsiteX2280" fmla="*/ 243336 w 9586368"/>
                <a:gd name="connsiteY2280" fmla="*/ 5025558 h 6479439"/>
                <a:gd name="connsiteX2281" fmla="*/ 253247 w 9586368"/>
                <a:gd name="connsiteY2281" fmla="*/ 5025558 h 6479439"/>
                <a:gd name="connsiteX2282" fmla="*/ 257266 w 9586368"/>
                <a:gd name="connsiteY2282" fmla="*/ 5029597 h 6479439"/>
                <a:gd name="connsiteX2283" fmla="*/ 257266 w 9586368"/>
                <a:gd name="connsiteY2283" fmla="*/ 5039468 h 6479439"/>
                <a:gd name="connsiteX2284" fmla="*/ 253247 w 9586368"/>
                <a:gd name="connsiteY2284" fmla="*/ 5043507 h 6479439"/>
                <a:gd name="connsiteX2285" fmla="*/ 243336 w 9586368"/>
                <a:gd name="connsiteY2285" fmla="*/ 5043507 h 6479439"/>
                <a:gd name="connsiteX2286" fmla="*/ 239317 w 9586368"/>
                <a:gd name="connsiteY2286" fmla="*/ 5039468 h 6479439"/>
                <a:gd name="connsiteX2287" fmla="*/ 239317 w 9586368"/>
                <a:gd name="connsiteY2287" fmla="*/ 5029597 h 6479439"/>
                <a:gd name="connsiteX2288" fmla="*/ 4024 w 9586368"/>
                <a:gd name="connsiteY2288" fmla="*/ 5025558 h 6479439"/>
                <a:gd name="connsiteX2289" fmla="*/ 13933 w 9586368"/>
                <a:gd name="connsiteY2289" fmla="*/ 5025558 h 6479439"/>
                <a:gd name="connsiteX2290" fmla="*/ 17952 w 9586368"/>
                <a:gd name="connsiteY2290" fmla="*/ 5029597 h 6479439"/>
                <a:gd name="connsiteX2291" fmla="*/ 17952 w 9586368"/>
                <a:gd name="connsiteY2291" fmla="*/ 5039468 h 6479439"/>
                <a:gd name="connsiteX2292" fmla="*/ 13933 w 9586368"/>
                <a:gd name="connsiteY2292" fmla="*/ 5043507 h 6479439"/>
                <a:gd name="connsiteX2293" fmla="*/ 4024 w 9586368"/>
                <a:gd name="connsiteY2293" fmla="*/ 5043507 h 6479439"/>
                <a:gd name="connsiteX2294" fmla="*/ 4 w 9586368"/>
                <a:gd name="connsiteY2294" fmla="*/ 5039468 h 6479439"/>
                <a:gd name="connsiteX2295" fmla="*/ 4 w 9586368"/>
                <a:gd name="connsiteY2295" fmla="*/ 5029597 h 6479439"/>
                <a:gd name="connsiteX2296" fmla="*/ 9572438 w 9586368"/>
                <a:gd name="connsiteY2296" fmla="*/ 4786279 h 6479439"/>
                <a:gd name="connsiteX2297" fmla="*/ 9582349 w 9586368"/>
                <a:gd name="connsiteY2297" fmla="*/ 4786279 h 6479439"/>
                <a:gd name="connsiteX2298" fmla="*/ 9586368 w 9586368"/>
                <a:gd name="connsiteY2298" fmla="*/ 4790317 h 6479439"/>
                <a:gd name="connsiteX2299" fmla="*/ 9586368 w 9586368"/>
                <a:gd name="connsiteY2299" fmla="*/ 4800188 h 6479439"/>
                <a:gd name="connsiteX2300" fmla="*/ 9582349 w 9586368"/>
                <a:gd name="connsiteY2300" fmla="*/ 4804227 h 6479439"/>
                <a:gd name="connsiteX2301" fmla="*/ 9572438 w 9586368"/>
                <a:gd name="connsiteY2301" fmla="*/ 4804227 h 6479439"/>
                <a:gd name="connsiteX2302" fmla="*/ 9568419 w 9586368"/>
                <a:gd name="connsiteY2302" fmla="*/ 4800188 h 6479439"/>
                <a:gd name="connsiteX2303" fmla="*/ 9568419 w 9586368"/>
                <a:gd name="connsiteY2303" fmla="*/ 4790317 h 6479439"/>
                <a:gd name="connsiteX2304" fmla="*/ 9333125 w 9586368"/>
                <a:gd name="connsiteY2304" fmla="*/ 4786279 h 6479439"/>
                <a:gd name="connsiteX2305" fmla="*/ 9343036 w 9586368"/>
                <a:gd name="connsiteY2305" fmla="*/ 4786279 h 6479439"/>
                <a:gd name="connsiteX2306" fmla="*/ 9347055 w 9586368"/>
                <a:gd name="connsiteY2306" fmla="*/ 4790317 h 6479439"/>
                <a:gd name="connsiteX2307" fmla="*/ 9347055 w 9586368"/>
                <a:gd name="connsiteY2307" fmla="*/ 4800188 h 6479439"/>
                <a:gd name="connsiteX2308" fmla="*/ 9343036 w 9586368"/>
                <a:gd name="connsiteY2308" fmla="*/ 4804227 h 6479439"/>
                <a:gd name="connsiteX2309" fmla="*/ 9333125 w 9586368"/>
                <a:gd name="connsiteY2309" fmla="*/ 4804227 h 6479439"/>
                <a:gd name="connsiteX2310" fmla="*/ 9329106 w 9586368"/>
                <a:gd name="connsiteY2310" fmla="*/ 4800188 h 6479439"/>
                <a:gd name="connsiteX2311" fmla="*/ 9329106 w 9586368"/>
                <a:gd name="connsiteY2311" fmla="*/ 4790317 h 6479439"/>
                <a:gd name="connsiteX2312" fmla="*/ 9093811 w 9586368"/>
                <a:gd name="connsiteY2312" fmla="*/ 4786279 h 6479439"/>
                <a:gd name="connsiteX2313" fmla="*/ 9103722 w 9586368"/>
                <a:gd name="connsiteY2313" fmla="*/ 4786279 h 6479439"/>
                <a:gd name="connsiteX2314" fmla="*/ 9107741 w 9586368"/>
                <a:gd name="connsiteY2314" fmla="*/ 4790317 h 6479439"/>
                <a:gd name="connsiteX2315" fmla="*/ 9107741 w 9586368"/>
                <a:gd name="connsiteY2315" fmla="*/ 4800188 h 6479439"/>
                <a:gd name="connsiteX2316" fmla="*/ 9103722 w 9586368"/>
                <a:gd name="connsiteY2316" fmla="*/ 4804227 h 6479439"/>
                <a:gd name="connsiteX2317" fmla="*/ 9093811 w 9586368"/>
                <a:gd name="connsiteY2317" fmla="*/ 4804227 h 6479439"/>
                <a:gd name="connsiteX2318" fmla="*/ 9089792 w 9586368"/>
                <a:gd name="connsiteY2318" fmla="*/ 4800188 h 6479439"/>
                <a:gd name="connsiteX2319" fmla="*/ 9089792 w 9586368"/>
                <a:gd name="connsiteY2319" fmla="*/ 4790317 h 6479439"/>
                <a:gd name="connsiteX2320" fmla="*/ 8854496 w 9586368"/>
                <a:gd name="connsiteY2320" fmla="*/ 4786279 h 6479439"/>
                <a:gd name="connsiteX2321" fmla="*/ 8864407 w 9586368"/>
                <a:gd name="connsiteY2321" fmla="*/ 4786279 h 6479439"/>
                <a:gd name="connsiteX2322" fmla="*/ 8868426 w 9586368"/>
                <a:gd name="connsiteY2322" fmla="*/ 4790317 h 6479439"/>
                <a:gd name="connsiteX2323" fmla="*/ 8868426 w 9586368"/>
                <a:gd name="connsiteY2323" fmla="*/ 4800188 h 6479439"/>
                <a:gd name="connsiteX2324" fmla="*/ 8864407 w 9586368"/>
                <a:gd name="connsiteY2324" fmla="*/ 4804227 h 6479439"/>
                <a:gd name="connsiteX2325" fmla="*/ 8854496 w 9586368"/>
                <a:gd name="connsiteY2325" fmla="*/ 4804227 h 6479439"/>
                <a:gd name="connsiteX2326" fmla="*/ 8850477 w 9586368"/>
                <a:gd name="connsiteY2326" fmla="*/ 4800188 h 6479439"/>
                <a:gd name="connsiteX2327" fmla="*/ 8850477 w 9586368"/>
                <a:gd name="connsiteY2327" fmla="*/ 4790317 h 6479439"/>
                <a:gd name="connsiteX2328" fmla="*/ 8615184 w 9586368"/>
                <a:gd name="connsiteY2328" fmla="*/ 4786279 h 6479439"/>
                <a:gd name="connsiteX2329" fmla="*/ 8625095 w 9586368"/>
                <a:gd name="connsiteY2329" fmla="*/ 4786279 h 6479439"/>
                <a:gd name="connsiteX2330" fmla="*/ 8629114 w 9586368"/>
                <a:gd name="connsiteY2330" fmla="*/ 4790317 h 6479439"/>
                <a:gd name="connsiteX2331" fmla="*/ 8629114 w 9586368"/>
                <a:gd name="connsiteY2331" fmla="*/ 4800188 h 6479439"/>
                <a:gd name="connsiteX2332" fmla="*/ 8625095 w 9586368"/>
                <a:gd name="connsiteY2332" fmla="*/ 4804227 h 6479439"/>
                <a:gd name="connsiteX2333" fmla="*/ 8615184 w 9586368"/>
                <a:gd name="connsiteY2333" fmla="*/ 4804227 h 6479439"/>
                <a:gd name="connsiteX2334" fmla="*/ 8611165 w 9586368"/>
                <a:gd name="connsiteY2334" fmla="*/ 4800188 h 6479439"/>
                <a:gd name="connsiteX2335" fmla="*/ 8611165 w 9586368"/>
                <a:gd name="connsiteY2335" fmla="*/ 4790317 h 6479439"/>
                <a:gd name="connsiteX2336" fmla="*/ 8375869 w 9586368"/>
                <a:gd name="connsiteY2336" fmla="*/ 4786279 h 6479439"/>
                <a:gd name="connsiteX2337" fmla="*/ 8385779 w 9586368"/>
                <a:gd name="connsiteY2337" fmla="*/ 4786279 h 6479439"/>
                <a:gd name="connsiteX2338" fmla="*/ 8389799 w 9586368"/>
                <a:gd name="connsiteY2338" fmla="*/ 4790317 h 6479439"/>
                <a:gd name="connsiteX2339" fmla="*/ 8389799 w 9586368"/>
                <a:gd name="connsiteY2339" fmla="*/ 4800188 h 6479439"/>
                <a:gd name="connsiteX2340" fmla="*/ 8385779 w 9586368"/>
                <a:gd name="connsiteY2340" fmla="*/ 4804227 h 6479439"/>
                <a:gd name="connsiteX2341" fmla="*/ 8375869 w 9586368"/>
                <a:gd name="connsiteY2341" fmla="*/ 4804227 h 6479439"/>
                <a:gd name="connsiteX2342" fmla="*/ 8371850 w 9586368"/>
                <a:gd name="connsiteY2342" fmla="*/ 4800188 h 6479439"/>
                <a:gd name="connsiteX2343" fmla="*/ 8371850 w 9586368"/>
                <a:gd name="connsiteY2343" fmla="*/ 4790317 h 6479439"/>
                <a:gd name="connsiteX2344" fmla="*/ 8136553 w 9586368"/>
                <a:gd name="connsiteY2344" fmla="*/ 4786279 h 6479439"/>
                <a:gd name="connsiteX2345" fmla="*/ 8146464 w 9586368"/>
                <a:gd name="connsiteY2345" fmla="*/ 4786279 h 6479439"/>
                <a:gd name="connsiteX2346" fmla="*/ 8150483 w 9586368"/>
                <a:gd name="connsiteY2346" fmla="*/ 4790317 h 6479439"/>
                <a:gd name="connsiteX2347" fmla="*/ 8150483 w 9586368"/>
                <a:gd name="connsiteY2347" fmla="*/ 4800188 h 6479439"/>
                <a:gd name="connsiteX2348" fmla="*/ 8146464 w 9586368"/>
                <a:gd name="connsiteY2348" fmla="*/ 4804227 h 6479439"/>
                <a:gd name="connsiteX2349" fmla="*/ 8136553 w 9586368"/>
                <a:gd name="connsiteY2349" fmla="*/ 4804227 h 6479439"/>
                <a:gd name="connsiteX2350" fmla="*/ 8132534 w 9586368"/>
                <a:gd name="connsiteY2350" fmla="*/ 4800188 h 6479439"/>
                <a:gd name="connsiteX2351" fmla="*/ 8132534 w 9586368"/>
                <a:gd name="connsiteY2351" fmla="*/ 4790317 h 6479439"/>
                <a:gd name="connsiteX2352" fmla="*/ 7897241 w 9586368"/>
                <a:gd name="connsiteY2352" fmla="*/ 4786279 h 6479439"/>
                <a:gd name="connsiteX2353" fmla="*/ 7907151 w 9586368"/>
                <a:gd name="connsiteY2353" fmla="*/ 4786279 h 6479439"/>
                <a:gd name="connsiteX2354" fmla="*/ 7911170 w 9586368"/>
                <a:gd name="connsiteY2354" fmla="*/ 4790317 h 6479439"/>
                <a:gd name="connsiteX2355" fmla="*/ 7911170 w 9586368"/>
                <a:gd name="connsiteY2355" fmla="*/ 4800188 h 6479439"/>
                <a:gd name="connsiteX2356" fmla="*/ 7907151 w 9586368"/>
                <a:gd name="connsiteY2356" fmla="*/ 4804227 h 6479439"/>
                <a:gd name="connsiteX2357" fmla="*/ 7897241 w 9586368"/>
                <a:gd name="connsiteY2357" fmla="*/ 4804227 h 6479439"/>
                <a:gd name="connsiteX2358" fmla="*/ 7893222 w 9586368"/>
                <a:gd name="connsiteY2358" fmla="*/ 4800188 h 6479439"/>
                <a:gd name="connsiteX2359" fmla="*/ 7893222 w 9586368"/>
                <a:gd name="connsiteY2359" fmla="*/ 4790317 h 6479439"/>
                <a:gd name="connsiteX2360" fmla="*/ 7657926 w 9586368"/>
                <a:gd name="connsiteY2360" fmla="*/ 4786279 h 6479439"/>
                <a:gd name="connsiteX2361" fmla="*/ 7667836 w 9586368"/>
                <a:gd name="connsiteY2361" fmla="*/ 4786279 h 6479439"/>
                <a:gd name="connsiteX2362" fmla="*/ 7671855 w 9586368"/>
                <a:gd name="connsiteY2362" fmla="*/ 4790317 h 6479439"/>
                <a:gd name="connsiteX2363" fmla="*/ 7671855 w 9586368"/>
                <a:gd name="connsiteY2363" fmla="*/ 4800188 h 6479439"/>
                <a:gd name="connsiteX2364" fmla="*/ 7667836 w 9586368"/>
                <a:gd name="connsiteY2364" fmla="*/ 4804227 h 6479439"/>
                <a:gd name="connsiteX2365" fmla="*/ 7657926 w 9586368"/>
                <a:gd name="connsiteY2365" fmla="*/ 4804227 h 6479439"/>
                <a:gd name="connsiteX2366" fmla="*/ 7653906 w 9586368"/>
                <a:gd name="connsiteY2366" fmla="*/ 4800188 h 6479439"/>
                <a:gd name="connsiteX2367" fmla="*/ 7653906 w 9586368"/>
                <a:gd name="connsiteY2367" fmla="*/ 4790317 h 6479439"/>
                <a:gd name="connsiteX2368" fmla="*/ 7418611 w 9586368"/>
                <a:gd name="connsiteY2368" fmla="*/ 4786279 h 6479439"/>
                <a:gd name="connsiteX2369" fmla="*/ 7428521 w 9586368"/>
                <a:gd name="connsiteY2369" fmla="*/ 4786279 h 6479439"/>
                <a:gd name="connsiteX2370" fmla="*/ 7432540 w 9586368"/>
                <a:gd name="connsiteY2370" fmla="*/ 4790317 h 6479439"/>
                <a:gd name="connsiteX2371" fmla="*/ 7432540 w 9586368"/>
                <a:gd name="connsiteY2371" fmla="*/ 4800188 h 6479439"/>
                <a:gd name="connsiteX2372" fmla="*/ 7428521 w 9586368"/>
                <a:gd name="connsiteY2372" fmla="*/ 4804227 h 6479439"/>
                <a:gd name="connsiteX2373" fmla="*/ 7418611 w 9586368"/>
                <a:gd name="connsiteY2373" fmla="*/ 4804227 h 6479439"/>
                <a:gd name="connsiteX2374" fmla="*/ 7414592 w 9586368"/>
                <a:gd name="connsiteY2374" fmla="*/ 4800188 h 6479439"/>
                <a:gd name="connsiteX2375" fmla="*/ 7414592 w 9586368"/>
                <a:gd name="connsiteY2375" fmla="*/ 4790317 h 6479439"/>
                <a:gd name="connsiteX2376" fmla="*/ 7179298 w 9586368"/>
                <a:gd name="connsiteY2376" fmla="*/ 4786279 h 6479439"/>
                <a:gd name="connsiteX2377" fmla="*/ 7189209 w 9586368"/>
                <a:gd name="connsiteY2377" fmla="*/ 4786279 h 6479439"/>
                <a:gd name="connsiteX2378" fmla="*/ 7193228 w 9586368"/>
                <a:gd name="connsiteY2378" fmla="*/ 4790317 h 6479439"/>
                <a:gd name="connsiteX2379" fmla="*/ 7193228 w 9586368"/>
                <a:gd name="connsiteY2379" fmla="*/ 4800188 h 6479439"/>
                <a:gd name="connsiteX2380" fmla="*/ 7189209 w 9586368"/>
                <a:gd name="connsiteY2380" fmla="*/ 4804227 h 6479439"/>
                <a:gd name="connsiteX2381" fmla="*/ 7179298 w 9586368"/>
                <a:gd name="connsiteY2381" fmla="*/ 4804227 h 6479439"/>
                <a:gd name="connsiteX2382" fmla="*/ 7175279 w 9586368"/>
                <a:gd name="connsiteY2382" fmla="*/ 4800188 h 6479439"/>
                <a:gd name="connsiteX2383" fmla="*/ 7175279 w 9586368"/>
                <a:gd name="connsiteY2383" fmla="*/ 4790317 h 6479439"/>
                <a:gd name="connsiteX2384" fmla="*/ 6939983 w 9586368"/>
                <a:gd name="connsiteY2384" fmla="*/ 4786279 h 6479439"/>
                <a:gd name="connsiteX2385" fmla="*/ 6949894 w 9586368"/>
                <a:gd name="connsiteY2385" fmla="*/ 4786279 h 6479439"/>
                <a:gd name="connsiteX2386" fmla="*/ 6953913 w 9586368"/>
                <a:gd name="connsiteY2386" fmla="*/ 4790317 h 6479439"/>
                <a:gd name="connsiteX2387" fmla="*/ 6953913 w 9586368"/>
                <a:gd name="connsiteY2387" fmla="*/ 4800188 h 6479439"/>
                <a:gd name="connsiteX2388" fmla="*/ 6949894 w 9586368"/>
                <a:gd name="connsiteY2388" fmla="*/ 4804227 h 6479439"/>
                <a:gd name="connsiteX2389" fmla="*/ 6939983 w 9586368"/>
                <a:gd name="connsiteY2389" fmla="*/ 4804227 h 6479439"/>
                <a:gd name="connsiteX2390" fmla="*/ 6935964 w 9586368"/>
                <a:gd name="connsiteY2390" fmla="*/ 4800188 h 6479439"/>
                <a:gd name="connsiteX2391" fmla="*/ 6935964 w 9586368"/>
                <a:gd name="connsiteY2391" fmla="*/ 4790317 h 6479439"/>
                <a:gd name="connsiteX2392" fmla="*/ 6700670 w 9586368"/>
                <a:gd name="connsiteY2392" fmla="*/ 4786279 h 6479439"/>
                <a:gd name="connsiteX2393" fmla="*/ 6710581 w 9586368"/>
                <a:gd name="connsiteY2393" fmla="*/ 4786279 h 6479439"/>
                <a:gd name="connsiteX2394" fmla="*/ 6714600 w 9586368"/>
                <a:gd name="connsiteY2394" fmla="*/ 4790317 h 6479439"/>
                <a:gd name="connsiteX2395" fmla="*/ 6714600 w 9586368"/>
                <a:gd name="connsiteY2395" fmla="*/ 4800188 h 6479439"/>
                <a:gd name="connsiteX2396" fmla="*/ 6710581 w 9586368"/>
                <a:gd name="connsiteY2396" fmla="*/ 4804227 h 6479439"/>
                <a:gd name="connsiteX2397" fmla="*/ 6700670 w 9586368"/>
                <a:gd name="connsiteY2397" fmla="*/ 4804227 h 6479439"/>
                <a:gd name="connsiteX2398" fmla="*/ 6696651 w 9586368"/>
                <a:gd name="connsiteY2398" fmla="*/ 4800188 h 6479439"/>
                <a:gd name="connsiteX2399" fmla="*/ 6696651 w 9586368"/>
                <a:gd name="connsiteY2399" fmla="*/ 4790317 h 6479439"/>
                <a:gd name="connsiteX2400" fmla="*/ 6461356 w 9586368"/>
                <a:gd name="connsiteY2400" fmla="*/ 4786279 h 6479439"/>
                <a:gd name="connsiteX2401" fmla="*/ 6471266 w 9586368"/>
                <a:gd name="connsiteY2401" fmla="*/ 4786279 h 6479439"/>
                <a:gd name="connsiteX2402" fmla="*/ 6475285 w 9586368"/>
                <a:gd name="connsiteY2402" fmla="*/ 4790317 h 6479439"/>
                <a:gd name="connsiteX2403" fmla="*/ 6475285 w 9586368"/>
                <a:gd name="connsiteY2403" fmla="*/ 4800188 h 6479439"/>
                <a:gd name="connsiteX2404" fmla="*/ 6471266 w 9586368"/>
                <a:gd name="connsiteY2404" fmla="*/ 4804227 h 6479439"/>
                <a:gd name="connsiteX2405" fmla="*/ 6461356 w 9586368"/>
                <a:gd name="connsiteY2405" fmla="*/ 4804227 h 6479439"/>
                <a:gd name="connsiteX2406" fmla="*/ 6457337 w 9586368"/>
                <a:gd name="connsiteY2406" fmla="*/ 4800188 h 6479439"/>
                <a:gd name="connsiteX2407" fmla="*/ 6457337 w 9586368"/>
                <a:gd name="connsiteY2407" fmla="*/ 4790317 h 6479439"/>
                <a:gd name="connsiteX2408" fmla="*/ 6222042 w 9586368"/>
                <a:gd name="connsiteY2408" fmla="*/ 4786279 h 6479439"/>
                <a:gd name="connsiteX2409" fmla="*/ 6231952 w 9586368"/>
                <a:gd name="connsiteY2409" fmla="*/ 4786279 h 6479439"/>
                <a:gd name="connsiteX2410" fmla="*/ 6235971 w 9586368"/>
                <a:gd name="connsiteY2410" fmla="*/ 4790317 h 6479439"/>
                <a:gd name="connsiteX2411" fmla="*/ 6235971 w 9586368"/>
                <a:gd name="connsiteY2411" fmla="*/ 4800188 h 6479439"/>
                <a:gd name="connsiteX2412" fmla="*/ 6231952 w 9586368"/>
                <a:gd name="connsiteY2412" fmla="*/ 4804227 h 6479439"/>
                <a:gd name="connsiteX2413" fmla="*/ 6222042 w 9586368"/>
                <a:gd name="connsiteY2413" fmla="*/ 4804227 h 6479439"/>
                <a:gd name="connsiteX2414" fmla="*/ 6218023 w 9586368"/>
                <a:gd name="connsiteY2414" fmla="*/ 4800188 h 6479439"/>
                <a:gd name="connsiteX2415" fmla="*/ 6218023 w 9586368"/>
                <a:gd name="connsiteY2415" fmla="*/ 4790317 h 6479439"/>
                <a:gd name="connsiteX2416" fmla="*/ 5982729 w 9586368"/>
                <a:gd name="connsiteY2416" fmla="*/ 4786279 h 6479439"/>
                <a:gd name="connsiteX2417" fmla="*/ 5992639 w 9586368"/>
                <a:gd name="connsiteY2417" fmla="*/ 4786279 h 6479439"/>
                <a:gd name="connsiteX2418" fmla="*/ 5996658 w 9586368"/>
                <a:gd name="connsiteY2418" fmla="*/ 4790317 h 6479439"/>
                <a:gd name="connsiteX2419" fmla="*/ 5996658 w 9586368"/>
                <a:gd name="connsiteY2419" fmla="*/ 4800188 h 6479439"/>
                <a:gd name="connsiteX2420" fmla="*/ 5992639 w 9586368"/>
                <a:gd name="connsiteY2420" fmla="*/ 4804227 h 6479439"/>
                <a:gd name="connsiteX2421" fmla="*/ 5982729 w 9586368"/>
                <a:gd name="connsiteY2421" fmla="*/ 4804227 h 6479439"/>
                <a:gd name="connsiteX2422" fmla="*/ 5978710 w 9586368"/>
                <a:gd name="connsiteY2422" fmla="*/ 4800188 h 6479439"/>
                <a:gd name="connsiteX2423" fmla="*/ 5978710 w 9586368"/>
                <a:gd name="connsiteY2423" fmla="*/ 4790317 h 6479439"/>
                <a:gd name="connsiteX2424" fmla="*/ 5743412 w 9586368"/>
                <a:gd name="connsiteY2424" fmla="*/ 4786279 h 6479439"/>
                <a:gd name="connsiteX2425" fmla="*/ 5753323 w 9586368"/>
                <a:gd name="connsiteY2425" fmla="*/ 4786279 h 6479439"/>
                <a:gd name="connsiteX2426" fmla="*/ 5757342 w 9586368"/>
                <a:gd name="connsiteY2426" fmla="*/ 4790317 h 6479439"/>
                <a:gd name="connsiteX2427" fmla="*/ 5757342 w 9586368"/>
                <a:gd name="connsiteY2427" fmla="*/ 4800188 h 6479439"/>
                <a:gd name="connsiteX2428" fmla="*/ 5753323 w 9586368"/>
                <a:gd name="connsiteY2428" fmla="*/ 4804227 h 6479439"/>
                <a:gd name="connsiteX2429" fmla="*/ 5743412 w 9586368"/>
                <a:gd name="connsiteY2429" fmla="*/ 4804227 h 6479439"/>
                <a:gd name="connsiteX2430" fmla="*/ 5739393 w 9586368"/>
                <a:gd name="connsiteY2430" fmla="*/ 4800188 h 6479439"/>
                <a:gd name="connsiteX2431" fmla="*/ 5739393 w 9586368"/>
                <a:gd name="connsiteY2431" fmla="*/ 4790317 h 6479439"/>
                <a:gd name="connsiteX2432" fmla="*/ 5504099 w 9586368"/>
                <a:gd name="connsiteY2432" fmla="*/ 4786279 h 6479439"/>
                <a:gd name="connsiteX2433" fmla="*/ 5514010 w 9586368"/>
                <a:gd name="connsiteY2433" fmla="*/ 4786279 h 6479439"/>
                <a:gd name="connsiteX2434" fmla="*/ 5518029 w 9586368"/>
                <a:gd name="connsiteY2434" fmla="*/ 4790317 h 6479439"/>
                <a:gd name="connsiteX2435" fmla="*/ 5518029 w 9586368"/>
                <a:gd name="connsiteY2435" fmla="*/ 4800188 h 6479439"/>
                <a:gd name="connsiteX2436" fmla="*/ 5514010 w 9586368"/>
                <a:gd name="connsiteY2436" fmla="*/ 4804227 h 6479439"/>
                <a:gd name="connsiteX2437" fmla="*/ 5504099 w 9586368"/>
                <a:gd name="connsiteY2437" fmla="*/ 4804227 h 6479439"/>
                <a:gd name="connsiteX2438" fmla="*/ 5500080 w 9586368"/>
                <a:gd name="connsiteY2438" fmla="*/ 4800188 h 6479439"/>
                <a:gd name="connsiteX2439" fmla="*/ 5500080 w 9586368"/>
                <a:gd name="connsiteY2439" fmla="*/ 4790317 h 6479439"/>
                <a:gd name="connsiteX2440" fmla="*/ 5264784 w 9586368"/>
                <a:gd name="connsiteY2440" fmla="*/ 4786279 h 6479439"/>
                <a:gd name="connsiteX2441" fmla="*/ 5274694 w 9586368"/>
                <a:gd name="connsiteY2441" fmla="*/ 4786279 h 6479439"/>
                <a:gd name="connsiteX2442" fmla="*/ 5278713 w 9586368"/>
                <a:gd name="connsiteY2442" fmla="*/ 4790317 h 6479439"/>
                <a:gd name="connsiteX2443" fmla="*/ 5278713 w 9586368"/>
                <a:gd name="connsiteY2443" fmla="*/ 4800188 h 6479439"/>
                <a:gd name="connsiteX2444" fmla="*/ 5274694 w 9586368"/>
                <a:gd name="connsiteY2444" fmla="*/ 4804227 h 6479439"/>
                <a:gd name="connsiteX2445" fmla="*/ 5264784 w 9586368"/>
                <a:gd name="connsiteY2445" fmla="*/ 4804227 h 6479439"/>
                <a:gd name="connsiteX2446" fmla="*/ 5260765 w 9586368"/>
                <a:gd name="connsiteY2446" fmla="*/ 4800188 h 6479439"/>
                <a:gd name="connsiteX2447" fmla="*/ 5260765 w 9586368"/>
                <a:gd name="connsiteY2447" fmla="*/ 4790317 h 6479439"/>
                <a:gd name="connsiteX2448" fmla="*/ 5025470 w 9586368"/>
                <a:gd name="connsiteY2448" fmla="*/ 4786279 h 6479439"/>
                <a:gd name="connsiteX2449" fmla="*/ 5035381 w 9586368"/>
                <a:gd name="connsiteY2449" fmla="*/ 4786279 h 6479439"/>
                <a:gd name="connsiteX2450" fmla="*/ 5039400 w 9586368"/>
                <a:gd name="connsiteY2450" fmla="*/ 4790317 h 6479439"/>
                <a:gd name="connsiteX2451" fmla="*/ 5039400 w 9586368"/>
                <a:gd name="connsiteY2451" fmla="*/ 4800188 h 6479439"/>
                <a:gd name="connsiteX2452" fmla="*/ 5035381 w 9586368"/>
                <a:gd name="connsiteY2452" fmla="*/ 4804227 h 6479439"/>
                <a:gd name="connsiteX2453" fmla="*/ 5025470 w 9586368"/>
                <a:gd name="connsiteY2453" fmla="*/ 4804227 h 6479439"/>
                <a:gd name="connsiteX2454" fmla="*/ 5021451 w 9586368"/>
                <a:gd name="connsiteY2454" fmla="*/ 4800188 h 6479439"/>
                <a:gd name="connsiteX2455" fmla="*/ 5021451 w 9586368"/>
                <a:gd name="connsiteY2455" fmla="*/ 4790317 h 6479439"/>
                <a:gd name="connsiteX2456" fmla="*/ 4786241 w 9586368"/>
                <a:gd name="connsiteY2456" fmla="*/ 4786279 h 6479439"/>
                <a:gd name="connsiteX2457" fmla="*/ 4796152 w 9586368"/>
                <a:gd name="connsiteY2457" fmla="*/ 4786279 h 6479439"/>
                <a:gd name="connsiteX2458" fmla="*/ 4800171 w 9586368"/>
                <a:gd name="connsiteY2458" fmla="*/ 4790317 h 6479439"/>
                <a:gd name="connsiteX2459" fmla="*/ 4800171 w 9586368"/>
                <a:gd name="connsiteY2459" fmla="*/ 4800188 h 6479439"/>
                <a:gd name="connsiteX2460" fmla="*/ 4796152 w 9586368"/>
                <a:gd name="connsiteY2460" fmla="*/ 4804227 h 6479439"/>
                <a:gd name="connsiteX2461" fmla="*/ 4786241 w 9586368"/>
                <a:gd name="connsiteY2461" fmla="*/ 4804227 h 6479439"/>
                <a:gd name="connsiteX2462" fmla="*/ 4782224 w 9586368"/>
                <a:gd name="connsiteY2462" fmla="*/ 4800188 h 6479439"/>
                <a:gd name="connsiteX2463" fmla="*/ 4782224 w 9586368"/>
                <a:gd name="connsiteY2463" fmla="*/ 4790317 h 6479439"/>
                <a:gd name="connsiteX2464" fmla="*/ 4546929 w 9586368"/>
                <a:gd name="connsiteY2464" fmla="*/ 4786279 h 6479439"/>
                <a:gd name="connsiteX2465" fmla="*/ 4556840 w 9586368"/>
                <a:gd name="connsiteY2465" fmla="*/ 4786279 h 6479439"/>
                <a:gd name="connsiteX2466" fmla="*/ 4560859 w 9586368"/>
                <a:gd name="connsiteY2466" fmla="*/ 4790317 h 6479439"/>
                <a:gd name="connsiteX2467" fmla="*/ 4560859 w 9586368"/>
                <a:gd name="connsiteY2467" fmla="*/ 4800188 h 6479439"/>
                <a:gd name="connsiteX2468" fmla="*/ 4556840 w 9586368"/>
                <a:gd name="connsiteY2468" fmla="*/ 4804227 h 6479439"/>
                <a:gd name="connsiteX2469" fmla="*/ 4546929 w 9586368"/>
                <a:gd name="connsiteY2469" fmla="*/ 4804227 h 6479439"/>
                <a:gd name="connsiteX2470" fmla="*/ 4542910 w 9586368"/>
                <a:gd name="connsiteY2470" fmla="*/ 4800188 h 6479439"/>
                <a:gd name="connsiteX2471" fmla="*/ 4542910 w 9586368"/>
                <a:gd name="connsiteY2471" fmla="*/ 4790317 h 6479439"/>
                <a:gd name="connsiteX2472" fmla="*/ 4307612 w 9586368"/>
                <a:gd name="connsiteY2472" fmla="*/ 4786279 h 6479439"/>
                <a:gd name="connsiteX2473" fmla="*/ 4317523 w 9586368"/>
                <a:gd name="connsiteY2473" fmla="*/ 4786279 h 6479439"/>
                <a:gd name="connsiteX2474" fmla="*/ 4321543 w 9586368"/>
                <a:gd name="connsiteY2474" fmla="*/ 4790317 h 6479439"/>
                <a:gd name="connsiteX2475" fmla="*/ 4321543 w 9586368"/>
                <a:gd name="connsiteY2475" fmla="*/ 4800188 h 6479439"/>
                <a:gd name="connsiteX2476" fmla="*/ 4317523 w 9586368"/>
                <a:gd name="connsiteY2476" fmla="*/ 4804227 h 6479439"/>
                <a:gd name="connsiteX2477" fmla="*/ 4307612 w 9586368"/>
                <a:gd name="connsiteY2477" fmla="*/ 4804227 h 6479439"/>
                <a:gd name="connsiteX2478" fmla="*/ 4303595 w 9586368"/>
                <a:gd name="connsiteY2478" fmla="*/ 4800188 h 6479439"/>
                <a:gd name="connsiteX2479" fmla="*/ 4303595 w 9586368"/>
                <a:gd name="connsiteY2479" fmla="*/ 4790317 h 6479439"/>
                <a:gd name="connsiteX2480" fmla="*/ 4068297 w 9586368"/>
                <a:gd name="connsiteY2480" fmla="*/ 4786279 h 6479439"/>
                <a:gd name="connsiteX2481" fmla="*/ 4078210 w 9586368"/>
                <a:gd name="connsiteY2481" fmla="*/ 4786279 h 6479439"/>
                <a:gd name="connsiteX2482" fmla="*/ 4082229 w 9586368"/>
                <a:gd name="connsiteY2482" fmla="*/ 4790317 h 6479439"/>
                <a:gd name="connsiteX2483" fmla="*/ 4082229 w 9586368"/>
                <a:gd name="connsiteY2483" fmla="*/ 4800188 h 6479439"/>
                <a:gd name="connsiteX2484" fmla="*/ 4078210 w 9586368"/>
                <a:gd name="connsiteY2484" fmla="*/ 4804227 h 6479439"/>
                <a:gd name="connsiteX2485" fmla="*/ 4068297 w 9586368"/>
                <a:gd name="connsiteY2485" fmla="*/ 4804227 h 6479439"/>
                <a:gd name="connsiteX2486" fmla="*/ 4064278 w 9586368"/>
                <a:gd name="connsiteY2486" fmla="*/ 4800188 h 6479439"/>
                <a:gd name="connsiteX2487" fmla="*/ 4064278 w 9586368"/>
                <a:gd name="connsiteY2487" fmla="*/ 4790317 h 6479439"/>
                <a:gd name="connsiteX2488" fmla="*/ 3828990 w 9586368"/>
                <a:gd name="connsiteY2488" fmla="*/ 4786279 h 6479439"/>
                <a:gd name="connsiteX2489" fmla="*/ 3838899 w 9586368"/>
                <a:gd name="connsiteY2489" fmla="*/ 4786279 h 6479439"/>
                <a:gd name="connsiteX2490" fmla="*/ 3842917 w 9586368"/>
                <a:gd name="connsiteY2490" fmla="*/ 4790317 h 6479439"/>
                <a:gd name="connsiteX2491" fmla="*/ 3842917 w 9586368"/>
                <a:gd name="connsiteY2491" fmla="*/ 4800188 h 6479439"/>
                <a:gd name="connsiteX2492" fmla="*/ 3838899 w 9586368"/>
                <a:gd name="connsiteY2492" fmla="*/ 4804227 h 6479439"/>
                <a:gd name="connsiteX2493" fmla="*/ 3828990 w 9586368"/>
                <a:gd name="connsiteY2493" fmla="*/ 4804227 h 6479439"/>
                <a:gd name="connsiteX2494" fmla="*/ 3824971 w 9586368"/>
                <a:gd name="connsiteY2494" fmla="*/ 4800188 h 6479439"/>
                <a:gd name="connsiteX2495" fmla="*/ 3824971 w 9586368"/>
                <a:gd name="connsiteY2495" fmla="*/ 4790317 h 6479439"/>
                <a:gd name="connsiteX2496" fmla="*/ 3589676 w 9586368"/>
                <a:gd name="connsiteY2496" fmla="*/ 4786279 h 6479439"/>
                <a:gd name="connsiteX2497" fmla="*/ 3599585 w 9586368"/>
                <a:gd name="connsiteY2497" fmla="*/ 4786279 h 6479439"/>
                <a:gd name="connsiteX2498" fmla="*/ 3603604 w 9586368"/>
                <a:gd name="connsiteY2498" fmla="*/ 4790317 h 6479439"/>
                <a:gd name="connsiteX2499" fmla="*/ 3603604 w 9586368"/>
                <a:gd name="connsiteY2499" fmla="*/ 4800188 h 6479439"/>
                <a:gd name="connsiteX2500" fmla="*/ 3599585 w 9586368"/>
                <a:gd name="connsiteY2500" fmla="*/ 4804227 h 6479439"/>
                <a:gd name="connsiteX2501" fmla="*/ 3589676 w 9586368"/>
                <a:gd name="connsiteY2501" fmla="*/ 4804227 h 6479439"/>
                <a:gd name="connsiteX2502" fmla="*/ 3585657 w 9586368"/>
                <a:gd name="connsiteY2502" fmla="*/ 4800188 h 6479439"/>
                <a:gd name="connsiteX2503" fmla="*/ 3585657 w 9586368"/>
                <a:gd name="connsiteY2503" fmla="*/ 4790317 h 6479439"/>
                <a:gd name="connsiteX2504" fmla="*/ 3350359 w 9586368"/>
                <a:gd name="connsiteY2504" fmla="*/ 4786279 h 6479439"/>
                <a:gd name="connsiteX2505" fmla="*/ 3360268 w 9586368"/>
                <a:gd name="connsiteY2505" fmla="*/ 4786279 h 6479439"/>
                <a:gd name="connsiteX2506" fmla="*/ 3364287 w 9586368"/>
                <a:gd name="connsiteY2506" fmla="*/ 4790317 h 6479439"/>
                <a:gd name="connsiteX2507" fmla="*/ 3364287 w 9586368"/>
                <a:gd name="connsiteY2507" fmla="*/ 4800188 h 6479439"/>
                <a:gd name="connsiteX2508" fmla="*/ 3360268 w 9586368"/>
                <a:gd name="connsiteY2508" fmla="*/ 4804227 h 6479439"/>
                <a:gd name="connsiteX2509" fmla="*/ 3350359 w 9586368"/>
                <a:gd name="connsiteY2509" fmla="*/ 4804227 h 6479439"/>
                <a:gd name="connsiteX2510" fmla="*/ 3346340 w 9586368"/>
                <a:gd name="connsiteY2510" fmla="*/ 4800188 h 6479439"/>
                <a:gd name="connsiteX2511" fmla="*/ 3346340 w 9586368"/>
                <a:gd name="connsiteY2511" fmla="*/ 4790317 h 6479439"/>
                <a:gd name="connsiteX2512" fmla="*/ 3111048 w 9586368"/>
                <a:gd name="connsiteY2512" fmla="*/ 4786279 h 6479439"/>
                <a:gd name="connsiteX2513" fmla="*/ 3120959 w 9586368"/>
                <a:gd name="connsiteY2513" fmla="*/ 4786279 h 6479439"/>
                <a:gd name="connsiteX2514" fmla="*/ 3124977 w 9586368"/>
                <a:gd name="connsiteY2514" fmla="*/ 4790317 h 6479439"/>
                <a:gd name="connsiteX2515" fmla="*/ 3124977 w 9586368"/>
                <a:gd name="connsiteY2515" fmla="*/ 4800188 h 6479439"/>
                <a:gd name="connsiteX2516" fmla="*/ 3120959 w 9586368"/>
                <a:gd name="connsiteY2516" fmla="*/ 4804227 h 6479439"/>
                <a:gd name="connsiteX2517" fmla="*/ 3111048 w 9586368"/>
                <a:gd name="connsiteY2517" fmla="*/ 4804227 h 6479439"/>
                <a:gd name="connsiteX2518" fmla="*/ 3107029 w 9586368"/>
                <a:gd name="connsiteY2518" fmla="*/ 4800188 h 6479439"/>
                <a:gd name="connsiteX2519" fmla="*/ 3107029 w 9586368"/>
                <a:gd name="connsiteY2519" fmla="*/ 4790317 h 6479439"/>
                <a:gd name="connsiteX2520" fmla="*/ 2871737 w 9586368"/>
                <a:gd name="connsiteY2520" fmla="*/ 4786279 h 6479439"/>
                <a:gd name="connsiteX2521" fmla="*/ 2881646 w 9586368"/>
                <a:gd name="connsiteY2521" fmla="*/ 4786279 h 6479439"/>
                <a:gd name="connsiteX2522" fmla="*/ 2885666 w 9586368"/>
                <a:gd name="connsiteY2522" fmla="*/ 4790317 h 6479439"/>
                <a:gd name="connsiteX2523" fmla="*/ 2885666 w 9586368"/>
                <a:gd name="connsiteY2523" fmla="*/ 4800188 h 6479439"/>
                <a:gd name="connsiteX2524" fmla="*/ 2881646 w 9586368"/>
                <a:gd name="connsiteY2524" fmla="*/ 4804227 h 6479439"/>
                <a:gd name="connsiteX2525" fmla="*/ 2871737 w 9586368"/>
                <a:gd name="connsiteY2525" fmla="*/ 4804227 h 6479439"/>
                <a:gd name="connsiteX2526" fmla="*/ 2867717 w 9586368"/>
                <a:gd name="connsiteY2526" fmla="*/ 4800188 h 6479439"/>
                <a:gd name="connsiteX2527" fmla="*/ 2867717 w 9586368"/>
                <a:gd name="connsiteY2527" fmla="*/ 4790317 h 6479439"/>
                <a:gd name="connsiteX2528" fmla="*/ 2632423 w 9586368"/>
                <a:gd name="connsiteY2528" fmla="*/ 4786279 h 6479439"/>
                <a:gd name="connsiteX2529" fmla="*/ 2642334 w 9586368"/>
                <a:gd name="connsiteY2529" fmla="*/ 4786279 h 6479439"/>
                <a:gd name="connsiteX2530" fmla="*/ 2646352 w 9586368"/>
                <a:gd name="connsiteY2530" fmla="*/ 4790317 h 6479439"/>
                <a:gd name="connsiteX2531" fmla="*/ 2646352 w 9586368"/>
                <a:gd name="connsiteY2531" fmla="*/ 4800188 h 6479439"/>
                <a:gd name="connsiteX2532" fmla="*/ 2642334 w 9586368"/>
                <a:gd name="connsiteY2532" fmla="*/ 4804227 h 6479439"/>
                <a:gd name="connsiteX2533" fmla="*/ 2632423 w 9586368"/>
                <a:gd name="connsiteY2533" fmla="*/ 4804227 h 6479439"/>
                <a:gd name="connsiteX2534" fmla="*/ 2628404 w 9586368"/>
                <a:gd name="connsiteY2534" fmla="*/ 4800188 h 6479439"/>
                <a:gd name="connsiteX2535" fmla="*/ 2628404 w 9586368"/>
                <a:gd name="connsiteY2535" fmla="*/ 4790317 h 6479439"/>
                <a:gd name="connsiteX2536" fmla="*/ 2393104 w 9586368"/>
                <a:gd name="connsiteY2536" fmla="*/ 4786279 h 6479439"/>
                <a:gd name="connsiteX2537" fmla="*/ 2403015 w 9586368"/>
                <a:gd name="connsiteY2537" fmla="*/ 4786279 h 6479439"/>
                <a:gd name="connsiteX2538" fmla="*/ 2407034 w 9586368"/>
                <a:gd name="connsiteY2538" fmla="*/ 4790317 h 6479439"/>
                <a:gd name="connsiteX2539" fmla="*/ 2407034 w 9586368"/>
                <a:gd name="connsiteY2539" fmla="*/ 4800188 h 6479439"/>
                <a:gd name="connsiteX2540" fmla="*/ 2403015 w 9586368"/>
                <a:gd name="connsiteY2540" fmla="*/ 4804227 h 6479439"/>
                <a:gd name="connsiteX2541" fmla="*/ 2393104 w 9586368"/>
                <a:gd name="connsiteY2541" fmla="*/ 4804227 h 6479439"/>
                <a:gd name="connsiteX2542" fmla="*/ 2389087 w 9586368"/>
                <a:gd name="connsiteY2542" fmla="*/ 4800188 h 6479439"/>
                <a:gd name="connsiteX2543" fmla="*/ 2389087 w 9586368"/>
                <a:gd name="connsiteY2543" fmla="*/ 4790317 h 6479439"/>
                <a:gd name="connsiteX2544" fmla="*/ 2157819 w 9586368"/>
                <a:gd name="connsiteY2544" fmla="*/ 4786279 h 6479439"/>
                <a:gd name="connsiteX2545" fmla="*/ 2167729 w 9586368"/>
                <a:gd name="connsiteY2545" fmla="*/ 4786279 h 6479439"/>
                <a:gd name="connsiteX2546" fmla="*/ 2171748 w 9586368"/>
                <a:gd name="connsiteY2546" fmla="*/ 4790317 h 6479439"/>
                <a:gd name="connsiteX2547" fmla="*/ 2171748 w 9586368"/>
                <a:gd name="connsiteY2547" fmla="*/ 4800188 h 6479439"/>
                <a:gd name="connsiteX2548" fmla="*/ 2167729 w 9586368"/>
                <a:gd name="connsiteY2548" fmla="*/ 4804227 h 6479439"/>
                <a:gd name="connsiteX2549" fmla="*/ 2157819 w 9586368"/>
                <a:gd name="connsiteY2549" fmla="*/ 4804227 h 6479439"/>
                <a:gd name="connsiteX2550" fmla="*/ 2153800 w 9586368"/>
                <a:gd name="connsiteY2550" fmla="*/ 4800188 h 6479439"/>
                <a:gd name="connsiteX2551" fmla="*/ 2153800 w 9586368"/>
                <a:gd name="connsiteY2551" fmla="*/ 4790317 h 6479439"/>
                <a:gd name="connsiteX2552" fmla="*/ 1918510 w 9586368"/>
                <a:gd name="connsiteY2552" fmla="*/ 4786279 h 6479439"/>
                <a:gd name="connsiteX2553" fmla="*/ 1928420 w 9586368"/>
                <a:gd name="connsiteY2553" fmla="*/ 4786279 h 6479439"/>
                <a:gd name="connsiteX2554" fmla="*/ 1932440 w 9586368"/>
                <a:gd name="connsiteY2554" fmla="*/ 4790317 h 6479439"/>
                <a:gd name="connsiteX2555" fmla="*/ 1932440 w 9586368"/>
                <a:gd name="connsiteY2555" fmla="*/ 4800188 h 6479439"/>
                <a:gd name="connsiteX2556" fmla="*/ 1928420 w 9586368"/>
                <a:gd name="connsiteY2556" fmla="*/ 4804227 h 6479439"/>
                <a:gd name="connsiteX2557" fmla="*/ 1918510 w 9586368"/>
                <a:gd name="connsiteY2557" fmla="*/ 4804227 h 6479439"/>
                <a:gd name="connsiteX2558" fmla="*/ 1914492 w 9586368"/>
                <a:gd name="connsiteY2558" fmla="*/ 4800188 h 6479439"/>
                <a:gd name="connsiteX2559" fmla="*/ 1914492 w 9586368"/>
                <a:gd name="connsiteY2559" fmla="*/ 4790317 h 6479439"/>
                <a:gd name="connsiteX2560" fmla="*/ 1679205 w 9586368"/>
                <a:gd name="connsiteY2560" fmla="*/ 4786279 h 6479439"/>
                <a:gd name="connsiteX2561" fmla="*/ 1689115 w 9586368"/>
                <a:gd name="connsiteY2561" fmla="*/ 4786279 h 6479439"/>
                <a:gd name="connsiteX2562" fmla="*/ 1693134 w 9586368"/>
                <a:gd name="connsiteY2562" fmla="*/ 4790317 h 6479439"/>
                <a:gd name="connsiteX2563" fmla="*/ 1693134 w 9586368"/>
                <a:gd name="connsiteY2563" fmla="*/ 4800188 h 6479439"/>
                <a:gd name="connsiteX2564" fmla="*/ 1689115 w 9586368"/>
                <a:gd name="connsiteY2564" fmla="*/ 4804227 h 6479439"/>
                <a:gd name="connsiteX2565" fmla="*/ 1679205 w 9586368"/>
                <a:gd name="connsiteY2565" fmla="*/ 4804227 h 6479439"/>
                <a:gd name="connsiteX2566" fmla="*/ 1675187 w 9586368"/>
                <a:gd name="connsiteY2566" fmla="*/ 4800188 h 6479439"/>
                <a:gd name="connsiteX2567" fmla="*/ 1675187 w 9586368"/>
                <a:gd name="connsiteY2567" fmla="*/ 4790317 h 6479439"/>
                <a:gd name="connsiteX2568" fmla="*/ 1439890 w 9586368"/>
                <a:gd name="connsiteY2568" fmla="*/ 4786279 h 6479439"/>
                <a:gd name="connsiteX2569" fmla="*/ 1449800 w 9586368"/>
                <a:gd name="connsiteY2569" fmla="*/ 4786279 h 6479439"/>
                <a:gd name="connsiteX2570" fmla="*/ 1453818 w 9586368"/>
                <a:gd name="connsiteY2570" fmla="*/ 4790317 h 6479439"/>
                <a:gd name="connsiteX2571" fmla="*/ 1453818 w 9586368"/>
                <a:gd name="connsiteY2571" fmla="*/ 4800188 h 6479439"/>
                <a:gd name="connsiteX2572" fmla="*/ 1449800 w 9586368"/>
                <a:gd name="connsiteY2572" fmla="*/ 4804227 h 6479439"/>
                <a:gd name="connsiteX2573" fmla="*/ 1439890 w 9586368"/>
                <a:gd name="connsiteY2573" fmla="*/ 4804227 h 6479439"/>
                <a:gd name="connsiteX2574" fmla="*/ 1435870 w 9586368"/>
                <a:gd name="connsiteY2574" fmla="*/ 4800188 h 6479439"/>
                <a:gd name="connsiteX2575" fmla="*/ 1435870 w 9586368"/>
                <a:gd name="connsiteY2575" fmla="*/ 4790317 h 6479439"/>
                <a:gd name="connsiteX2576" fmla="*/ 1200574 w 9586368"/>
                <a:gd name="connsiteY2576" fmla="*/ 4786279 h 6479439"/>
                <a:gd name="connsiteX2577" fmla="*/ 1210484 w 9586368"/>
                <a:gd name="connsiteY2577" fmla="*/ 4786279 h 6479439"/>
                <a:gd name="connsiteX2578" fmla="*/ 1214503 w 9586368"/>
                <a:gd name="connsiteY2578" fmla="*/ 4790317 h 6479439"/>
                <a:gd name="connsiteX2579" fmla="*/ 1214503 w 9586368"/>
                <a:gd name="connsiteY2579" fmla="*/ 4800188 h 6479439"/>
                <a:gd name="connsiteX2580" fmla="*/ 1210484 w 9586368"/>
                <a:gd name="connsiteY2580" fmla="*/ 4804227 h 6479439"/>
                <a:gd name="connsiteX2581" fmla="*/ 1200574 w 9586368"/>
                <a:gd name="connsiteY2581" fmla="*/ 4804227 h 6479439"/>
                <a:gd name="connsiteX2582" fmla="*/ 1196555 w 9586368"/>
                <a:gd name="connsiteY2582" fmla="*/ 4800188 h 6479439"/>
                <a:gd name="connsiteX2583" fmla="*/ 1196555 w 9586368"/>
                <a:gd name="connsiteY2583" fmla="*/ 4790317 h 6479439"/>
                <a:gd name="connsiteX2584" fmla="*/ 961262 w 9586368"/>
                <a:gd name="connsiteY2584" fmla="*/ 4786279 h 6479439"/>
                <a:gd name="connsiteX2585" fmla="*/ 971172 w 9586368"/>
                <a:gd name="connsiteY2585" fmla="*/ 4786279 h 6479439"/>
                <a:gd name="connsiteX2586" fmla="*/ 975190 w 9586368"/>
                <a:gd name="connsiteY2586" fmla="*/ 4790317 h 6479439"/>
                <a:gd name="connsiteX2587" fmla="*/ 975190 w 9586368"/>
                <a:gd name="connsiteY2587" fmla="*/ 4800188 h 6479439"/>
                <a:gd name="connsiteX2588" fmla="*/ 971172 w 9586368"/>
                <a:gd name="connsiteY2588" fmla="*/ 4804227 h 6479439"/>
                <a:gd name="connsiteX2589" fmla="*/ 961262 w 9586368"/>
                <a:gd name="connsiteY2589" fmla="*/ 4804227 h 6479439"/>
                <a:gd name="connsiteX2590" fmla="*/ 957242 w 9586368"/>
                <a:gd name="connsiteY2590" fmla="*/ 4800188 h 6479439"/>
                <a:gd name="connsiteX2591" fmla="*/ 957242 w 9586368"/>
                <a:gd name="connsiteY2591" fmla="*/ 4790317 h 6479439"/>
                <a:gd name="connsiteX2592" fmla="*/ 721963 w 9586368"/>
                <a:gd name="connsiteY2592" fmla="*/ 4786279 h 6479439"/>
                <a:gd name="connsiteX2593" fmla="*/ 731873 w 9586368"/>
                <a:gd name="connsiteY2593" fmla="*/ 4786279 h 6479439"/>
                <a:gd name="connsiteX2594" fmla="*/ 735892 w 9586368"/>
                <a:gd name="connsiteY2594" fmla="*/ 4790317 h 6479439"/>
                <a:gd name="connsiteX2595" fmla="*/ 735892 w 9586368"/>
                <a:gd name="connsiteY2595" fmla="*/ 4800188 h 6479439"/>
                <a:gd name="connsiteX2596" fmla="*/ 731873 w 9586368"/>
                <a:gd name="connsiteY2596" fmla="*/ 4804227 h 6479439"/>
                <a:gd name="connsiteX2597" fmla="*/ 721963 w 9586368"/>
                <a:gd name="connsiteY2597" fmla="*/ 4804227 h 6479439"/>
                <a:gd name="connsiteX2598" fmla="*/ 717944 w 9586368"/>
                <a:gd name="connsiteY2598" fmla="*/ 4800188 h 6479439"/>
                <a:gd name="connsiteX2599" fmla="*/ 717944 w 9586368"/>
                <a:gd name="connsiteY2599" fmla="*/ 4790317 h 6479439"/>
                <a:gd name="connsiteX2600" fmla="*/ 482651 w 9586368"/>
                <a:gd name="connsiteY2600" fmla="*/ 4786279 h 6479439"/>
                <a:gd name="connsiteX2601" fmla="*/ 492561 w 9586368"/>
                <a:gd name="connsiteY2601" fmla="*/ 4786279 h 6479439"/>
                <a:gd name="connsiteX2602" fmla="*/ 496580 w 9586368"/>
                <a:gd name="connsiteY2602" fmla="*/ 4790317 h 6479439"/>
                <a:gd name="connsiteX2603" fmla="*/ 496580 w 9586368"/>
                <a:gd name="connsiteY2603" fmla="*/ 4800188 h 6479439"/>
                <a:gd name="connsiteX2604" fmla="*/ 492561 w 9586368"/>
                <a:gd name="connsiteY2604" fmla="*/ 4804227 h 6479439"/>
                <a:gd name="connsiteX2605" fmla="*/ 482651 w 9586368"/>
                <a:gd name="connsiteY2605" fmla="*/ 4804227 h 6479439"/>
                <a:gd name="connsiteX2606" fmla="*/ 478632 w 9586368"/>
                <a:gd name="connsiteY2606" fmla="*/ 4800188 h 6479439"/>
                <a:gd name="connsiteX2607" fmla="*/ 478632 w 9586368"/>
                <a:gd name="connsiteY2607" fmla="*/ 4790317 h 6479439"/>
                <a:gd name="connsiteX2608" fmla="*/ 243338 w 9586368"/>
                <a:gd name="connsiteY2608" fmla="*/ 4786279 h 6479439"/>
                <a:gd name="connsiteX2609" fmla="*/ 253247 w 9586368"/>
                <a:gd name="connsiteY2609" fmla="*/ 4786279 h 6479439"/>
                <a:gd name="connsiteX2610" fmla="*/ 257266 w 9586368"/>
                <a:gd name="connsiteY2610" fmla="*/ 4790317 h 6479439"/>
                <a:gd name="connsiteX2611" fmla="*/ 257266 w 9586368"/>
                <a:gd name="connsiteY2611" fmla="*/ 4800188 h 6479439"/>
                <a:gd name="connsiteX2612" fmla="*/ 253247 w 9586368"/>
                <a:gd name="connsiteY2612" fmla="*/ 4804227 h 6479439"/>
                <a:gd name="connsiteX2613" fmla="*/ 243338 w 9586368"/>
                <a:gd name="connsiteY2613" fmla="*/ 4804227 h 6479439"/>
                <a:gd name="connsiteX2614" fmla="*/ 239318 w 9586368"/>
                <a:gd name="connsiteY2614" fmla="*/ 4800188 h 6479439"/>
                <a:gd name="connsiteX2615" fmla="*/ 239318 w 9586368"/>
                <a:gd name="connsiteY2615" fmla="*/ 4790317 h 6479439"/>
                <a:gd name="connsiteX2616" fmla="*/ 4024 w 9586368"/>
                <a:gd name="connsiteY2616" fmla="*/ 4786279 h 6479439"/>
                <a:gd name="connsiteX2617" fmla="*/ 13934 w 9586368"/>
                <a:gd name="connsiteY2617" fmla="*/ 4786279 h 6479439"/>
                <a:gd name="connsiteX2618" fmla="*/ 17954 w 9586368"/>
                <a:gd name="connsiteY2618" fmla="*/ 4790317 h 6479439"/>
                <a:gd name="connsiteX2619" fmla="*/ 17954 w 9586368"/>
                <a:gd name="connsiteY2619" fmla="*/ 4800188 h 6479439"/>
                <a:gd name="connsiteX2620" fmla="*/ 13934 w 9586368"/>
                <a:gd name="connsiteY2620" fmla="*/ 4804227 h 6479439"/>
                <a:gd name="connsiteX2621" fmla="*/ 4024 w 9586368"/>
                <a:gd name="connsiteY2621" fmla="*/ 4804227 h 6479439"/>
                <a:gd name="connsiteX2622" fmla="*/ 5 w 9586368"/>
                <a:gd name="connsiteY2622" fmla="*/ 4800188 h 6479439"/>
                <a:gd name="connsiteX2623" fmla="*/ 5 w 9586368"/>
                <a:gd name="connsiteY2623" fmla="*/ 4790317 h 6479439"/>
                <a:gd name="connsiteX2624" fmla="*/ 2157819 w 9586368"/>
                <a:gd name="connsiteY2624" fmla="*/ 4546999 h 6479439"/>
                <a:gd name="connsiteX2625" fmla="*/ 2167729 w 9586368"/>
                <a:gd name="connsiteY2625" fmla="*/ 4546999 h 6479439"/>
                <a:gd name="connsiteX2626" fmla="*/ 2171748 w 9586368"/>
                <a:gd name="connsiteY2626" fmla="*/ 4551038 h 6479439"/>
                <a:gd name="connsiteX2627" fmla="*/ 2171748 w 9586368"/>
                <a:gd name="connsiteY2627" fmla="*/ 4560909 h 6479439"/>
                <a:gd name="connsiteX2628" fmla="*/ 2167729 w 9586368"/>
                <a:gd name="connsiteY2628" fmla="*/ 4564948 h 6479439"/>
                <a:gd name="connsiteX2629" fmla="*/ 2157819 w 9586368"/>
                <a:gd name="connsiteY2629" fmla="*/ 4564948 h 6479439"/>
                <a:gd name="connsiteX2630" fmla="*/ 2153801 w 9586368"/>
                <a:gd name="connsiteY2630" fmla="*/ 4560909 h 6479439"/>
                <a:gd name="connsiteX2631" fmla="*/ 2153801 w 9586368"/>
                <a:gd name="connsiteY2631" fmla="*/ 4551038 h 6479439"/>
                <a:gd name="connsiteX2632" fmla="*/ 1918510 w 9586368"/>
                <a:gd name="connsiteY2632" fmla="*/ 4546999 h 6479439"/>
                <a:gd name="connsiteX2633" fmla="*/ 1928421 w 9586368"/>
                <a:gd name="connsiteY2633" fmla="*/ 4546999 h 6479439"/>
                <a:gd name="connsiteX2634" fmla="*/ 1932440 w 9586368"/>
                <a:gd name="connsiteY2634" fmla="*/ 4551038 h 6479439"/>
                <a:gd name="connsiteX2635" fmla="*/ 1932440 w 9586368"/>
                <a:gd name="connsiteY2635" fmla="*/ 4560909 h 6479439"/>
                <a:gd name="connsiteX2636" fmla="*/ 1928421 w 9586368"/>
                <a:gd name="connsiteY2636" fmla="*/ 4564948 h 6479439"/>
                <a:gd name="connsiteX2637" fmla="*/ 1918510 w 9586368"/>
                <a:gd name="connsiteY2637" fmla="*/ 4564948 h 6479439"/>
                <a:gd name="connsiteX2638" fmla="*/ 1914492 w 9586368"/>
                <a:gd name="connsiteY2638" fmla="*/ 4560909 h 6479439"/>
                <a:gd name="connsiteX2639" fmla="*/ 1914492 w 9586368"/>
                <a:gd name="connsiteY2639" fmla="*/ 4551038 h 6479439"/>
                <a:gd name="connsiteX2640" fmla="*/ 1679206 w 9586368"/>
                <a:gd name="connsiteY2640" fmla="*/ 4546999 h 6479439"/>
                <a:gd name="connsiteX2641" fmla="*/ 1689116 w 9586368"/>
                <a:gd name="connsiteY2641" fmla="*/ 4546999 h 6479439"/>
                <a:gd name="connsiteX2642" fmla="*/ 1693134 w 9586368"/>
                <a:gd name="connsiteY2642" fmla="*/ 4551038 h 6479439"/>
                <a:gd name="connsiteX2643" fmla="*/ 1693134 w 9586368"/>
                <a:gd name="connsiteY2643" fmla="*/ 4560909 h 6479439"/>
                <a:gd name="connsiteX2644" fmla="*/ 1689116 w 9586368"/>
                <a:gd name="connsiteY2644" fmla="*/ 4564948 h 6479439"/>
                <a:gd name="connsiteX2645" fmla="*/ 1679206 w 9586368"/>
                <a:gd name="connsiteY2645" fmla="*/ 4564948 h 6479439"/>
                <a:gd name="connsiteX2646" fmla="*/ 1675187 w 9586368"/>
                <a:gd name="connsiteY2646" fmla="*/ 4560909 h 6479439"/>
                <a:gd name="connsiteX2647" fmla="*/ 1675187 w 9586368"/>
                <a:gd name="connsiteY2647" fmla="*/ 4551038 h 6479439"/>
                <a:gd name="connsiteX2648" fmla="*/ 1439890 w 9586368"/>
                <a:gd name="connsiteY2648" fmla="*/ 4546999 h 6479439"/>
                <a:gd name="connsiteX2649" fmla="*/ 1449800 w 9586368"/>
                <a:gd name="connsiteY2649" fmla="*/ 4546999 h 6479439"/>
                <a:gd name="connsiteX2650" fmla="*/ 1453819 w 9586368"/>
                <a:gd name="connsiteY2650" fmla="*/ 4551038 h 6479439"/>
                <a:gd name="connsiteX2651" fmla="*/ 1453819 w 9586368"/>
                <a:gd name="connsiteY2651" fmla="*/ 4560909 h 6479439"/>
                <a:gd name="connsiteX2652" fmla="*/ 1449800 w 9586368"/>
                <a:gd name="connsiteY2652" fmla="*/ 4564948 h 6479439"/>
                <a:gd name="connsiteX2653" fmla="*/ 1439890 w 9586368"/>
                <a:gd name="connsiteY2653" fmla="*/ 4564948 h 6479439"/>
                <a:gd name="connsiteX2654" fmla="*/ 1435871 w 9586368"/>
                <a:gd name="connsiteY2654" fmla="*/ 4560909 h 6479439"/>
                <a:gd name="connsiteX2655" fmla="*/ 1435871 w 9586368"/>
                <a:gd name="connsiteY2655" fmla="*/ 4551038 h 6479439"/>
                <a:gd name="connsiteX2656" fmla="*/ 1200575 w 9586368"/>
                <a:gd name="connsiteY2656" fmla="*/ 4546999 h 6479439"/>
                <a:gd name="connsiteX2657" fmla="*/ 1210485 w 9586368"/>
                <a:gd name="connsiteY2657" fmla="*/ 4546999 h 6479439"/>
                <a:gd name="connsiteX2658" fmla="*/ 1214504 w 9586368"/>
                <a:gd name="connsiteY2658" fmla="*/ 4551038 h 6479439"/>
                <a:gd name="connsiteX2659" fmla="*/ 1214504 w 9586368"/>
                <a:gd name="connsiteY2659" fmla="*/ 4560909 h 6479439"/>
                <a:gd name="connsiteX2660" fmla="*/ 1210485 w 9586368"/>
                <a:gd name="connsiteY2660" fmla="*/ 4564948 h 6479439"/>
                <a:gd name="connsiteX2661" fmla="*/ 1200575 w 9586368"/>
                <a:gd name="connsiteY2661" fmla="*/ 4564948 h 6479439"/>
                <a:gd name="connsiteX2662" fmla="*/ 1196556 w 9586368"/>
                <a:gd name="connsiteY2662" fmla="*/ 4560909 h 6479439"/>
                <a:gd name="connsiteX2663" fmla="*/ 1196556 w 9586368"/>
                <a:gd name="connsiteY2663" fmla="*/ 4551038 h 6479439"/>
                <a:gd name="connsiteX2664" fmla="*/ 961262 w 9586368"/>
                <a:gd name="connsiteY2664" fmla="*/ 4546999 h 6479439"/>
                <a:gd name="connsiteX2665" fmla="*/ 971172 w 9586368"/>
                <a:gd name="connsiteY2665" fmla="*/ 4546999 h 6479439"/>
                <a:gd name="connsiteX2666" fmla="*/ 975191 w 9586368"/>
                <a:gd name="connsiteY2666" fmla="*/ 4551038 h 6479439"/>
                <a:gd name="connsiteX2667" fmla="*/ 975191 w 9586368"/>
                <a:gd name="connsiteY2667" fmla="*/ 4560909 h 6479439"/>
                <a:gd name="connsiteX2668" fmla="*/ 971172 w 9586368"/>
                <a:gd name="connsiteY2668" fmla="*/ 4564948 h 6479439"/>
                <a:gd name="connsiteX2669" fmla="*/ 961262 w 9586368"/>
                <a:gd name="connsiteY2669" fmla="*/ 4564948 h 6479439"/>
                <a:gd name="connsiteX2670" fmla="*/ 957243 w 9586368"/>
                <a:gd name="connsiteY2670" fmla="*/ 4560909 h 6479439"/>
                <a:gd name="connsiteX2671" fmla="*/ 957243 w 9586368"/>
                <a:gd name="connsiteY2671" fmla="*/ 4551038 h 6479439"/>
                <a:gd name="connsiteX2672" fmla="*/ 9572438 w 9586368"/>
                <a:gd name="connsiteY2672" fmla="*/ 4546948 h 6479439"/>
                <a:gd name="connsiteX2673" fmla="*/ 9582349 w 9586368"/>
                <a:gd name="connsiteY2673" fmla="*/ 4546948 h 6479439"/>
                <a:gd name="connsiteX2674" fmla="*/ 9586368 w 9586368"/>
                <a:gd name="connsiteY2674" fmla="*/ 4550987 h 6479439"/>
                <a:gd name="connsiteX2675" fmla="*/ 9586368 w 9586368"/>
                <a:gd name="connsiteY2675" fmla="*/ 4560858 h 6479439"/>
                <a:gd name="connsiteX2676" fmla="*/ 9582349 w 9586368"/>
                <a:gd name="connsiteY2676" fmla="*/ 4564897 h 6479439"/>
                <a:gd name="connsiteX2677" fmla="*/ 9572438 w 9586368"/>
                <a:gd name="connsiteY2677" fmla="*/ 4564897 h 6479439"/>
                <a:gd name="connsiteX2678" fmla="*/ 9568419 w 9586368"/>
                <a:gd name="connsiteY2678" fmla="*/ 4560858 h 6479439"/>
                <a:gd name="connsiteX2679" fmla="*/ 9568419 w 9586368"/>
                <a:gd name="connsiteY2679" fmla="*/ 4550987 h 6479439"/>
                <a:gd name="connsiteX2680" fmla="*/ 9333125 w 9586368"/>
                <a:gd name="connsiteY2680" fmla="*/ 4546948 h 6479439"/>
                <a:gd name="connsiteX2681" fmla="*/ 9343036 w 9586368"/>
                <a:gd name="connsiteY2681" fmla="*/ 4546948 h 6479439"/>
                <a:gd name="connsiteX2682" fmla="*/ 9347055 w 9586368"/>
                <a:gd name="connsiteY2682" fmla="*/ 4550987 h 6479439"/>
                <a:gd name="connsiteX2683" fmla="*/ 9347055 w 9586368"/>
                <a:gd name="connsiteY2683" fmla="*/ 4560858 h 6479439"/>
                <a:gd name="connsiteX2684" fmla="*/ 9343036 w 9586368"/>
                <a:gd name="connsiteY2684" fmla="*/ 4564897 h 6479439"/>
                <a:gd name="connsiteX2685" fmla="*/ 9333125 w 9586368"/>
                <a:gd name="connsiteY2685" fmla="*/ 4564897 h 6479439"/>
                <a:gd name="connsiteX2686" fmla="*/ 9329106 w 9586368"/>
                <a:gd name="connsiteY2686" fmla="*/ 4560858 h 6479439"/>
                <a:gd name="connsiteX2687" fmla="*/ 9329106 w 9586368"/>
                <a:gd name="connsiteY2687" fmla="*/ 4550987 h 6479439"/>
                <a:gd name="connsiteX2688" fmla="*/ 9093811 w 9586368"/>
                <a:gd name="connsiteY2688" fmla="*/ 4546948 h 6479439"/>
                <a:gd name="connsiteX2689" fmla="*/ 9103722 w 9586368"/>
                <a:gd name="connsiteY2689" fmla="*/ 4546948 h 6479439"/>
                <a:gd name="connsiteX2690" fmla="*/ 9107741 w 9586368"/>
                <a:gd name="connsiteY2690" fmla="*/ 4550987 h 6479439"/>
                <a:gd name="connsiteX2691" fmla="*/ 9107741 w 9586368"/>
                <a:gd name="connsiteY2691" fmla="*/ 4560858 h 6479439"/>
                <a:gd name="connsiteX2692" fmla="*/ 9103722 w 9586368"/>
                <a:gd name="connsiteY2692" fmla="*/ 4564897 h 6479439"/>
                <a:gd name="connsiteX2693" fmla="*/ 9093811 w 9586368"/>
                <a:gd name="connsiteY2693" fmla="*/ 4564897 h 6479439"/>
                <a:gd name="connsiteX2694" fmla="*/ 9089792 w 9586368"/>
                <a:gd name="connsiteY2694" fmla="*/ 4560858 h 6479439"/>
                <a:gd name="connsiteX2695" fmla="*/ 9089792 w 9586368"/>
                <a:gd name="connsiteY2695" fmla="*/ 4550987 h 6479439"/>
                <a:gd name="connsiteX2696" fmla="*/ 8854496 w 9586368"/>
                <a:gd name="connsiteY2696" fmla="*/ 4546948 h 6479439"/>
                <a:gd name="connsiteX2697" fmla="*/ 8864407 w 9586368"/>
                <a:gd name="connsiteY2697" fmla="*/ 4546948 h 6479439"/>
                <a:gd name="connsiteX2698" fmla="*/ 8868426 w 9586368"/>
                <a:gd name="connsiteY2698" fmla="*/ 4550987 h 6479439"/>
                <a:gd name="connsiteX2699" fmla="*/ 8868426 w 9586368"/>
                <a:gd name="connsiteY2699" fmla="*/ 4560858 h 6479439"/>
                <a:gd name="connsiteX2700" fmla="*/ 8864407 w 9586368"/>
                <a:gd name="connsiteY2700" fmla="*/ 4564897 h 6479439"/>
                <a:gd name="connsiteX2701" fmla="*/ 8854496 w 9586368"/>
                <a:gd name="connsiteY2701" fmla="*/ 4564897 h 6479439"/>
                <a:gd name="connsiteX2702" fmla="*/ 8850477 w 9586368"/>
                <a:gd name="connsiteY2702" fmla="*/ 4560858 h 6479439"/>
                <a:gd name="connsiteX2703" fmla="*/ 8850477 w 9586368"/>
                <a:gd name="connsiteY2703" fmla="*/ 4550987 h 6479439"/>
                <a:gd name="connsiteX2704" fmla="*/ 8615184 w 9586368"/>
                <a:gd name="connsiteY2704" fmla="*/ 4546948 h 6479439"/>
                <a:gd name="connsiteX2705" fmla="*/ 8625095 w 9586368"/>
                <a:gd name="connsiteY2705" fmla="*/ 4546948 h 6479439"/>
                <a:gd name="connsiteX2706" fmla="*/ 8629114 w 9586368"/>
                <a:gd name="connsiteY2706" fmla="*/ 4550987 h 6479439"/>
                <a:gd name="connsiteX2707" fmla="*/ 8629114 w 9586368"/>
                <a:gd name="connsiteY2707" fmla="*/ 4560858 h 6479439"/>
                <a:gd name="connsiteX2708" fmla="*/ 8625095 w 9586368"/>
                <a:gd name="connsiteY2708" fmla="*/ 4564897 h 6479439"/>
                <a:gd name="connsiteX2709" fmla="*/ 8615184 w 9586368"/>
                <a:gd name="connsiteY2709" fmla="*/ 4564897 h 6479439"/>
                <a:gd name="connsiteX2710" fmla="*/ 8611165 w 9586368"/>
                <a:gd name="connsiteY2710" fmla="*/ 4560858 h 6479439"/>
                <a:gd name="connsiteX2711" fmla="*/ 8611165 w 9586368"/>
                <a:gd name="connsiteY2711" fmla="*/ 4550987 h 6479439"/>
                <a:gd name="connsiteX2712" fmla="*/ 8375869 w 9586368"/>
                <a:gd name="connsiteY2712" fmla="*/ 4546948 h 6479439"/>
                <a:gd name="connsiteX2713" fmla="*/ 8385779 w 9586368"/>
                <a:gd name="connsiteY2713" fmla="*/ 4546948 h 6479439"/>
                <a:gd name="connsiteX2714" fmla="*/ 8389799 w 9586368"/>
                <a:gd name="connsiteY2714" fmla="*/ 4550987 h 6479439"/>
                <a:gd name="connsiteX2715" fmla="*/ 8389799 w 9586368"/>
                <a:gd name="connsiteY2715" fmla="*/ 4560858 h 6479439"/>
                <a:gd name="connsiteX2716" fmla="*/ 8385779 w 9586368"/>
                <a:gd name="connsiteY2716" fmla="*/ 4564897 h 6479439"/>
                <a:gd name="connsiteX2717" fmla="*/ 8375869 w 9586368"/>
                <a:gd name="connsiteY2717" fmla="*/ 4564897 h 6479439"/>
                <a:gd name="connsiteX2718" fmla="*/ 8371850 w 9586368"/>
                <a:gd name="connsiteY2718" fmla="*/ 4560858 h 6479439"/>
                <a:gd name="connsiteX2719" fmla="*/ 8371850 w 9586368"/>
                <a:gd name="connsiteY2719" fmla="*/ 4550987 h 6479439"/>
                <a:gd name="connsiteX2720" fmla="*/ 8136553 w 9586368"/>
                <a:gd name="connsiteY2720" fmla="*/ 4546948 h 6479439"/>
                <a:gd name="connsiteX2721" fmla="*/ 8146464 w 9586368"/>
                <a:gd name="connsiteY2721" fmla="*/ 4546948 h 6479439"/>
                <a:gd name="connsiteX2722" fmla="*/ 8150483 w 9586368"/>
                <a:gd name="connsiteY2722" fmla="*/ 4550987 h 6479439"/>
                <a:gd name="connsiteX2723" fmla="*/ 8150483 w 9586368"/>
                <a:gd name="connsiteY2723" fmla="*/ 4560858 h 6479439"/>
                <a:gd name="connsiteX2724" fmla="*/ 8146464 w 9586368"/>
                <a:gd name="connsiteY2724" fmla="*/ 4564897 h 6479439"/>
                <a:gd name="connsiteX2725" fmla="*/ 8136553 w 9586368"/>
                <a:gd name="connsiteY2725" fmla="*/ 4564897 h 6479439"/>
                <a:gd name="connsiteX2726" fmla="*/ 8132534 w 9586368"/>
                <a:gd name="connsiteY2726" fmla="*/ 4560858 h 6479439"/>
                <a:gd name="connsiteX2727" fmla="*/ 8132534 w 9586368"/>
                <a:gd name="connsiteY2727" fmla="*/ 4550987 h 6479439"/>
                <a:gd name="connsiteX2728" fmla="*/ 7897241 w 9586368"/>
                <a:gd name="connsiteY2728" fmla="*/ 4546948 h 6479439"/>
                <a:gd name="connsiteX2729" fmla="*/ 7907151 w 9586368"/>
                <a:gd name="connsiteY2729" fmla="*/ 4546948 h 6479439"/>
                <a:gd name="connsiteX2730" fmla="*/ 7911170 w 9586368"/>
                <a:gd name="connsiteY2730" fmla="*/ 4550987 h 6479439"/>
                <a:gd name="connsiteX2731" fmla="*/ 7911170 w 9586368"/>
                <a:gd name="connsiteY2731" fmla="*/ 4560858 h 6479439"/>
                <a:gd name="connsiteX2732" fmla="*/ 7907151 w 9586368"/>
                <a:gd name="connsiteY2732" fmla="*/ 4564897 h 6479439"/>
                <a:gd name="connsiteX2733" fmla="*/ 7897241 w 9586368"/>
                <a:gd name="connsiteY2733" fmla="*/ 4564897 h 6479439"/>
                <a:gd name="connsiteX2734" fmla="*/ 7893222 w 9586368"/>
                <a:gd name="connsiteY2734" fmla="*/ 4560858 h 6479439"/>
                <a:gd name="connsiteX2735" fmla="*/ 7893222 w 9586368"/>
                <a:gd name="connsiteY2735" fmla="*/ 4550987 h 6479439"/>
                <a:gd name="connsiteX2736" fmla="*/ 7657926 w 9586368"/>
                <a:gd name="connsiteY2736" fmla="*/ 4546948 h 6479439"/>
                <a:gd name="connsiteX2737" fmla="*/ 7667836 w 9586368"/>
                <a:gd name="connsiteY2737" fmla="*/ 4546948 h 6479439"/>
                <a:gd name="connsiteX2738" fmla="*/ 7671855 w 9586368"/>
                <a:gd name="connsiteY2738" fmla="*/ 4550987 h 6479439"/>
                <a:gd name="connsiteX2739" fmla="*/ 7671855 w 9586368"/>
                <a:gd name="connsiteY2739" fmla="*/ 4560858 h 6479439"/>
                <a:gd name="connsiteX2740" fmla="*/ 7667836 w 9586368"/>
                <a:gd name="connsiteY2740" fmla="*/ 4564897 h 6479439"/>
                <a:gd name="connsiteX2741" fmla="*/ 7657926 w 9586368"/>
                <a:gd name="connsiteY2741" fmla="*/ 4564897 h 6479439"/>
                <a:gd name="connsiteX2742" fmla="*/ 7653906 w 9586368"/>
                <a:gd name="connsiteY2742" fmla="*/ 4560858 h 6479439"/>
                <a:gd name="connsiteX2743" fmla="*/ 7653906 w 9586368"/>
                <a:gd name="connsiteY2743" fmla="*/ 4550987 h 6479439"/>
                <a:gd name="connsiteX2744" fmla="*/ 7418611 w 9586368"/>
                <a:gd name="connsiteY2744" fmla="*/ 4546948 h 6479439"/>
                <a:gd name="connsiteX2745" fmla="*/ 7428521 w 9586368"/>
                <a:gd name="connsiteY2745" fmla="*/ 4546948 h 6479439"/>
                <a:gd name="connsiteX2746" fmla="*/ 7432540 w 9586368"/>
                <a:gd name="connsiteY2746" fmla="*/ 4550987 h 6479439"/>
                <a:gd name="connsiteX2747" fmla="*/ 7432540 w 9586368"/>
                <a:gd name="connsiteY2747" fmla="*/ 4560858 h 6479439"/>
                <a:gd name="connsiteX2748" fmla="*/ 7428521 w 9586368"/>
                <a:gd name="connsiteY2748" fmla="*/ 4564897 h 6479439"/>
                <a:gd name="connsiteX2749" fmla="*/ 7418611 w 9586368"/>
                <a:gd name="connsiteY2749" fmla="*/ 4564897 h 6479439"/>
                <a:gd name="connsiteX2750" fmla="*/ 7414592 w 9586368"/>
                <a:gd name="connsiteY2750" fmla="*/ 4560858 h 6479439"/>
                <a:gd name="connsiteX2751" fmla="*/ 7414592 w 9586368"/>
                <a:gd name="connsiteY2751" fmla="*/ 4550987 h 6479439"/>
                <a:gd name="connsiteX2752" fmla="*/ 7179298 w 9586368"/>
                <a:gd name="connsiteY2752" fmla="*/ 4546948 h 6479439"/>
                <a:gd name="connsiteX2753" fmla="*/ 7189209 w 9586368"/>
                <a:gd name="connsiteY2753" fmla="*/ 4546948 h 6479439"/>
                <a:gd name="connsiteX2754" fmla="*/ 7193228 w 9586368"/>
                <a:gd name="connsiteY2754" fmla="*/ 4550987 h 6479439"/>
                <a:gd name="connsiteX2755" fmla="*/ 7193228 w 9586368"/>
                <a:gd name="connsiteY2755" fmla="*/ 4560858 h 6479439"/>
                <a:gd name="connsiteX2756" fmla="*/ 7189209 w 9586368"/>
                <a:gd name="connsiteY2756" fmla="*/ 4564897 h 6479439"/>
                <a:gd name="connsiteX2757" fmla="*/ 7179298 w 9586368"/>
                <a:gd name="connsiteY2757" fmla="*/ 4564897 h 6479439"/>
                <a:gd name="connsiteX2758" fmla="*/ 7175279 w 9586368"/>
                <a:gd name="connsiteY2758" fmla="*/ 4560858 h 6479439"/>
                <a:gd name="connsiteX2759" fmla="*/ 7175279 w 9586368"/>
                <a:gd name="connsiteY2759" fmla="*/ 4550987 h 6479439"/>
                <a:gd name="connsiteX2760" fmla="*/ 6939983 w 9586368"/>
                <a:gd name="connsiteY2760" fmla="*/ 4546948 h 6479439"/>
                <a:gd name="connsiteX2761" fmla="*/ 6949894 w 9586368"/>
                <a:gd name="connsiteY2761" fmla="*/ 4546948 h 6479439"/>
                <a:gd name="connsiteX2762" fmla="*/ 6953913 w 9586368"/>
                <a:gd name="connsiteY2762" fmla="*/ 4550987 h 6479439"/>
                <a:gd name="connsiteX2763" fmla="*/ 6953913 w 9586368"/>
                <a:gd name="connsiteY2763" fmla="*/ 4560858 h 6479439"/>
                <a:gd name="connsiteX2764" fmla="*/ 6949894 w 9586368"/>
                <a:gd name="connsiteY2764" fmla="*/ 4564897 h 6479439"/>
                <a:gd name="connsiteX2765" fmla="*/ 6939983 w 9586368"/>
                <a:gd name="connsiteY2765" fmla="*/ 4564897 h 6479439"/>
                <a:gd name="connsiteX2766" fmla="*/ 6935964 w 9586368"/>
                <a:gd name="connsiteY2766" fmla="*/ 4560858 h 6479439"/>
                <a:gd name="connsiteX2767" fmla="*/ 6935964 w 9586368"/>
                <a:gd name="connsiteY2767" fmla="*/ 4550987 h 6479439"/>
                <a:gd name="connsiteX2768" fmla="*/ 6700670 w 9586368"/>
                <a:gd name="connsiteY2768" fmla="*/ 4546948 h 6479439"/>
                <a:gd name="connsiteX2769" fmla="*/ 6710581 w 9586368"/>
                <a:gd name="connsiteY2769" fmla="*/ 4546948 h 6479439"/>
                <a:gd name="connsiteX2770" fmla="*/ 6714600 w 9586368"/>
                <a:gd name="connsiteY2770" fmla="*/ 4550987 h 6479439"/>
                <a:gd name="connsiteX2771" fmla="*/ 6714600 w 9586368"/>
                <a:gd name="connsiteY2771" fmla="*/ 4560858 h 6479439"/>
                <a:gd name="connsiteX2772" fmla="*/ 6710581 w 9586368"/>
                <a:gd name="connsiteY2772" fmla="*/ 4564897 h 6479439"/>
                <a:gd name="connsiteX2773" fmla="*/ 6700670 w 9586368"/>
                <a:gd name="connsiteY2773" fmla="*/ 4564897 h 6479439"/>
                <a:gd name="connsiteX2774" fmla="*/ 6696651 w 9586368"/>
                <a:gd name="connsiteY2774" fmla="*/ 4560858 h 6479439"/>
                <a:gd name="connsiteX2775" fmla="*/ 6696651 w 9586368"/>
                <a:gd name="connsiteY2775" fmla="*/ 4550987 h 6479439"/>
                <a:gd name="connsiteX2776" fmla="*/ 6461356 w 9586368"/>
                <a:gd name="connsiteY2776" fmla="*/ 4546948 h 6479439"/>
                <a:gd name="connsiteX2777" fmla="*/ 6471266 w 9586368"/>
                <a:gd name="connsiteY2777" fmla="*/ 4546948 h 6479439"/>
                <a:gd name="connsiteX2778" fmla="*/ 6475285 w 9586368"/>
                <a:gd name="connsiteY2778" fmla="*/ 4550987 h 6479439"/>
                <a:gd name="connsiteX2779" fmla="*/ 6475285 w 9586368"/>
                <a:gd name="connsiteY2779" fmla="*/ 4560858 h 6479439"/>
                <a:gd name="connsiteX2780" fmla="*/ 6471266 w 9586368"/>
                <a:gd name="connsiteY2780" fmla="*/ 4564897 h 6479439"/>
                <a:gd name="connsiteX2781" fmla="*/ 6461356 w 9586368"/>
                <a:gd name="connsiteY2781" fmla="*/ 4564897 h 6479439"/>
                <a:gd name="connsiteX2782" fmla="*/ 6457337 w 9586368"/>
                <a:gd name="connsiteY2782" fmla="*/ 4560858 h 6479439"/>
                <a:gd name="connsiteX2783" fmla="*/ 6457337 w 9586368"/>
                <a:gd name="connsiteY2783" fmla="*/ 4550987 h 6479439"/>
                <a:gd name="connsiteX2784" fmla="*/ 6222042 w 9586368"/>
                <a:gd name="connsiteY2784" fmla="*/ 4546948 h 6479439"/>
                <a:gd name="connsiteX2785" fmla="*/ 6231952 w 9586368"/>
                <a:gd name="connsiteY2785" fmla="*/ 4546948 h 6479439"/>
                <a:gd name="connsiteX2786" fmla="*/ 6235971 w 9586368"/>
                <a:gd name="connsiteY2786" fmla="*/ 4550987 h 6479439"/>
                <a:gd name="connsiteX2787" fmla="*/ 6235971 w 9586368"/>
                <a:gd name="connsiteY2787" fmla="*/ 4560858 h 6479439"/>
                <a:gd name="connsiteX2788" fmla="*/ 6231952 w 9586368"/>
                <a:gd name="connsiteY2788" fmla="*/ 4564897 h 6479439"/>
                <a:gd name="connsiteX2789" fmla="*/ 6222042 w 9586368"/>
                <a:gd name="connsiteY2789" fmla="*/ 4564897 h 6479439"/>
                <a:gd name="connsiteX2790" fmla="*/ 6218023 w 9586368"/>
                <a:gd name="connsiteY2790" fmla="*/ 4560858 h 6479439"/>
                <a:gd name="connsiteX2791" fmla="*/ 6218023 w 9586368"/>
                <a:gd name="connsiteY2791" fmla="*/ 4550987 h 6479439"/>
                <a:gd name="connsiteX2792" fmla="*/ 5982729 w 9586368"/>
                <a:gd name="connsiteY2792" fmla="*/ 4546948 h 6479439"/>
                <a:gd name="connsiteX2793" fmla="*/ 5992639 w 9586368"/>
                <a:gd name="connsiteY2793" fmla="*/ 4546948 h 6479439"/>
                <a:gd name="connsiteX2794" fmla="*/ 5996658 w 9586368"/>
                <a:gd name="connsiteY2794" fmla="*/ 4550987 h 6479439"/>
                <a:gd name="connsiteX2795" fmla="*/ 5996658 w 9586368"/>
                <a:gd name="connsiteY2795" fmla="*/ 4560858 h 6479439"/>
                <a:gd name="connsiteX2796" fmla="*/ 5992639 w 9586368"/>
                <a:gd name="connsiteY2796" fmla="*/ 4564897 h 6479439"/>
                <a:gd name="connsiteX2797" fmla="*/ 5982729 w 9586368"/>
                <a:gd name="connsiteY2797" fmla="*/ 4564897 h 6479439"/>
                <a:gd name="connsiteX2798" fmla="*/ 5978710 w 9586368"/>
                <a:gd name="connsiteY2798" fmla="*/ 4560858 h 6479439"/>
                <a:gd name="connsiteX2799" fmla="*/ 5978710 w 9586368"/>
                <a:gd name="connsiteY2799" fmla="*/ 4550987 h 6479439"/>
                <a:gd name="connsiteX2800" fmla="*/ 5743412 w 9586368"/>
                <a:gd name="connsiteY2800" fmla="*/ 4546948 h 6479439"/>
                <a:gd name="connsiteX2801" fmla="*/ 5753323 w 9586368"/>
                <a:gd name="connsiteY2801" fmla="*/ 4546948 h 6479439"/>
                <a:gd name="connsiteX2802" fmla="*/ 5757342 w 9586368"/>
                <a:gd name="connsiteY2802" fmla="*/ 4550987 h 6479439"/>
                <a:gd name="connsiteX2803" fmla="*/ 5757342 w 9586368"/>
                <a:gd name="connsiteY2803" fmla="*/ 4560858 h 6479439"/>
                <a:gd name="connsiteX2804" fmla="*/ 5753323 w 9586368"/>
                <a:gd name="connsiteY2804" fmla="*/ 4564897 h 6479439"/>
                <a:gd name="connsiteX2805" fmla="*/ 5743412 w 9586368"/>
                <a:gd name="connsiteY2805" fmla="*/ 4564897 h 6479439"/>
                <a:gd name="connsiteX2806" fmla="*/ 5739393 w 9586368"/>
                <a:gd name="connsiteY2806" fmla="*/ 4560858 h 6479439"/>
                <a:gd name="connsiteX2807" fmla="*/ 5739393 w 9586368"/>
                <a:gd name="connsiteY2807" fmla="*/ 4550987 h 6479439"/>
                <a:gd name="connsiteX2808" fmla="*/ 5504099 w 9586368"/>
                <a:gd name="connsiteY2808" fmla="*/ 4546948 h 6479439"/>
                <a:gd name="connsiteX2809" fmla="*/ 5514010 w 9586368"/>
                <a:gd name="connsiteY2809" fmla="*/ 4546948 h 6479439"/>
                <a:gd name="connsiteX2810" fmla="*/ 5518029 w 9586368"/>
                <a:gd name="connsiteY2810" fmla="*/ 4550987 h 6479439"/>
                <a:gd name="connsiteX2811" fmla="*/ 5518029 w 9586368"/>
                <a:gd name="connsiteY2811" fmla="*/ 4560858 h 6479439"/>
                <a:gd name="connsiteX2812" fmla="*/ 5514010 w 9586368"/>
                <a:gd name="connsiteY2812" fmla="*/ 4564897 h 6479439"/>
                <a:gd name="connsiteX2813" fmla="*/ 5504099 w 9586368"/>
                <a:gd name="connsiteY2813" fmla="*/ 4564897 h 6479439"/>
                <a:gd name="connsiteX2814" fmla="*/ 5500080 w 9586368"/>
                <a:gd name="connsiteY2814" fmla="*/ 4560858 h 6479439"/>
                <a:gd name="connsiteX2815" fmla="*/ 5500080 w 9586368"/>
                <a:gd name="connsiteY2815" fmla="*/ 4550987 h 6479439"/>
                <a:gd name="connsiteX2816" fmla="*/ 5264784 w 9586368"/>
                <a:gd name="connsiteY2816" fmla="*/ 4546948 h 6479439"/>
                <a:gd name="connsiteX2817" fmla="*/ 5274694 w 9586368"/>
                <a:gd name="connsiteY2817" fmla="*/ 4546948 h 6479439"/>
                <a:gd name="connsiteX2818" fmla="*/ 5278713 w 9586368"/>
                <a:gd name="connsiteY2818" fmla="*/ 4550987 h 6479439"/>
                <a:gd name="connsiteX2819" fmla="*/ 5278713 w 9586368"/>
                <a:gd name="connsiteY2819" fmla="*/ 4560858 h 6479439"/>
                <a:gd name="connsiteX2820" fmla="*/ 5274694 w 9586368"/>
                <a:gd name="connsiteY2820" fmla="*/ 4564897 h 6479439"/>
                <a:gd name="connsiteX2821" fmla="*/ 5264784 w 9586368"/>
                <a:gd name="connsiteY2821" fmla="*/ 4564897 h 6479439"/>
                <a:gd name="connsiteX2822" fmla="*/ 5260765 w 9586368"/>
                <a:gd name="connsiteY2822" fmla="*/ 4560858 h 6479439"/>
                <a:gd name="connsiteX2823" fmla="*/ 5260765 w 9586368"/>
                <a:gd name="connsiteY2823" fmla="*/ 4550987 h 6479439"/>
                <a:gd name="connsiteX2824" fmla="*/ 5025470 w 9586368"/>
                <a:gd name="connsiteY2824" fmla="*/ 4546948 h 6479439"/>
                <a:gd name="connsiteX2825" fmla="*/ 5035381 w 9586368"/>
                <a:gd name="connsiteY2825" fmla="*/ 4546948 h 6479439"/>
                <a:gd name="connsiteX2826" fmla="*/ 5039400 w 9586368"/>
                <a:gd name="connsiteY2826" fmla="*/ 4550987 h 6479439"/>
                <a:gd name="connsiteX2827" fmla="*/ 5039400 w 9586368"/>
                <a:gd name="connsiteY2827" fmla="*/ 4560858 h 6479439"/>
                <a:gd name="connsiteX2828" fmla="*/ 5035381 w 9586368"/>
                <a:gd name="connsiteY2828" fmla="*/ 4564897 h 6479439"/>
                <a:gd name="connsiteX2829" fmla="*/ 5025470 w 9586368"/>
                <a:gd name="connsiteY2829" fmla="*/ 4564897 h 6479439"/>
                <a:gd name="connsiteX2830" fmla="*/ 5021451 w 9586368"/>
                <a:gd name="connsiteY2830" fmla="*/ 4560858 h 6479439"/>
                <a:gd name="connsiteX2831" fmla="*/ 5021451 w 9586368"/>
                <a:gd name="connsiteY2831" fmla="*/ 4550987 h 6479439"/>
                <a:gd name="connsiteX2832" fmla="*/ 4786241 w 9586368"/>
                <a:gd name="connsiteY2832" fmla="*/ 4546948 h 6479439"/>
                <a:gd name="connsiteX2833" fmla="*/ 4796152 w 9586368"/>
                <a:gd name="connsiteY2833" fmla="*/ 4546948 h 6479439"/>
                <a:gd name="connsiteX2834" fmla="*/ 4800171 w 9586368"/>
                <a:gd name="connsiteY2834" fmla="*/ 4550987 h 6479439"/>
                <a:gd name="connsiteX2835" fmla="*/ 4800171 w 9586368"/>
                <a:gd name="connsiteY2835" fmla="*/ 4560858 h 6479439"/>
                <a:gd name="connsiteX2836" fmla="*/ 4796152 w 9586368"/>
                <a:gd name="connsiteY2836" fmla="*/ 4564897 h 6479439"/>
                <a:gd name="connsiteX2837" fmla="*/ 4786241 w 9586368"/>
                <a:gd name="connsiteY2837" fmla="*/ 4564897 h 6479439"/>
                <a:gd name="connsiteX2838" fmla="*/ 4782224 w 9586368"/>
                <a:gd name="connsiteY2838" fmla="*/ 4560858 h 6479439"/>
                <a:gd name="connsiteX2839" fmla="*/ 4782224 w 9586368"/>
                <a:gd name="connsiteY2839" fmla="*/ 4550987 h 6479439"/>
                <a:gd name="connsiteX2840" fmla="*/ 4546929 w 9586368"/>
                <a:gd name="connsiteY2840" fmla="*/ 4546948 h 6479439"/>
                <a:gd name="connsiteX2841" fmla="*/ 4556840 w 9586368"/>
                <a:gd name="connsiteY2841" fmla="*/ 4546948 h 6479439"/>
                <a:gd name="connsiteX2842" fmla="*/ 4560859 w 9586368"/>
                <a:gd name="connsiteY2842" fmla="*/ 4550987 h 6479439"/>
                <a:gd name="connsiteX2843" fmla="*/ 4560859 w 9586368"/>
                <a:gd name="connsiteY2843" fmla="*/ 4560858 h 6479439"/>
                <a:gd name="connsiteX2844" fmla="*/ 4556840 w 9586368"/>
                <a:gd name="connsiteY2844" fmla="*/ 4564897 h 6479439"/>
                <a:gd name="connsiteX2845" fmla="*/ 4546929 w 9586368"/>
                <a:gd name="connsiteY2845" fmla="*/ 4564897 h 6479439"/>
                <a:gd name="connsiteX2846" fmla="*/ 4542910 w 9586368"/>
                <a:gd name="connsiteY2846" fmla="*/ 4560858 h 6479439"/>
                <a:gd name="connsiteX2847" fmla="*/ 4542910 w 9586368"/>
                <a:gd name="connsiteY2847" fmla="*/ 4550987 h 6479439"/>
                <a:gd name="connsiteX2848" fmla="*/ 4307612 w 9586368"/>
                <a:gd name="connsiteY2848" fmla="*/ 4546948 h 6479439"/>
                <a:gd name="connsiteX2849" fmla="*/ 4317523 w 9586368"/>
                <a:gd name="connsiteY2849" fmla="*/ 4546948 h 6479439"/>
                <a:gd name="connsiteX2850" fmla="*/ 4321543 w 9586368"/>
                <a:gd name="connsiteY2850" fmla="*/ 4550987 h 6479439"/>
                <a:gd name="connsiteX2851" fmla="*/ 4321543 w 9586368"/>
                <a:gd name="connsiteY2851" fmla="*/ 4560858 h 6479439"/>
                <a:gd name="connsiteX2852" fmla="*/ 4317523 w 9586368"/>
                <a:gd name="connsiteY2852" fmla="*/ 4564897 h 6479439"/>
                <a:gd name="connsiteX2853" fmla="*/ 4307612 w 9586368"/>
                <a:gd name="connsiteY2853" fmla="*/ 4564897 h 6479439"/>
                <a:gd name="connsiteX2854" fmla="*/ 4303595 w 9586368"/>
                <a:gd name="connsiteY2854" fmla="*/ 4560858 h 6479439"/>
                <a:gd name="connsiteX2855" fmla="*/ 4303595 w 9586368"/>
                <a:gd name="connsiteY2855" fmla="*/ 4550987 h 6479439"/>
                <a:gd name="connsiteX2856" fmla="*/ 4068297 w 9586368"/>
                <a:gd name="connsiteY2856" fmla="*/ 4546948 h 6479439"/>
                <a:gd name="connsiteX2857" fmla="*/ 4078210 w 9586368"/>
                <a:gd name="connsiteY2857" fmla="*/ 4546948 h 6479439"/>
                <a:gd name="connsiteX2858" fmla="*/ 4082229 w 9586368"/>
                <a:gd name="connsiteY2858" fmla="*/ 4550987 h 6479439"/>
                <a:gd name="connsiteX2859" fmla="*/ 4082229 w 9586368"/>
                <a:gd name="connsiteY2859" fmla="*/ 4560858 h 6479439"/>
                <a:gd name="connsiteX2860" fmla="*/ 4078210 w 9586368"/>
                <a:gd name="connsiteY2860" fmla="*/ 4564897 h 6479439"/>
                <a:gd name="connsiteX2861" fmla="*/ 4068297 w 9586368"/>
                <a:gd name="connsiteY2861" fmla="*/ 4564897 h 6479439"/>
                <a:gd name="connsiteX2862" fmla="*/ 4064278 w 9586368"/>
                <a:gd name="connsiteY2862" fmla="*/ 4560858 h 6479439"/>
                <a:gd name="connsiteX2863" fmla="*/ 4064278 w 9586368"/>
                <a:gd name="connsiteY2863" fmla="*/ 4550987 h 6479439"/>
                <a:gd name="connsiteX2864" fmla="*/ 3828990 w 9586368"/>
                <a:gd name="connsiteY2864" fmla="*/ 4546948 h 6479439"/>
                <a:gd name="connsiteX2865" fmla="*/ 3838899 w 9586368"/>
                <a:gd name="connsiteY2865" fmla="*/ 4546948 h 6479439"/>
                <a:gd name="connsiteX2866" fmla="*/ 3842917 w 9586368"/>
                <a:gd name="connsiteY2866" fmla="*/ 4550987 h 6479439"/>
                <a:gd name="connsiteX2867" fmla="*/ 3842917 w 9586368"/>
                <a:gd name="connsiteY2867" fmla="*/ 4560858 h 6479439"/>
                <a:gd name="connsiteX2868" fmla="*/ 3838899 w 9586368"/>
                <a:gd name="connsiteY2868" fmla="*/ 4564897 h 6479439"/>
                <a:gd name="connsiteX2869" fmla="*/ 3828990 w 9586368"/>
                <a:gd name="connsiteY2869" fmla="*/ 4564897 h 6479439"/>
                <a:gd name="connsiteX2870" fmla="*/ 3824971 w 9586368"/>
                <a:gd name="connsiteY2870" fmla="*/ 4560858 h 6479439"/>
                <a:gd name="connsiteX2871" fmla="*/ 3824971 w 9586368"/>
                <a:gd name="connsiteY2871" fmla="*/ 4550987 h 6479439"/>
                <a:gd name="connsiteX2872" fmla="*/ 3589676 w 9586368"/>
                <a:gd name="connsiteY2872" fmla="*/ 4546948 h 6479439"/>
                <a:gd name="connsiteX2873" fmla="*/ 3599585 w 9586368"/>
                <a:gd name="connsiteY2873" fmla="*/ 4546948 h 6479439"/>
                <a:gd name="connsiteX2874" fmla="*/ 3603604 w 9586368"/>
                <a:gd name="connsiteY2874" fmla="*/ 4550987 h 6479439"/>
                <a:gd name="connsiteX2875" fmla="*/ 3603604 w 9586368"/>
                <a:gd name="connsiteY2875" fmla="*/ 4560858 h 6479439"/>
                <a:gd name="connsiteX2876" fmla="*/ 3599585 w 9586368"/>
                <a:gd name="connsiteY2876" fmla="*/ 4564897 h 6479439"/>
                <a:gd name="connsiteX2877" fmla="*/ 3589676 w 9586368"/>
                <a:gd name="connsiteY2877" fmla="*/ 4564897 h 6479439"/>
                <a:gd name="connsiteX2878" fmla="*/ 3585657 w 9586368"/>
                <a:gd name="connsiteY2878" fmla="*/ 4560858 h 6479439"/>
                <a:gd name="connsiteX2879" fmla="*/ 3585657 w 9586368"/>
                <a:gd name="connsiteY2879" fmla="*/ 4550987 h 6479439"/>
                <a:gd name="connsiteX2880" fmla="*/ 3350359 w 9586368"/>
                <a:gd name="connsiteY2880" fmla="*/ 4546948 h 6479439"/>
                <a:gd name="connsiteX2881" fmla="*/ 3360268 w 9586368"/>
                <a:gd name="connsiteY2881" fmla="*/ 4546948 h 6479439"/>
                <a:gd name="connsiteX2882" fmla="*/ 3364287 w 9586368"/>
                <a:gd name="connsiteY2882" fmla="*/ 4550987 h 6479439"/>
                <a:gd name="connsiteX2883" fmla="*/ 3364287 w 9586368"/>
                <a:gd name="connsiteY2883" fmla="*/ 4560858 h 6479439"/>
                <a:gd name="connsiteX2884" fmla="*/ 3360268 w 9586368"/>
                <a:gd name="connsiteY2884" fmla="*/ 4564897 h 6479439"/>
                <a:gd name="connsiteX2885" fmla="*/ 3350359 w 9586368"/>
                <a:gd name="connsiteY2885" fmla="*/ 4564897 h 6479439"/>
                <a:gd name="connsiteX2886" fmla="*/ 3346340 w 9586368"/>
                <a:gd name="connsiteY2886" fmla="*/ 4560858 h 6479439"/>
                <a:gd name="connsiteX2887" fmla="*/ 3346340 w 9586368"/>
                <a:gd name="connsiteY2887" fmla="*/ 4550987 h 6479439"/>
                <a:gd name="connsiteX2888" fmla="*/ 3111048 w 9586368"/>
                <a:gd name="connsiteY2888" fmla="*/ 4546948 h 6479439"/>
                <a:gd name="connsiteX2889" fmla="*/ 3120959 w 9586368"/>
                <a:gd name="connsiteY2889" fmla="*/ 4546948 h 6479439"/>
                <a:gd name="connsiteX2890" fmla="*/ 3124977 w 9586368"/>
                <a:gd name="connsiteY2890" fmla="*/ 4550987 h 6479439"/>
                <a:gd name="connsiteX2891" fmla="*/ 3124977 w 9586368"/>
                <a:gd name="connsiteY2891" fmla="*/ 4560858 h 6479439"/>
                <a:gd name="connsiteX2892" fmla="*/ 3120959 w 9586368"/>
                <a:gd name="connsiteY2892" fmla="*/ 4564897 h 6479439"/>
                <a:gd name="connsiteX2893" fmla="*/ 3111048 w 9586368"/>
                <a:gd name="connsiteY2893" fmla="*/ 4564897 h 6479439"/>
                <a:gd name="connsiteX2894" fmla="*/ 3107029 w 9586368"/>
                <a:gd name="connsiteY2894" fmla="*/ 4560858 h 6479439"/>
                <a:gd name="connsiteX2895" fmla="*/ 3107029 w 9586368"/>
                <a:gd name="connsiteY2895" fmla="*/ 4550987 h 6479439"/>
                <a:gd name="connsiteX2896" fmla="*/ 2871737 w 9586368"/>
                <a:gd name="connsiteY2896" fmla="*/ 4546948 h 6479439"/>
                <a:gd name="connsiteX2897" fmla="*/ 2881646 w 9586368"/>
                <a:gd name="connsiteY2897" fmla="*/ 4546948 h 6479439"/>
                <a:gd name="connsiteX2898" fmla="*/ 2885666 w 9586368"/>
                <a:gd name="connsiteY2898" fmla="*/ 4550987 h 6479439"/>
                <a:gd name="connsiteX2899" fmla="*/ 2885666 w 9586368"/>
                <a:gd name="connsiteY2899" fmla="*/ 4560858 h 6479439"/>
                <a:gd name="connsiteX2900" fmla="*/ 2881646 w 9586368"/>
                <a:gd name="connsiteY2900" fmla="*/ 4564897 h 6479439"/>
                <a:gd name="connsiteX2901" fmla="*/ 2871737 w 9586368"/>
                <a:gd name="connsiteY2901" fmla="*/ 4564897 h 6479439"/>
                <a:gd name="connsiteX2902" fmla="*/ 2867717 w 9586368"/>
                <a:gd name="connsiteY2902" fmla="*/ 4560858 h 6479439"/>
                <a:gd name="connsiteX2903" fmla="*/ 2867717 w 9586368"/>
                <a:gd name="connsiteY2903" fmla="*/ 4550987 h 6479439"/>
                <a:gd name="connsiteX2904" fmla="*/ 2632423 w 9586368"/>
                <a:gd name="connsiteY2904" fmla="*/ 4546948 h 6479439"/>
                <a:gd name="connsiteX2905" fmla="*/ 2642334 w 9586368"/>
                <a:gd name="connsiteY2905" fmla="*/ 4546948 h 6479439"/>
                <a:gd name="connsiteX2906" fmla="*/ 2646352 w 9586368"/>
                <a:gd name="connsiteY2906" fmla="*/ 4550987 h 6479439"/>
                <a:gd name="connsiteX2907" fmla="*/ 2646352 w 9586368"/>
                <a:gd name="connsiteY2907" fmla="*/ 4560858 h 6479439"/>
                <a:gd name="connsiteX2908" fmla="*/ 2642334 w 9586368"/>
                <a:gd name="connsiteY2908" fmla="*/ 4564897 h 6479439"/>
                <a:gd name="connsiteX2909" fmla="*/ 2632423 w 9586368"/>
                <a:gd name="connsiteY2909" fmla="*/ 4564897 h 6479439"/>
                <a:gd name="connsiteX2910" fmla="*/ 2628404 w 9586368"/>
                <a:gd name="connsiteY2910" fmla="*/ 4560858 h 6479439"/>
                <a:gd name="connsiteX2911" fmla="*/ 2628404 w 9586368"/>
                <a:gd name="connsiteY2911" fmla="*/ 4550987 h 6479439"/>
                <a:gd name="connsiteX2912" fmla="*/ 2393104 w 9586368"/>
                <a:gd name="connsiteY2912" fmla="*/ 4546948 h 6479439"/>
                <a:gd name="connsiteX2913" fmla="*/ 2403015 w 9586368"/>
                <a:gd name="connsiteY2913" fmla="*/ 4546948 h 6479439"/>
                <a:gd name="connsiteX2914" fmla="*/ 2407034 w 9586368"/>
                <a:gd name="connsiteY2914" fmla="*/ 4550987 h 6479439"/>
                <a:gd name="connsiteX2915" fmla="*/ 2407034 w 9586368"/>
                <a:gd name="connsiteY2915" fmla="*/ 4560858 h 6479439"/>
                <a:gd name="connsiteX2916" fmla="*/ 2403015 w 9586368"/>
                <a:gd name="connsiteY2916" fmla="*/ 4564897 h 6479439"/>
                <a:gd name="connsiteX2917" fmla="*/ 2393104 w 9586368"/>
                <a:gd name="connsiteY2917" fmla="*/ 4564897 h 6479439"/>
                <a:gd name="connsiteX2918" fmla="*/ 2389087 w 9586368"/>
                <a:gd name="connsiteY2918" fmla="*/ 4560858 h 6479439"/>
                <a:gd name="connsiteX2919" fmla="*/ 2389087 w 9586368"/>
                <a:gd name="connsiteY2919" fmla="*/ 4550987 h 6479439"/>
                <a:gd name="connsiteX2920" fmla="*/ 721964 w 9586368"/>
                <a:gd name="connsiteY2920" fmla="*/ 4546948 h 6479439"/>
                <a:gd name="connsiteX2921" fmla="*/ 731874 w 9586368"/>
                <a:gd name="connsiteY2921" fmla="*/ 4546948 h 6479439"/>
                <a:gd name="connsiteX2922" fmla="*/ 735893 w 9586368"/>
                <a:gd name="connsiteY2922" fmla="*/ 4550987 h 6479439"/>
                <a:gd name="connsiteX2923" fmla="*/ 735893 w 9586368"/>
                <a:gd name="connsiteY2923" fmla="*/ 4560858 h 6479439"/>
                <a:gd name="connsiteX2924" fmla="*/ 731874 w 9586368"/>
                <a:gd name="connsiteY2924" fmla="*/ 4564897 h 6479439"/>
                <a:gd name="connsiteX2925" fmla="*/ 721964 w 9586368"/>
                <a:gd name="connsiteY2925" fmla="*/ 4564897 h 6479439"/>
                <a:gd name="connsiteX2926" fmla="*/ 717945 w 9586368"/>
                <a:gd name="connsiteY2926" fmla="*/ 4560858 h 6479439"/>
                <a:gd name="connsiteX2927" fmla="*/ 717945 w 9586368"/>
                <a:gd name="connsiteY2927" fmla="*/ 4550987 h 6479439"/>
                <a:gd name="connsiteX2928" fmla="*/ 482651 w 9586368"/>
                <a:gd name="connsiteY2928" fmla="*/ 4546948 h 6479439"/>
                <a:gd name="connsiteX2929" fmla="*/ 492562 w 9586368"/>
                <a:gd name="connsiteY2929" fmla="*/ 4546948 h 6479439"/>
                <a:gd name="connsiteX2930" fmla="*/ 496581 w 9586368"/>
                <a:gd name="connsiteY2930" fmla="*/ 4550987 h 6479439"/>
                <a:gd name="connsiteX2931" fmla="*/ 496581 w 9586368"/>
                <a:gd name="connsiteY2931" fmla="*/ 4560858 h 6479439"/>
                <a:gd name="connsiteX2932" fmla="*/ 492562 w 9586368"/>
                <a:gd name="connsiteY2932" fmla="*/ 4564897 h 6479439"/>
                <a:gd name="connsiteX2933" fmla="*/ 482651 w 9586368"/>
                <a:gd name="connsiteY2933" fmla="*/ 4564897 h 6479439"/>
                <a:gd name="connsiteX2934" fmla="*/ 478632 w 9586368"/>
                <a:gd name="connsiteY2934" fmla="*/ 4560858 h 6479439"/>
                <a:gd name="connsiteX2935" fmla="*/ 478632 w 9586368"/>
                <a:gd name="connsiteY2935" fmla="*/ 4550987 h 6479439"/>
                <a:gd name="connsiteX2936" fmla="*/ 243338 w 9586368"/>
                <a:gd name="connsiteY2936" fmla="*/ 4546948 h 6479439"/>
                <a:gd name="connsiteX2937" fmla="*/ 253248 w 9586368"/>
                <a:gd name="connsiteY2937" fmla="*/ 4546948 h 6479439"/>
                <a:gd name="connsiteX2938" fmla="*/ 257267 w 9586368"/>
                <a:gd name="connsiteY2938" fmla="*/ 4550987 h 6479439"/>
                <a:gd name="connsiteX2939" fmla="*/ 257267 w 9586368"/>
                <a:gd name="connsiteY2939" fmla="*/ 4560858 h 6479439"/>
                <a:gd name="connsiteX2940" fmla="*/ 253248 w 9586368"/>
                <a:gd name="connsiteY2940" fmla="*/ 4564897 h 6479439"/>
                <a:gd name="connsiteX2941" fmla="*/ 243338 w 9586368"/>
                <a:gd name="connsiteY2941" fmla="*/ 4564897 h 6479439"/>
                <a:gd name="connsiteX2942" fmla="*/ 239319 w 9586368"/>
                <a:gd name="connsiteY2942" fmla="*/ 4560858 h 6479439"/>
                <a:gd name="connsiteX2943" fmla="*/ 239319 w 9586368"/>
                <a:gd name="connsiteY2943" fmla="*/ 4550987 h 6479439"/>
                <a:gd name="connsiteX2944" fmla="*/ 4025 w 9586368"/>
                <a:gd name="connsiteY2944" fmla="*/ 4546948 h 6479439"/>
                <a:gd name="connsiteX2945" fmla="*/ 13935 w 9586368"/>
                <a:gd name="connsiteY2945" fmla="*/ 4546948 h 6479439"/>
                <a:gd name="connsiteX2946" fmla="*/ 17954 w 9586368"/>
                <a:gd name="connsiteY2946" fmla="*/ 4550987 h 6479439"/>
                <a:gd name="connsiteX2947" fmla="*/ 17954 w 9586368"/>
                <a:gd name="connsiteY2947" fmla="*/ 4560858 h 6479439"/>
                <a:gd name="connsiteX2948" fmla="*/ 13935 w 9586368"/>
                <a:gd name="connsiteY2948" fmla="*/ 4564897 h 6479439"/>
                <a:gd name="connsiteX2949" fmla="*/ 4025 w 9586368"/>
                <a:gd name="connsiteY2949" fmla="*/ 4564897 h 6479439"/>
                <a:gd name="connsiteX2950" fmla="*/ 6 w 9586368"/>
                <a:gd name="connsiteY2950" fmla="*/ 4560858 h 6479439"/>
                <a:gd name="connsiteX2951" fmla="*/ 6 w 9586368"/>
                <a:gd name="connsiteY2951" fmla="*/ 4550987 h 6479439"/>
                <a:gd name="connsiteX2952" fmla="*/ 2157819 w 9586368"/>
                <a:gd name="connsiteY2952" fmla="*/ 4307669 h 6479439"/>
                <a:gd name="connsiteX2953" fmla="*/ 2167729 w 9586368"/>
                <a:gd name="connsiteY2953" fmla="*/ 4307669 h 6479439"/>
                <a:gd name="connsiteX2954" fmla="*/ 2171749 w 9586368"/>
                <a:gd name="connsiteY2954" fmla="*/ 4311708 h 6479439"/>
                <a:gd name="connsiteX2955" fmla="*/ 2171749 w 9586368"/>
                <a:gd name="connsiteY2955" fmla="*/ 4321579 h 6479439"/>
                <a:gd name="connsiteX2956" fmla="*/ 2167729 w 9586368"/>
                <a:gd name="connsiteY2956" fmla="*/ 4325618 h 6479439"/>
                <a:gd name="connsiteX2957" fmla="*/ 2157819 w 9586368"/>
                <a:gd name="connsiteY2957" fmla="*/ 4325618 h 6479439"/>
                <a:gd name="connsiteX2958" fmla="*/ 2153801 w 9586368"/>
                <a:gd name="connsiteY2958" fmla="*/ 4321579 h 6479439"/>
                <a:gd name="connsiteX2959" fmla="*/ 2153801 w 9586368"/>
                <a:gd name="connsiteY2959" fmla="*/ 4311708 h 6479439"/>
                <a:gd name="connsiteX2960" fmla="*/ 1918511 w 9586368"/>
                <a:gd name="connsiteY2960" fmla="*/ 4307669 h 6479439"/>
                <a:gd name="connsiteX2961" fmla="*/ 1928421 w 9586368"/>
                <a:gd name="connsiteY2961" fmla="*/ 4307669 h 6479439"/>
                <a:gd name="connsiteX2962" fmla="*/ 1932440 w 9586368"/>
                <a:gd name="connsiteY2962" fmla="*/ 4311708 h 6479439"/>
                <a:gd name="connsiteX2963" fmla="*/ 1932440 w 9586368"/>
                <a:gd name="connsiteY2963" fmla="*/ 4321579 h 6479439"/>
                <a:gd name="connsiteX2964" fmla="*/ 1928421 w 9586368"/>
                <a:gd name="connsiteY2964" fmla="*/ 4325618 h 6479439"/>
                <a:gd name="connsiteX2965" fmla="*/ 1918511 w 9586368"/>
                <a:gd name="connsiteY2965" fmla="*/ 4325618 h 6479439"/>
                <a:gd name="connsiteX2966" fmla="*/ 1914492 w 9586368"/>
                <a:gd name="connsiteY2966" fmla="*/ 4321579 h 6479439"/>
                <a:gd name="connsiteX2967" fmla="*/ 1914492 w 9586368"/>
                <a:gd name="connsiteY2967" fmla="*/ 4311708 h 6479439"/>
                <a:gd name="connsiteX2968" fmla="*/ 1679206 w 9586368"/>
                <a:gd name="connsiteY2968" fmla="*/ 4307669 h 6479439"/>
                <a:gd name="connsiteX2969" fmla="*/ 1689117 w 9586368"/>
                <a:gd name="connsiteY2969" fmla="*/ 4307669 h 6479439"/>
                <a:gd name="connsiteX2970" fmla="*/ 1693136 w 9586368"/>
                <a:gd name="connsiteY2970" fmla="*/ 4311708 h 6479439"/>
                <a:gd name="connsiteX2971" fmla="*/ 1693136 w 9586368"/>
                <a:gd name="connsiteY2971" fmla="*/ 4321579 h 6479439"/>
                <a:gd name="connsiteX2972" fmla="*/ 1689117 w 9586368"/>
                <a:gd name="connsiteY2972" fmla="*/ 4325618 h 6479439"/>
                <a:gd name="connsiteX2973" fmla="*/ 1679206 w 9586368"/>
                <a:gd name="connsiteY2973" fmla="*/ 4325618 h 6479439"/>
                <a:gd name="connsiteX2974" fmla="*/ 1675188 w 9586368"/>
                <a:gd name="connsiteY2974" fmla="*/ 4321579 h 6479439"/>
                <a:gd name="connsiteX2975" fmla="*/ 1675188 w 9586368"/>
                <a:gd name="connsiteY2975" fmla="*/ 4311708 h 6479439"/>
                <a:gd name="connsiteX2976" fmla="*/ 1439891 w 9586368"/>
                <a:gd name="connsiteY2976" fmla="*/ 4307669 h 6479439"/>
                <a:gd name="connsiteX2977" fmla="*/ 1449801 w 9586368"/>
                <a:gd name="connsiteY2977" fmla="*/ 4307669 h 6479439"/>
                <a:gd name="connsiteX2978" fmla="*/ 1453819 w 9586368"/>
                <a:gd name="connsiteY2978" fmla="*/ 4311708 h 6479439"/>
                <a:gd name="connsiteX2979" fmla="*/ 1453819 w 9586368"/>
                <a:gd name="connsiteY2979" fmla="*/ 4321579 h 6479439"/>
                <a:gd name="connsiteX2980" fmla="*/ 1449801 w 9586368"/>
                <a:gd name="connsiteY2980" fmla="*/ 4325618 h 6479439"/>
                <a:gd name="connsiteX2981" fmla="*/ 1439891 w 9586368"/>
                <a:gd name="connsiteY2981" fmla="*/ 4325618 h 6479439"/>
                <a:gd name="connsiteX2982" fmla="*/ 1435871 w 9586368"/>
                <a:gd name="connsiteY2982" fmla="*/ 4321579 h 6479439"/>
                <a:gd name="connsiteX2983" fmla="*/ 1435871 w 9586368"/>
                <a:gd name="connsiteY2983" fmla="*/ 4311708 h 6479439"/>
                <a:gd name="connsiteX2984" fmla="*/ 1200575 w 9586368"/>
                <a:gd name="connsiteY2984" fmla="*/ 4307669 h 6479439"/>
                <a:gd name="connsiteX2985" fmla="*/ 1210486 w 9586368"/>
                <a:gd name="connsiteY2985" fmla="*/ 4307669 h 6479439"/>
                <a:gd name="connsiteX2986" fmla="*/ 1214505 w 9586368"/>
                <a:gd name="connsiteY2986" fmla="*/ 4311708 h 6479439"/>
                <a:gd name="connsiteX2987" fmla="*/ 1214505 w 9586368"/>
                <a:gd name="connsiteY2987" fmla="*/ 4321579 h 6479439"/>
                <a:gd name="connsiteX2988" fmla="*/ 1210486 w 9586368"/>
                <a:gd name="connsiteY2988" fmla="*/ 4325618 h 6479439"/>
                <a:gd name="connsiteX2989" fmla="*/ 1200575 w 9586368"/>
                <a:gd name="connsiteY2989" fmla="*/ 4325618 h 6479439"/>
                <a:gd name="connsiteX2990" fmla="*/ 1196556 w 9586368"/>
                <a:gd name="connsiteY2990" fmla="*/ 4321579 h 6479439"/>
                <a:gd name="connsiteX2991" fmla="*/ 1196556 w 9586368"/>
                <a:gd name="connsiteY2991" fmla="*/ 4311708 h 6479439"/>
                <a:gd name="connsiteX2992" fmla="*/ 961263 w 9586368"/>
                <a:gd name="connsiteY2992" fmla="*/ 4307669 h 6479439"/>
                <a:gd name="connsiteX2993" fmla="*/ 971173 w 9586368"/>
                <a:gd name="connsiteY2993" fmla="*/ 4307669 h 6479439"/>
                <a:gd name="connsiteX2994" fmla="*/ 975191 w 9586368"/>
                <a:gd name="connsiteY2994" fmla="*/ 4311708 h 6479439"/>
                <a:gd name="connsiteX2995" fmla="*/ 975191 w 9586368"/>
                <a:gd name="connsiteY2995" fmla="*/ 4321579 h 6479439"/>
                <a:gd name="connsiteX2996" fmla="*/ 971173 w 9586368"/>
                <a:gd name="connsiteY2996" fmla="*/ 4325618 h 6479439"/>
                <a:gd name="connsiteX2997" fmla="*/ 961263 w 9586368"/>
                <a:gd name="connsiteY2997" fmla="*/ 4325618 h 6479439"/>
                <a:gd name="connsiteX2998" fmla="*/ 957244 w 9586368"/>
                <a:gd name="connsiteY2998" fmla="*/ 4321579 h 6479439"/>
                <a:gd name="connsiteX2999" fmla="*/ 957244 w 9586368"/>
                <a:gd name="connsiteY2999" fmla="*/ 4311708 h 6479439"/>
                <a:gd name="connsiteX3000" fmla="*/ 9572438 w 9586368"/>
                <a:gd name="connsiteY3000" fmla="*/ 4307617 h 6479439"/>
                <a:gd name="connsiteX3001" fmla="*/ 9582349 w 9586368"/>
                <a:gd name="connsiteY3001" fmla="*/ 4307617 h 6479439"/>
                <a:gd name="connsiteX3002" fmla="*/ 9586368 w 9586368"/>
                <a:gd name="connsiteY3002" fmla="*/ 4311656 h 6479439"/>
                <a:gd name="connsiteX3003" fmla="*/ 9586368 w 9586368"/>
                <a:gd name="connsiteY3003" fmla="*/ 4321527 h 6479439"/>
                <a:gd name="connsiteX3004" fmla="*/ 9582349 w 9586368"/>
                <a:gd name="connsiteY3004" fmla="*/ 4325566 h 6479439"/>
                <a:gd name="connsiteX3005" fmla="*/ 9572438 w 9586368"/>
                <a:gd name="connsiteY3005" fmla="*/ 4325566 h 6479439"/>
                <a:gd name="connsiteX3006" fmla="*/ 9568419 w 9586368"/>
                <a:gd name="connsiteY3006" fmla="*/ 4321527 h 6479439"/>
                <a:gd name="connsiteX3007" fmla="*/ 9568419 w 9586368"/>
                <a:gd name="connsiteY3007" fmla="*/ 4311656 h 6479439"/>
                <a:gd name="connsiteX3008" fmla="*/ 9333125 w 9586368"/>
                <a:gd name="connsiteY3008" fmla="*/ 4307617 h 6479439"/>
                <a:gd name="connsiteX3009" fmla="*/ 9343036 w 9586368"/>
                <a:gd name="connsiteY3009" fmla="*/ 4307617 h 6479439"/>
                <a:gd name="connsiteX3010" fmla="*/ 9347055 w 9586368"/>
                <a:gd name="connsiteY3010" fmla="*/ 4311656 h 6479439"/>
                <a:gd name="connsiteX3011" fmla="*/ 9347055 w 9586368"/>
                <a:gd name="connsiteY3011" fmla="*/ 4321527 h 6479439"/>
                <a:gd name="connsiteX3012" fmla="*/ 9343036 w 9586368"/>
                <a:gd name="connsiteY3012" fmla="*/ 4325566 h 6479439"/>
                <a:gd name="connsiteX3013" fmla="*/ 9333125 w 9586368"/>
                <a:gd name="connsiteY3013" fmla="*/ 4325566 h 6479439"/>
                <a:gd name="connsiteX3014" fmla="*/ 9329106 w 9586368"/>
                <a:gd name="connsiteY3014" fmla="*/ 4321527 h 6479439"/>
                <a:gd name="connsiteX3015" fmla="*/ 9329106 w 9586368"/>
                <a:gd name="connsiteY3015" fmla="*/ 4311656 h 6479439"/>
                <a:gd name="connsiteX3016" fmla="*/ 9093811 w 9586368"/>
                <a:gd name="connsiteY3016" fmla="*/ 4307617 h 6479439"/>
                <a:gd name="connsiteX3017" fmla="*/ 9103722 w 9586368"/>
                <a:gd name="connsiteY3017" fmla="*/ 4307617 h 6479439"/>
                <a:gd name="connsiteX3018" fmla="*/ 9107741 w 9586368"/>
                <a:gd name="connsiteY3018" fmla="*/ 4311656 h 6479439"/>
                <a:gd name="connsiteX3019" fmla="*/ 9107741 w 9586368"/>
                <a:gd name="connsiteY3019" fmla="*/ 4321527 h 6479439"/>
                <a:gd name="connsiteX3020" fmla="*/ 9103722 w 9586368"/>
                <a:gd name="connsiteY3020" fmla="*/ 4325566 h 6479439"/>
                <a:gd name="connsiteX3021" fmla="*/ 9093811 w 9586368"/>
                <a:gd name="connsiteY3021" fmla="*/ 4325566 h 6479439"/>
                <a:gd name="connsiteX3022" fmla="*/ 9089792 w 9586368"/>
                <a:gd name="connsiteY3022" fmla="*/ 4321527 h 6479439"/>
                <a:gd name="connsiteX3023" fmla="*/ 9089792 w 9586368"/>
                <a:gd name="connsiteY3023" fmla="*/ 4311656 h 6479439"/>
                <a:gd name="connsiteX3024" fmla="*/ 8854496 w 9586368"/>
                <a:gd name="connsiteY3024" fmla="*/ 4307617 h 6479439"/>
                <a:gd name="connsiteX3025" fmla="*/ 8864407 w 9586368"/>
                <a:gd name="connsiteY3025" fmla="*/ 4307617 h 6479439"/>
                <a:gd name="connsiteX3026" fmla="*/ 8868426 w 9586368"/>
                <a:gd name="connsiteY3026" fmla="*/ 4311656 h 6479439"/>
                <a:gd name="connsiteX3027" fmla="*/ 8868426 w 9586368"/>
                <a:gd name="connsiteY3027" fmla="*/ 4321527 h 6479439"/>
                <a:gd name="connsiteX3028" fmla="*/ 8864407 w 9586368"/>
                <a:gd name="connsiteY3028" fmla="*/ 4325566 h 6479439"/>
                <a:gd name="connsiteX3029" fmla="*/ 8854496 w 9586368"/>
                <a:gd name="connsiteY3029" fmla="*/ 4325566 h 6479439"/>
                <a:gd name="connsiteX3030" fmla="*/ 8850477 w 9586368"/>
                <a:gd name="connsiteY3030" fmla="*/ 4321527 h 6479439"/>
                <a:gd name="connsiteX3031" fmla="*/ 8850477 w 9586368"/>
                <a:gd name="connsiteY3031" fmla="*/ 4311656 h 6479439"/>
                <a:gd name="connsiteX3032" fmla="*/ 8615184 w 9586368"/>
                <a:gd name="connsiteY3032" fmla="*/ 4307617 h 6479439"/>
                <a:gd name="connsiteX3033" fmla="*/ 8625095 w 9586368"/>
                <a:gd name="connsiteY3033" fmla="*/ 4307617 h 6479439"/>
                <a:gd name="connsiteX3034" fmla="*/ 8629114 w 9586368"/>
                <a:gd name="connsiteY3034" fmla="*/ 4311656 h 6479439"/>
                <a:gd name="connsiteX3035" fmla="*/ 8629114 w 9586368"/>
                <a:gd name="connsiteY3035" fmla="*/ 4321527 h 6479439"/>
                <a:gd name="connsiteX3036" fmla="*/ 8625095 w 9586368"/>
                <a:gd name="connsiteY3036" fmla="*/ 4325566 h 6479439"/>
                <a:gd name="connsiteX3037" fmla="*/ 8615184 w 9586368"/>
                <a:gd name="connsiteY3037" fmla="*/ 4325566 h 6479439"/>
                <a:gd name="connsiteX3038" fmla="*/ 8611165 w 9586368"/>
                <a:gd name="connsiteY3038" fmla="*/ 4321527 h 6479439"/>
                <a:gd name="connsiteX3039" fmla="*/ 8611165 w 9586368"/>
                <a:gd name="connsiteY3039" fmla="*/ 4311656 h 6479439"/>
                <a:gd name="connsiteX3040" fmla="*/ 8375869 w 9586368"/>
                <a:gd name="connsiteY3040" fmla="*/ 4307617 h 6479439"/>
                <a:gd name="connsiteX3041" fmla="*/ 8385779 w 9586368"/>
                <a:gd name="connsiteY3041" fmla="*/ 4307617 h 6479439"/>
                <a:gd name="connsiteX3042" fmla="*/ 8389799 w 9586368"/>
                <a:gd name="connsiteY3042" fmla="*/ 4311656 h 6479439"/>
                <a:gd name="connsiteX3043" fmla="*/ 8389799 w 9586368"/>
                <a:gd name="connsiteY3043" fmla="*/ 4321527 h 6479439"/>
                <a:gd name="connsiteX3044" fmla="*/ 8385779 w 9586368"/>
                <a:gd name="connsiteY3044" fmla="*/ 4325566 h 6479439"/>
                <a:gd name="connsiteX3045" fmla="*/ 8375869 w 9586368"/>
                <a:gd name="connsiteY3045" fmla="*/ 4325566 h 6479439"/>
                <a:gd name="connsiteX3046" fmla="*/ 8371850 w 9586368"/>
                <a:gd name="connsiteY3046" fmla="*/ 4321527 h 6479439"/>
                <a:gd name="connsiteX3047" fmla="*/ 8371850 w 9586368"/>
                <a:gd name="connsiteY3047" fmla="*/ 4311656 h 6479439"/>
                <a:gd name="connsiteX3048" fmla="*/ 8136553 w 9586368"/>
                <a:gd name="connsiteY3048" fmla="*/ 4307617 h 6479439"/>
                <a:gd name="connsiteX3049" fmla="*/ 8146464 w 9586368"/>
                <a:gd name="connsiteY3049" fmla="*/ 4307617 h 6479439"/>
                <a:gd name="connsiteX3050" fmla="*/ 8150483 w 9586368"/>
                <a:gd name="connsiteY3050" fmla="*/ 4311656 h 6479439"/>
                <a:gd name="connsiteX3051" fmla="*/ 8150483 w 9586368"/>
                <a:gd name="connsiteY3051" fmla="*/ 4321527 h 6479439"/>
                <a:gd name="connsiteX3052" fmla="*/ 8146464 w 9586368"/>
                <a:gd name="connsiteY3052" fmla="*/ 4325566 h 6479439"/>
                <a:gd name="connsiteX3053" fmla="*/ 8136553 w 9586368"/>
                <a:gd name="connsiteY3053" fmla="*/ 4325566 h 6479439"/>
                <a:gd name="connsiteX3054" fmla="*/ 8132534 w 9586368"/>
                <a:gd name="connsiteY3054" fmla="*/ 4321527 h 6479439"/>
                <a:gd name="connsiteX3055" fmla="*/ 8132534 w 9586368"/>
                <a:gd name="connsiteY3055" fmla="*/ 4311656 h 6479439"/>
                <a:gd name="connsiteX3056" fmla="*/ 7897241 w 9586368"/>
                <a:gd name="connsiteY3056" fmla="*/ 4307617 h 6479439"/>
                <a:gd name="connsiteX3057" fmla="*/ 7907151 w 9586368"/>
                <a:gd name="connsiteY3057" fmla="*/ 4307617 h 6479439"/>
                <a:gd name="connsiteX3058" fmla="*/ 7911170 w 9586368"/>
                <a:gd name="connsiteY3058" fmla="*/ 4311656 h 6479439"/>
                <a:gd name="connsiteX3059" fmla="*/ 7911170 w 9586368"/>
                <a:gd name="connsiteY3059" fmla="*/ 4321527 h 6479439"/>
                <a:gd name="connsiteX3060" fmla="*/ 7907151 w 9586368"/>
                <a:gd name="connsiteY3060" fmla="*/ 4325566 h 6479439"/>
                <a:gd name="connsiteX3061" fmla="*/ 7897241 w 9586368"/>
                <a:gd name="connsiteY3061" fmla="*/ 4325566 h 6479439"/>
                <a:gd name="connsiteX3062" fmla="*/ 7893222 w 9586368"/>
                <a:gd name="connsiteY3062" fmla="*/ 4321527 h 6479439"/>
                <a:gd name="connsiteX3063" fmla="*/ 7893222 w 9586368"/>
                <a:gd name="connsiteY3063" fmla="*/ 4311656 h 6479439"/>
                <a:gd name="connsiteX3064" fmla="*/ 7657926 w 9586368"/>
                <a:gd name="connsiteY3064" fmla="*/ 4307617 h 6479439"/>
                <a:gd name="connsiteX3065" fmla="*/ 7667836 w 9586368"/>
                <a:gd name="connsiteY3065" fmla="*/ 4307617 h 6479439"/>
                <a:gd name="connsiteX3066" fmla="*/ 7671855 w 9586368"/>
                <a:gd name="connsiteY3066" fmla="*/ 4311656 h 6479439"/>
                <a:gd name="connsiteX3067" fmla="*/ 7671855 w 9586368"/>
                <a:gd name="connsiteY3067" fmla="*/ 4321527 h 6479439"/>
                <a:gd name="connsiteX3068" fmla="*/ 7667836 w 9586368"/>
                <a:gd name="connsiteY3068" fmla="*/ 4325566 h 6479439"/>
                <a:gd name="connsiteX3069" fmla="*/ 7657926 w 9586368"/>
                <a:gd name="connsiteY3069" fmla="*/ 4325566 h 6479439"/>
                <a:gd name="connsiteX3070" fmla="*/ 7653906 w 9586368"/>
                <a:gd name="connsiteY3070" fmla="*/ 4321527 h 6479439"/>
                <a:gd name="connsiteX3071" fmla="*/ 7653906 w 9586368"/>
                <a:gd name="connsiteY3071" fmla="*/ 4311656 h 6479439"/>
                <a:gd name="connsiteX3072" fmla="*/ 7418611 w 9586368"/>
                <a:gd name="connsiteY3072" fmla="*/ 4307617 h 6479439"/>
                <a:gd name="connsiteX3073" fmla="*/ 7428521 w 9586368"/>
                <a:gd name="connsiteY3073" fmla="*/ 4307617 h 6479439"/>
                <a:gd name="connsiteX3074" fmla="*/ 7432540 w 9586368"/>
                <a:gd name="connsiteY3074" fmla="*/ 4311656 h 6479439"/>
                <a:gd name="connsiteX3075" fmla="*/ 7432540 w 9586368"/>
                <a:gd name="connsiteY3075" fmla="*/ 4321527 h 6479439"/>
                <a:gd name="connsiteX3076" fmla="*/ 7428521 w 9586368"/>
                <a:gd name="connsiteY3076" fmla="*/ 4325566 h 6479439"/>
                <a:gd name="connsiteX3077" fmla="*/ 7418611 w 9586368"/>
                <a:gd name="connsiteY3077" fmla="*/ 4325566 h 6479439"/>
                <a:gd name="connsiteX3078" fmla="*/ 7414592 w 9586368"/>
                <a:gd name="connsiteY3078" fmla="*/ 4321527 h 6479439"/>
                <a:gd name="connsiteX3079" fmla="*/ 7414592 w 9586368"/>
                <a:gd name="connsiteY3079" fmla="*/ 4311656 h 6479439"/>
                <a:gd name="connsiteX3080" fmla="*/ 7179298 w 9586368"/>
                <a:gd name="connsiteY3080" fmla="*/ 4307617 h 6479439"/>
                <a:gd name="connsiteX3081" fmla="*/ 7189209 w 9586368"/>
                <a:gd name="connsiteY3081" fmla="*/ 4307617 h 6479439"/>
                <a:gd name="connsiteX3082" fmla="*/ 7193228 w 9586368"/>
                <a:gd name="connsiteY3082" fmla="*/ 4311656 h 6479439"/>
                <a:gd name="connsiteX3083" fmla="*/ 7193228 w 9586368"/>
                <a:gd name="connsiteY3083" fmla="*/ 4321527 h 6479439"/>
                <a:gd name="connsiteX3084" fmla="*/ 7189209 w 9586368"/>
                <a:gd name="connsiteY3084" fmla="*/ 4325566 h 6479439"/>
                <a:gd name="connsiteX3085" fmla="*/ 7179298 w 9586368"/>
                <a:gd name="connsiteY3085" fmla="*/ 4325566 h 6479439"/>
                <a:gd name="connsiteX3086" fmla="*/ 7175279 w 9586368"/>
                <a:gd name="connsiteY3086" fmla="*/ 4321527 h 6479439"/>
                <a:gd name="connsiteX3087" fmla="*/ 7175279 w 9586368"/>
                <a:gd name="connsiteY3087" fmla="*/ 4311656 h 6479439"/>
                <a:gd name="connsiteX3088" fmla="*/ 6939983 w 9586368"/>
                <a:gd name="connsiteY3088" fmla="*/ 4307617 h 6479439"/>
                <a:gd name="connsiteX3089" fmla="*/ 6949894 w 9586368"/>
                <a:gd name="connsiteY3089" fmla="*/ 4307617 h 6479439"/>
                <a:gd name="connsiteX3090" fmla="*/ 6953913 w 9586368"/>
                <a:gd name="connsiteY3090" fmla="*/ 4311656 h 6479439"/>
                <a:gd name="connsiteX3091" fmla="*/ 6953913 w 9586368"/>
                <a:gd name="connsiteY3091" fmla="*/ 4321527 h 6479439"/>
                <a:gd name="connsiteX3092" fmla="*/ 6949894 w 9586368"/>
                <a:gd name="connsiteY3092" fmla="*/ 4325566 h 6479439"/>
                <a:gd name="connsiteX3093" fmla="*/ 6939983 w 9586368"/>
                <a:gd name="connsiteY3093" fmla="*/ 4325566 h 6479439"/>
                <a:gd name="connsiteX3094" fmla="*/ 6935964 w 9586368"/>
                <a:gd name="connsiteY3094" fmla="*/ 4321527 h 6479439"/>
                <a:gd name="connsiteX3095" fmla="*/ 6935964 w 9586368"/>
                <a:gd name="connsiteY3095" fmla="*/ 4311656 h 6479439"/>
                <a:gd name="connsiteX3096" fmla="*/ 6700670 w 9586368"/>
                <a:gd name="connsiteY3096" fmla="*/ 4307617 h 6479439"/>
                <a:gd name="connsiteX3097" fmla="*/ 6710581 w 9586368"/>
                <a:gd name="connsiteY3097" fmla="*/ 4307617 h 6479439"/>
                <a:gd name="connsiteX3098" fmla="*/ 6714600 w 9586368"/>
                <a:gd name="connsiteY3098" fmla="*/ 4311656 h 6479439"/>
                <a:gd name="connsiteX3099" fmla="*/ 6714600 w 9586368"/>
                <a:gd name="connsiteY3099" fmla="*/ 4321527 h 6479439"/>
                <a:gd name="connsiteX3100" fmla="*/ 6710581 w 9586368"/>
                <a:gd name="connsiteY3100" fmla="*/ 4325566 h 6479439"/>
                <a:gd name="connsiteX3101" fmla="*/ 6700670 w 9586368"/>
                <a:gd name="connsiteY3101" fmla="*/ 4325566 h 6479439"/>
                <a:gd name="connsiteX3102" fmla="*/ 6696651 w 9586368"/>
                <a:gd name="connsiteY3102" fmla="*/ 4321527 h 6479439"/>
                <a:gd name="connsiteX3103" fmla="*/ 6696651 w 9586368"/>
                <a:gd name="connsiteY3103" fmla="*/ 4311656 h 6479439"/>
                <a:gd name="connsiteX3104" fmla="*/ 6461356 w 9586368"/>
                <a:gd name="connsiteY3104" fmla="*/ 4307617 h 6479439"/>
                <a:gd name="connsiteX3105" fmla="*/ 6471266 w 9586368"/>
                <a:gd name="connsiteY3105" fmla="*/ 4307617 h 6479439"/>
                <a:gd name="connsiteX3106" fmla="*/ 6475285 w 9586368"/>
                <a:gd name="connsiteY3106" fmla="*/ 4311656 h 6479439"/>
                <a:gd name="connsiteX3107" fmla="*/ 6475285 w 9586368"/>
                <a:gd name="connsiteY3107" fmla="*/ 4321527 h 6479439"/>
                <a:gd name="connsiteX3108" fmla="*/ 6471266 w 9586368"/>
                <a:gd name="connsiteY3108" fmla="*/ 4325566 h 6479439"/>
                <a:gd name="connsiteX3109" fmla="*/ 6461356 w 9586368"/>
                <a:gd name="connsiteY3109" fmla="*/ 4325566 h 6479439"/>
                <a:gd name="connsiteX3110" fmla="*/ 6457337 w 9586368"/>
                <a:gd name="connsiteY3110" fmla="*/ 4321527 h 6479439"/>
                <a:gd name="connsiteX3111" fmla="*/ 6457337 w 9586368"/>
                <a:gd name="connsiteY3111" fmla="*/ 4311656 h 6479439"/>
                <a:gd name="connsiteX3112" fmla="*/ 6222042 w 9586368"/>
                <a:gd name="connsiteY3112" fmla="*/ 4307617 h 6479439"/>
                <a:gd name="connsiteX3113" fmla="*/ 6231952 w 9586368"/>
                <a:gd name="connsiteY3113" fmla="*/ 4307617 h 6479439"/>
                <a:gd name="connsiteX3114" fmla="*/ 6235971 w 9586368"/>
                <a:gd name="connsiteY3114" fmla="*/ 4311656 h 6479439"/>
                <a:gd name="connsiteX3115" fmla="*/ 6235971 w 9586368"/>
                <a:gd name="connsiteY3115" fmla="*/ 4321527 h 6479439"/>
                <a:gd name="connsiteX3116" fmla="*/ 6231952 w 9586368"/>
                <a:gd name="connsiteY3116" fmla="*/ 4325566 h 6479439"/>
                <a:gd name="connsiteX3117" fmla="*/ 6222042 w 9586368"/>
                <a:gd name="connsiteY3117" fmla="*/ 4325566 h 6479439"/>
                <a:gd name="connsiteX3118" fmla="*/ 6218023 w 9586368"/>
                <a:gd name="connsiteY3118" fmla="*/ 4321527 h 6479439"/>
                <a:gd name="connsiteX3119" fmla="*/ 6218023 w 9586368"/>
                <a:gd name="connsiteY3119" fmla="*/ 4311656 h 6479439"/>
                <a:gd name="connsiteX3120" fmla="*/ 5982729 w 9586368"/>
                <a:gd name="connsiteY3120" fmla="*/ 4307617 h 6479439"/>
                <a:gd name="connsiteX3121" fmla="*/ 5992639 w 9586368"/>
                <a:gd name="connsiteY3121" fmla="*/ 4307617 h 6479439"/>
                <a:gd name="connsiteX3122" fmla="*/ 5996658 w 9586368"/>
                <a:gd name="connsiteY3122" fmla="*/ 4311656 h 6479439"/>
                <a:gd name="connsiteX3123" fmla="*/ 5996658 w 9586368"/>
                <a:gd name="connsiteY3123" fmla="*/ 4321527 h 6479439"/>
                <a:gd name="connsiteX3124" fmla="*/ 5992639 w 9586368"/>
                <a:gd name="connsiteY3124" fmla="*/ 4325566 h 6479439"/>
                <a:gd name="connsiteX3125" fmla="*/ 5982729 w 9586368"/>
                <a:gd name="connsiteY3125" fmla="*/ 4325566 h 6479439"/>
                <a:gd name="connsiteX3126" fmla="*/ 5978710 w 9586368"/>
                <a:gd name="connsiteY3126" fmla="*/ 4321527 h 6479439"/>
                <a:gd name="connsiteX3127" fmla="*/ 5978710 w 9586368"/>
                <a:gd name="connsiteY3127" fmla="*/ 4311656 h 6479439"/>
                <a:gd name="connsiteX3128" fmla="*/ 5743412 w 9586368"/>
                <a:gd name="connsiteY3128" fmla="*/ 4307617 h 6479439"/>
                <a:gd name="connsiteX3129" fmla="*/ 5753323 w 9586368"/>
                <a:gd name="connsiteY3129" fmla="*/ 4307617 h 6479439"/>
                <a:gd name="connsiteX3130" fmla="*/ 5757342 w 9586368"/>
                <a:gd name="connsiteY3130" fmla="*/ 4311656 h 6479439"/>
                <a:gd name="connsiteX3131" fmla="*/ 5757342 w 9586368"/>
                <a:gd name="connsiteY3131" fmla="*/ 4321527 h 6479439"/>
                <a:gd name="connsiteX3132" fmla="*/ 5753323 w 9586368"/>
                <a:gd name="connsiteY3132" fmla="*/ 4325566 h 6479439"/>
                <a:gd name="connsiteX3133" fmla="*/ 5743412 w 9586368"/>
                <a:gd name="connsiteY3133" fmla="*/ 4325566 h 6479439"/>
                <a:gd name="connsiteX3134" fmla="*/ 5739393 w 9586368"/>
                <a:gd name="connsiteY3134" fmla="*/ 4321527 h 6479439"/>
                <a:gd name="connsiteX3135" fmla="*/ 5739393 w 9586368"/>
                <a:gd name="connsiteY3135" fmla="*/ 4311656 h 6479439"/>
                <a:gd name="connsiteX3136" fmla="*/ 5504099 w 9586368"/>
                <a:gd name="connsiteY3136" fmla="*/ 4307617 h 6479439"/>
                <a:gd name="connsiteX3137" fmla="*/ 5514010 w 9586368"/>
                <a:gd name="connsiteY3137" fmla="*/ 4307617 h 6479439"/>
                <a:gd name="connsiteX3138" fmla="*/ 5518029 w 9586368"/>
                <a:gd name="connsiteY3138" fmla="*/ 4311656 h 6479439"/>
                <a:gd name="connsiteX3139" fmla="*/ 5518029 w 9586368"/>
                <a:gd name="connsiteY3139" fmla="*/ 4321527 h 6479439"/>
                <a:gd name="connsiteX3140" fmla="*/ 5514010 w 9586368"/>
                <a:gd name="connsiteY3140" fmla="*/ 4325566 h 6479439"/>
                <a:gd name="connsiteX3141" fmla="*/ 5504099 w 9586368"/>
                <a:gd name="connsiteY3141" fmla="*/ 4325566 h 6479439"/>
                <a:gd name="connsiteX3142" fmla="*/ 5500080 w 9586368"/>
                <a:gd name="connsiteY3142" fmla="*/ 4321527 h 6479439"/>
                <a:gd name="connsiteX3143" fmla="*/ 5500080 w 9586368"/>
                <a:gd name="connsiteY3143" fmla="*/ 4311656 h 6479439"/>
                <a:gd name="connsiteX3144" fmla="*/ 5264784 w 9586368"/>
                <a:gd name="connsiteY3144" fmla="*/ 4307617 h 6479439"/>
                <a:gd name="connsiteX3145" fmla="*/ 5274694 w 9586368"/>
                <a:gd name="connsiteY3145" fmla="*/ 4307617 h 6479439"/>
                <a:gd name="connsiteX3146" fmla="*/ 5278713 w 9586368"/>
                <a:gd name="connsiteY3146" fmla="*/ 4311656 h 6479439"/>
                <a:gd name="connsiteX3147" fmla="*/ 5278713 w 9586368"/>
                <a:gd name="connsiteY3147" fmla="*/ 4321527 h 6479439"/>
                <a:gd name="connsiteX3148" fmla="*/ 5274694 w 9586368"/>
                <a:gd name="connsiteY3148" fmla="*/ 4325566 h 6479439"/>
                <a:gd name="connsiteX3149" fmla="*/ 5264784 w 9586368"/>
                <a:gd name="connsiteY3149" fmla="*/ 4325566 h 6479439"/>
                <a:gd name="connsiteX3150" fmla="*/ 5260765 w 9586368"/>
                <a:gd name="connsiteY3150" fmla="*/ 4321527 h 6479439"/>
                <a:gd name="connsiteX3151" fmla="*/ 5260765 w 9586368"/>
                <a:gd name="connsiteY3151" fmla="*/ 4311656 h 6479439"/>
                <a:gd name="connsiteX3152" fmla="*/ 5025470 w 9586368"/>
                <a:gd name="connsiteY3152" fmla="*/ 4307617 h 6479439"/>
                <a:gd name="connsiteX3153" fmla="*/ 5035381 w 9586368"/>
                <a:gd name="connsiteY3153" fmla="*/ 4307617 h 6479439"/>
                <a:gd name="connsiteX3154" fmla="*/ 5039400 w 9586368"/>
                <a:gd name="connsiteY3154" fmla="*/ 4311656 h 6479439"/>
                <a:gd name="connsiteX3155" fmla="*/ 5039400 w 9586368"/>
                <a:gd name="connsiteY3155" fmla="*/ 4321527 h 6479439"/>
                <a:gd name="connsiteX3156" fmla="*/ 5035381 w 9586368"/>
                <a:gd name="connsiteY3156" fmla="*/ 4325566 h 6479439"/>
                <a:gd name="connsiteX3157" fmla="*/ 5025470 w 9586368"/>
                <a:gd name="connsiteY3157" fmla="*/ 4325566 h 6479439"/>
                <a:gd name="connsiteX3158" fmla="*/ 5021451 w 9586368"/>
                <a:gd name="connsiteY3158" fmla="*/ 4321527 h 6479439"/>
                <a:gd name="connsiteX3159" fmla="*/ 5021451 w 9586368"/>
                <a:gd name="connsiteY3159" fmla="*/ 4311656 h 6479439"/>
                <a:gd name="connsiteX3160" fmla="*/ 4786241 w 9586368"/>
                <a:gd name="connsiteY3160" fmla="*/ 4307617 h 6479439"/>
                <a:gd name="connsiteX3161" fmla="*/ 4796152 w 9586368"/>
                <a:gd name="connsiteY3161" fmla="*/ 4307617 h 6479439"/>
                <a:gd name="connsiteX3162" fmla="*/ 4800171 w 9586368"/>
                <a:gd name="connsiteY3162" fmla="*/ 4311656 h 6479439"/>
                <a:gd name="connsiteX3163" fmla="*/ 4800171 w 9586368"/>
                <a:gd name="connsiteY3163" fmla="*/ 4321527 h 6479439"/>
                <a:gd name="connsiteX3164" fmla="*/ 4796152 w 9586368"/>
                <a:gd name="connsiteY3164" fmla="*/ 4325566 h 6479439"/>
                <a:gd name="connsiteX3165" fmla="*/ 4786241 w 9586368"/>
                <a:gd name="connsiteY3165" fmla="*/ 4325566 h 6479439"/>
                <a:gd name="connsiteX3166" fmla="*/ 4782224 w 9586368"/>
                <a:gd name="connsiteY3166" fmla="*/ 4321527 h 6479439"/>
                <a:gd name="connsiteX3167" fmla="*/ 4782224 w 9586368"/>
                <a:gd name="connsiteY3167" fmla="*/ 4311656 h 6479439"/>
                <a:gd name="connsiteX3168" fmla="*/ 4546929 w 9586368"/>
                <a:gd name="connsiteY3168" fmla="*/ 4307617 h 6479439"/>
                <a:gd name="connsiteX3169" fmla="*/ 4556840 w 9586368"/>
                <a:gd name="connsiteY3169" fmla="*/ 4307617 h 6479439"/>
                <a:gd name="connsiteX3170" fmla="*/ 4560859 w 9586368"/>
                <a:gd name="connsiteY3170" fmla="*/ 4311656 h 6479439"/>
                <a:gd name="connsiteX3171" fmla="*/ 4560859 w 9586368"/>
                <a:gd name="connsiteY3171" fmla="*/ 4321527 h 6479439"/>
                <a:gd name="connsiteX3172" fmla="*/ 4556840 w 9586368"/>
                <a:gd name="connsiteY3172" fmla="*/ 4325566 h 6479439"/>
                <a:gd name="connsiteX3173" fmla="*/ 4546929 w 9586368"/>
                <a:gd name="connsiteY3173" fmla="*/ 4325566 h 6479439"/>
                <a:gd name="connsiteX3174" fmla="*/ 4542910 w 9586368"/>
                <a:gd name="connsiteY3174" fmla="*/ 4321527 h 6479439"/>
                <a:gd name="connsiteX3175" fmla="*/ 4542910 w 9586368"/>
                <a:gd name="connsiteY3175" fmla="*/ 4311656 h 6479439"/>
                <a:gd name="connsiteX3176" fmla="*/ 4307612 w 9586368"/>
                <a:gd name="connsiteY3176" fmla="*/ 4307617 h 6479439"/>
                <a:gd name="connsiteX3177" fmla="*/ 4317523 w 9586368"/>
                <a:gd name="connsiteY3177" fmla="*/ 4307617 h 6479439"/>
                <a:gd name="connsiteX3178" fmla="*/ 4321543 w 9586368"/>
                <a:gd name="connsiteY3178" fmla="*/ 4311656 h 6479439"/>
                <a:gd name="connsiteX3179" fmla="*/ 4321543 w 9586368"/>
                <a:gd name="connsiteY3179" fmla="*/ 4321527 h 6479439"/>
                <a:gd name="connsiteX3180" fmla="*/ 4317523 w 9586368"/>
                <a:gd name="connsiteY3180" fmla="*/ 4325566 h 6479439"/>
                <a:gd name="connsiteX3181" fmla="*/ 4307612 w 9586368"/>
                <a:gd name="connsiteY3181" fmla="*/ 4325566 h 6479439"/>
                <a:gd name="connsiteX3182" fmla="*/ 4303595 w 9586368"/>
                <a:gd name="connsiteY3182" fmla="*/ 4321527 h 6479439"/>
                <a:gd name="connsiteX3183" fmla="*/ 4303595 w 9586368"/>
                <a:gd name="connsiteY3183" fmla="*/ 4311656 h 6479439"/>
                <a:gd name="connsiteX3184" fmla="*/ 4068297 w 9586368"/>
                <a:gd name="connsiteY3184" fmla="*/ 4307617 h 6479439"/>
                <a:gd name="connsiteX3185" fmla="*/ 4078210 w 9586368"/>
                <a:gd name="connsiteY3185" fmla="*/ 4307617 h 6479439"/>
                <a:gd name="connsiteX3186" fmla="*/ 4082229 w 9586368"/>
                <a:gd name="connsiteY3186" fmla="*/ 4311656 h 6479439"/>
                <a:gd name="connsiteX3187" fmla="*/ 4082229 w 9586368"/>
                <a:gd name="connsiteY3187" fmla="*/ 4321527 h 6479439"/>
                <a:gd name="connsiteX3188" fmla="*/ 4078210 w 9586368"/>
                <a:gd name="connsiteY3188" fmla="*/ 4325566 h 6479439"/>
                <a:gd name="connsiteX3189" fmla="*/ 4068297 w 9586368"/>
                <a:gd name="connsiteY3189" fmla="*/ 4325566 h 6479439"/>
                <a:gd name="connsiteX3190" fmla="*/ 4064278 w 9586368"/>
                <a:gd name="connsiteY3190" fmla="*/ 4321527 h 6479439"/>
                <a:gd name="connsiteX3191" fmla="*/ 4064278 w 9586368"/>
                <a:gd name="connsiteY3191" fmla="*/ 4311656 h 6479439"/>
                <a:gd name="connsiteX3192" fmla="*/ 3828990 w 9586368"/>
                <a:gd name="connsiteY3192" fmla="*/ 4307617 h 6479439"/>
                <a:gd name="connsiteX3193" fmla="*/ 3838899 w 9586368"/>
                <a:gd name="connsiteY3193" fmla="*/ 4307617 h 6479439"/>
                <a:gd name="connsiteX3194" fmla="*/ 3842917 w 9586368"/>
                <a:gd name="connsiteY3194" fmla="*/ 4311656 h 6479439"/>
                <a:gd name="connsiteX3195" fmla="*/ 3842917 w 9586368"/>
                <a:gd name="connsiteY3195" fmla="*/ 4321527 h 6479439"/>
                <a:gd name="connsiteX3196" fmla="*/ 3838899 w 9586368"/>
                <a:gd name="connsiteY3196" fmla="*/ 4325566 h 6479439"/>
                <a:gd name="connsiteX3197" fmla="*/ 3828990 w 9586368"/>
                <a:gd name="connsiteY3197" fmla="*/ 4325566 h 6479439"/>
                <a:gd name="connsiteX3198" fmla="*/ 3824971 w 9586368"/>
                <a:gd name="connsiteY3198" fmla="*/ 4321527 h 6479439"/>
                <a:gd name="connsiteX3199" fmla="*/ 3824971 w 9586368"/>
                <a:gd name="connsiteY3199" fmla="*/ 4311656 h 6479439"/>
                <a:gd name="connsiteX3200" fmla="*/ 3589676 w 9586368"/>
                <a:gd name="connsiteY3200" fmla="*/ 4307617 h 6479439"/>
                <a:gd name="connsiteX3201" fmla="*/ 3599585 w 9586368"/>
                <a:gd name="connsiteY3201" fmla="*/ 4307617 h 6479439"/>
                <a:gd name="connsiteX3202" fmla="*/ 3603604 w 9586368"/>
                <a:gd name="connsiteY3202" fmla="*/ 4311656 h 6479439"/>
                <a:gd name="connsiteX3203" fmla="*/ 3603604 w 9586368"/>
                <a:gd name="connsiteY3203" fmla="*/ 4321527 h 6479439"/>
                <a:gd name="connsiteX3204" fmla="*/ 3599585 w 9586368"/>
                <a:gd name="connsiteY3204" fmla="*/ 4325566 h 6479439"/>
                <a:gd name="connsiteX3205" fmla="*/ 3589676 w 9586368"/>
                <a:gd name="connsiteY3205" fmla="*/ 4325566 h 6479439"/>
                <a:gd name="connsiteX3206" fmla="*/ 3585657 w 9586368"/>
                <a:gd name="connsiteY3206" fmla="*/ 4321527 h 6479439"/>
                <a:gd name="connsiteX3207" fmla="*/ 3585657 w 9586368"/>
                <a:gd name="connsiteY3207" fmla="*/ 4311656 h 6479439"/>
                <a:gd name="connsiteX3208" fmla="*/ 3350359 w 9586368"/>
                <a:gd name="connsiteY3208" fmla="*/ 4307617 h 6479439"/>
                <a:gd name="connsiteX3209" fmla="*/ 3360268 w 9586368"/>
                <a:gd name="connsiteY3209" fmla="*/ 4307617 h 6479439"/>
                <a:gd name="connsiteX3210" fmla="*/ 3364287 w 9586368"/>
                <a:gd name="connsiteY3210" fmla="*/ 4311656 h 6479439"/>
                <a:gd name="connsiteX3211" fmla="*/ 3364287 w 9586368"/>
                <a:gd name="connsiteY3211" fmla="*/ 4321527 h 6479439"/>
                <a:gd name="connsiteX3212" fmla="*/ 3360268 w 9586368"/>
                <a:gd name="connsiteY3212" fmla="*/ 4325566 h 6479439"/>
                <a:gd name="connsiteX3213" fmla="*/ 3350359 w 9586368"/>
                <a:gd name="connsiteY3213" fmla="*/ 4325566 h 6479439"/>
                <a:gd name="connsiteX3214" fmla="*/ 3346340 w 9586368"/>
                <a:gd name="connsiteY3214" fmla="*/ 4321527 h 6479439"/>
                <a:gd name="connsiteX3215" fmla="*/ 3346340 w 9586368"/>
                <a:gd name="connsiteY3215" fmla="*/ 4311656 h 6479439"/>
                <a:gd name="connsiteX3216" fmla="*/ 3111048 w 9586368"/>
                <a:gd name="connsiteY3216" fmla="*/ 4307617 h 6479439"/>
                <a:gd name="connsiteX3217" fmla="*/ 3120959 w 9586368"/>
                <a:gd name="connsiteY3217" fmla="*/ 4307617 h 6479439"/>
                <a:gd name="connsiteX3218" fmla="*/ 3124977 w 9586368"/>
                <a:gd name="connsiteY3218" fmla="*/ 4311656 h 6479439"/>
                <a:gd name="connsiteX3219" fmla="*/ 3124977 w 9586368"/>
                <a:gd name="connsiteY3219" fmla="*/ 4321527 h 6479439"/>
                <a:gd name="connsiteX3220" fmla="*/ 3120959 w 9586368"/>
                <a:gd name="connsiteY3220" fmla="*/ 4325566 h 6479439"/>
                <a:gd name="connsiteX3221" fmla="*/ 3111048 w 9586368"/>
                <a:gd name="connsiteY3221" fmla="*/ 4325566 h 6479439"/>
                <a:gd name="connsiteX3222" fmla="*/ 3107029 w 9586368"/>
                <a:gd name="connsiteY3222" fmla="*/ 4321527 h 6479439"/>
                <a:gd name="connsiteX3223" fmla="*/ 3107029 w 9586368"/>
                <a:gd name="connsiteY3223" fmla="*/ 4311656 h 6479439"/>
                <a:gd name="connsiteX3224" fmla="*/ 2871737 w 9586368"/>
                <a:gd name="connsiteY3224" fmla="*/ 4307617 h 6479439"/>
                <a:gd name="connsiteX3225" fmla="*/ 2881646 w 9586368"/>
                <a:gd name="connsiteY3225" fmla="*/ 4307617 h 6479439"/>
                <a:gd name="connsiteX3226" fmla="*/ 2885666 w 9586368"/>
                <a:gd name="connsiteY3226" fmla="*/ 4311656 h 6479439"/>
                <a:gd name="connsiteX3227" fmla="*/ 2885666 w 9586368"/>
                <a:gd name="connsiteY3227" fmla="*/ 4321527 h 6479439"/>
                <a:gd name="connsiteX3228" fmla="*/ 2881646 w 9586368"/>
                <a:gd name="connsiteY3228" fmla="*/ 4325566 h 6479439"/>
                <a:gd name="connsiteX3229" fmla="*/ 2871737 w 9586368"/>
                <a:gd name="connsiteY3229" fmla="*/ 4325566 h 6479439"/>
                <a:gd name="connsiteX3230" fmla="*/ 2867717 w 9586368"/>
                <a:gd name="connsiteY3230" fmla="*/ 4321527 h 6479439"/>
                <a:gd name="connsiteX3231" fmla="*/ 2867717 w 9586368"/>
                <a:gd name="connsiteY3231" fmla="*/ 4311656 h 6479439"/>
                <a:gd name="connsiteX3232" fmla="*/ 2632423 w 9586368"/>
                <a:gd name="connsiteY3232" fmla="*/ 4307617 h 6479439"/>
                <a:gd name="connsiteX3233" fmla="*/ 2642334 w 9586368"/>
                <a:gd name="connsiteY3233" fmla="*/ 4307617 h 6479439"/>
                <a:gd name="connsiteX3234" fmla="*/ 2646352 w 9586368"/>
                <a:gd name="connsiteY3234" fmla="*/ 4311656 h 6479439"/>
                <a:gd name="connsiteX3235" fmla="*/ 2646352 w 9586368"/>
                <a:gd name="connsiteY3235" fmla="*/ 4321527 h 6479439"/>
                <a:gd name="connsiteX3236" fmla="*/ 2642334 w 9586368"/>
                <a:gd name="connsiteY3236" fmla="*/ 4325566 h 6479439"/>
                <a:gd name="connsiteX3237" fmla="*/ 2632423 w 9586368"/>
                <a:gd name="connsiteY3237" fmla="*/ 4325566 h 6479439"/>
                <a:gd name="connsiteX3238" fmla="*/ 2628404 w 9586368"/>
                <a:gd name="connsiteY3238" fmla="*/ 4321527 h 6479439"/>
                <a:gd name="connsiteX3239" fmla="*/ 2628404 w 9586368"/>
                <a:gd name="connsiteY3239" fmla="*/ 4311656 h 6479439"/>
                <a:gd name="connsiteX3240" fmla="*/ 2393104 w 9586368"/>
                <a:gd name="connsiteY3240" fmla="*/ 4307617 h 6479439"/>
                <a:gd name="connsiteX3241" fmla="*/ 2403015 w 9586368"/>
                <a:gd name="connsiteY3241" fmla="*/ 4307617 h 6479439"/>
                <a:gd name="connsiteX3242" fmla="*/ 2407034 w 9586368"/>
                <a:gd name="connsiteY3242" fmla="*/ 4311656 h 6479439"/>
                <a:gd name="connsiteX3243" fmla="*/ 2407034 w 9586368"/>
                <a:gd name="connsiteY3243" fmla="*/ 4321527 h 6479439"/>
                <a:gd name="connsiteX3244" fmla="*/ 2403015 w 9586368"/>
                <a:gd name="connsiteY3244" fmla="*/ 4325566 h 6479439"/>
                <a:gd name="connsiteX3245" fmla="*/ 2393104 w 9586368"/>
                <a:gd name="connsiteY3245" fmla="*/ 4325566 h 6479439"/>
                <a:gd name="connsiteX3246" fmla="*/ 2389087 w 9586368"/>
                <a:gd name="connsiteY3246" fmla="*/ 4321527 h 6479439"/>
                <a:gd name="connsiteX3247" fmla="*/ 2389087 w 9586368"/>
                <a:gd name="connsiteY3247" fmla="*/ 4311656 h 6479439"/>
                <a:gd name="connsiteX3248" fmla="*/ 721965 w 9586368"/>
                <a:gd name="connsiteY3248" fmla="*/ 4307617 h 6479439"/>
                <a:gd name="connsiteX3249" fmla="*/ 731874 w 9586368"/>
                <a:gd name="connsiteY3249" fmla="*/ 4307617 h 6479439"/>
                <a:gd name="connsiteX3250" fmla="*/ 735893 w 9586368"/>
                <a:gd name="connsiteY3250" fmla="*/ 4311656 h 6479439"/>
                <a:gd name="connsiteX3251" fmla="*/ 735893 w 9586368"/>
                <a:gd name="connsiteY3251" fmla="*/ 4321527 h 6479439"/>
                <a:gd name="connsiteX3252" fmla="*/ 731874 w 9586368"/>
                <a:gd name="connsiteY3252" fmla="*/ 4325566 h 6479439"/>
                <a:gd name="connsiteX3253" fmla="*/ 721965 w 9586368"/>
                <a:gd name="connsiteY3253" fmla="*/ 4325566 h 6479439"/>
                <a:gd name="connsiteX3254" fmla="*/ 717945 w 9586368"/>
                <a:gd name="connsiteY3254" fmla="*/ 4321527 h 6479439"/>
                <a:gd name="connsiteX3255" fmla="*/ 717945 w 9586368"/>
                <a:gd name="connsiteY3255" fmla="*/ 4311656 h 6479439"/>
                <a:gd name="connsiteX3256" fmla="*/ 482652 w 9586368"/>
                <a:gd name="connsiteY3256" fmla="*/ 4307617 h 6479439"/>
                <a:gd name="connsiteX3257" fmla="*/ 492562 w 9586368"/>
                <a:gd name="connsiteY3257" fmla="*/ 4307617 h 6479439"/>
                <a:gd name="connsiteX3258" fmla="*/ 496581 w 9586368"/>
                <a:gd name="connsiteY3258" fmla="*/ 4311656 h 6479439"/>
                <a:gd name="connsiteX3259" fmla="*/ 496581 w 9586368"/>
                <a:gd name="connsiteY3259" fmla="*/ 4321527 h 6479439"/>
                <a:gd name="connsiteX3260" fmla="*/ 492562 w 9586368"/>
                <a:gd name="connsiteY3260" fmla="*/ 4325566 h 6479439"/>
                <a:gd name="connsiteX3261" fmla="*/ 482652 w 9586368"/>
                <a:gd name="connsiteY3261" fmla="*/ 4325566 h 6479439"/>
                <a:gd name="connsiteX3262" fmla="*/ 478633 w 9586368"/>
                <a:gd name="connsiteY3262" fmla="*/ 4321527 h 6479439"/>
                <a:gd name="connsiteX3263" fmla="*/ 478633 w 9586368"/>
                <a:gd name="connsiteY3263" fmla="*/ 4311656 h 6479439"/>
                <a:gd name="connsiteX3264" fmla="*/ 243339 w 9586368"/>
                <a:gd name="connsiteY3264" fmla="*/ 4307617 h 6479439"/>
                <a:gd name="connsiteX3265" fmla="*/ 253249 w 9586368"/>
                <a:gd name="connsiteY3265" fmla="*/ 4307617 h 6479439"/>
                <a:gd name="connsiteX3266" fmla="*/ 257268 w 9586368"/>
                <a:gd name="connsiteY3266" fmla="*/ 4311656 h 6479439"/>
                <a:gd name="connsiteX3267" fmla="*/ 257268 w 9586368"/>
                <a:gd name="connsiteY3267" fmla="*/ 4321527 h 6479439"/>
                <a:gd name="connsiteX3268" fmla="*/ 253249 w 9586368"/>
                <a:gd name="connsiteY3268" fmla="*/ 4325566 h 6479439"/>
                <a:gd name="connsiteX3269" fmla="*/ 243339 w 9586368"/>
                <a:gd name="connsiteY3269" fmla="*/ 4325566 h 6479439"/>
                <a:gd name="connsiteX3270" fmla="*/ 239320 w 9586368"/>
                <a:gd name="connsiteY3270" fmla="*/ 4321527 h 6479439"/>
                <a:gd name="connsiteX3271" fmla="*/ 239320 w 9586368"/>
                <a:gd name="connsiteY3271" fmla="*/ 4311656 h 6479439"/>
                <a:gd name="connsiteX3272" fmla="*/ 4025 w 9586368"/>
                <a:gd name="connsiteY3272" fmla="*/ 4307617 h 6479439"/>
                <a:gd name="connsiteX3273" fmla="*/ 13936 w 9586368"/>
                <a:gd name="connsiteY3273" fmla="*/ 4307617 h 6479439"/>
                <a:gd name="connsiteX3274" fmla="*/ 17955 w 9586368"/>
                <a:gd name="connsiteY3274" fmla="*/ 4311656 h 6479439"/>
                <a:gd name="connsiteX3275" fmla="*/ 17955 w 9586368"/>
                <a:gd name="connsiteY3275" fmla="*/ 4321527 h 6479439"/>
                <a:gd name="connsiteX3276" fmla="*/ 13936 w 9586368"/>
                <a:gd name="connsiteY3276" fmla="*/ 4325566 h 6479439"/>
                <a:gd name="connsiteX3277" fmla="*/ 4025 w 9586368"/>
                <a:gd name="connsiteY3277" fmla="*/ 4325566 h 6479439"/>
                <a:gd name="connsiteX3278" fmla="*/ 7 w 9586368"/>
                <a:gd name="connsiteY3278" fmla="*/ 4321527 h 6479439"/>
                <a:gd name="connsiteX3279" fmla="*/ 7 w 9586368"/>
                <a:gd name="connsiteY3279" fmla="*/ 4311656 h 6479439"/>
                <a:gd name="connsiteX3280" fmla="*/ 9572438 w 9586368"/>
                <a:gd name="connsiteY3280" fmla="*/ 4068339 h 6479439"/>
                <a:gd name="connsiteX3281" fmla="*/ 9582349 w 9586368"/>
                <a:gd name="connsiteY3281" fmla="*/ 4068339 h 6479439"/>
                <a:gd name="connsiteX3282" fmla="*/ 9586368 w 9586368"/>
                <a:gd name="connsiteY3282" fmla="*/ 4072377 h 6479439"/>
                <a:gd name="connsiteX3283" fmla="*/ 9586368 w 9586368"/>
                <a:gd name="connsiteY3283" fmla="*/ 4082248 h 6479439"/>
                <a:gd name="connsiteX3284" fmla="*/ 9582349 w 9586368"/>
                <a:gd name="connsiteY3284" fmla="*/ 4086287 h 6479439"/>
                <a:gd name="connsiteX3285" fmla="*/ 9572438 w 9586368"/>
                <a:gd name="connsiteY3285" fmla="*/ 4086287 h 6479439"/>
                <a:gd name="connsiteX3286" fmla="*/ 9568419 w 9586368"/>
                <a:gd name="connsiteY3286" fmla="*/ 4082248 h 6479439"/>
                <a:gd name="connsiteX3287" fmla="*/ 9568419 w 9586368"/>
                <a:gd name="connsiteY3287" fmla="*/ 4072377 h 6479439"/>
                <a:gd name="connsiteX3288" fmla="*/ 9333125 w 9586368"/>
                <a:gd name="connsiteY3288" fmla="*/ 4068339 h 6479439"/>
                <a:gd name="connsiteX3289" fmla="*/ 9343036 w 9586368"/>
                <a:gd name="connsiteY3289" fmla="*/ 4068339 h 6479439"/>
                <a:gd name="connsiteX3290" fmla="*/ 9347055 w 9586368"/>
                <a:gd name="connsiteY3290" fmla="*/ 4072377 h 6479439"/>
                <a:gd name="connsiteX3291" fmla="*/ 9347055 w 9586368"/>
                <a:gd name="connsiteY3291" fmla="*/ 4082248 h 6479439"/>
                <a:gd name="connsiteX3292" fmla="*/ 9343036 w 9586368"/>
                <a:gd name="connsiteY3292" fmla="*/ 4086287 h 6479439"/>
                <a:gd name="connsiteX3293" fmla="*/ 9333125 w 9586368"/>
                <a:gd name="connsiteY3293" fmla="*/ 4086287 h 6479439"/>
                <a:gd name="connsiteX3294" fmla="*/ 9329106 w 9586368"/>
                <a:gd name="connsiteY3294" fmla="*/ 4082248 h 6479439"/>
                <a:gd name="connsiteX3295" fmla="*/ 9329106 w 9586368"/>
                <a:gd name="connsiteY3295" fmla="*/ 4072377 h 6479439"/>
                <a:gd name="connsiteX3296" fmla="*/ 9093811 w 9586368"/>
                <a:gd name="connsiteY3296" fmla="*/ 4068339 h 6479439"/>
                <a:gd name="connsiteX3297" fmla="*/ 9103722 w 9586368"/>
                <a:gd name="connsiteY3297" fmla="*/ 4068339 h 6479439"/>
                <a:gd name="connsiteX3298" fmla="*/ 9107741 w 9586368"/>
                <a:gd name="connsiteY3298" fmla="*/ 4072377 h 6479439"/>
                <a:gd name="connsiteX3299" fmla="*/ 9107741 w 9586368"/>
                <a:gd name="connsiteY3299" fmla="*/ 4082248 h 6479439"/>
                <a:gd name="connsiteX3300" fmla="*/ 9103722 w 9586368"/>
                <a:gd name="connsiteY3300" fmla="*/ 4086287 h 6479439"/>
                <a:gd name="connsiteX3301" fmla="*/ 9093811 w 9586368"/>
                <a:gd name="connsiteY3301" fmla="*/ 4086287 h 6479439"/>
                <a:gd name="connsiteX3302" fmla="*/ 9089792 w 9586368"/>
                <a:gd name="connsiteY3302" fmla="*/ 4082248 h 6479439"/>
                <a:gd name="connsiteX3303" fmla="*/ 9089792 w 9586368"/>
                <a:gd name="connsiteY3303" fmla="*/ 4072377 h 6479439"/>
                <a:gd name="connsiteX3304" fmla="*/ 8854496 w 9586368"/>
                <a:gd name="connsiteY3304" fmla="*/ 4068339 h 6479439"/>
                <a:gd name="connsiteX3305" fmla="*/ 8864407 w 9586368"/>
                <a:gd name="connsiteY3305" fmla="*/ 4068339 h 6479439"/>
                <a:gd name="connsiteX3306" fmla="*/ 8868426 w 9586368"/>
                <a:gd name="connsiteY3306" fmla="*/ 4072377 h 6479439"/>
                <a:gd name="connsiteX3307" fmla="*/ 8868426 w 9586368"/>
                <a:gd name="connsiteY3307" fmla="*/ 4082248 h 6479439"/>
                <a:gd name="connsiteX3308" fmla="*/ 8864407 w 9586368"/>
                <a:gd name="connsiteY3308" fmla="*/ 4086287 h 6479439"/>
                <a:gd name="connsiteX3309" fmla="*/ 8854496 w 9586368"/>
                <a:gd name="connsiteY3309" fmla="*/ 4086287 h 6479439"/>
                <a:gd name="connsiteX3310" fmla="*/ 8850477 w 9586368"/>
                <a:gd name="connsiteY3310" fmla="*/ 4082248 h 6479439"/>
                <a:gd name="connsiteX3311" fmla="*/ 8850477 w 9586368"/>
                <a:gd name="connsiteY3311" fmla="*/ 4072377 h 6479439"/>
                <a:gd name="connsiteX3312" fmla="*/ 8615184 w 9586368"/>
                <a:gd name="connsiteY3312" fmla="*/ 4068339 h 6479439"/>
                <a:gd name="connsiteX3313" fmla="*/ 8625095 w 9586368"/>
                <a:gd name="connsiteY3313" fmla="*/ 4068339 h 6479439"/>
                <a:gd name="connsiteX3314" fmla="*/ 8629114 w 9586368"/>
                <a:gd name="connsiteY3314" fmla="*/ 4072377 h 6479439"/>
                <a:gd name="connsiteX3315" fmla="*/ 8629114 w 9586368"/>
                <a:gd name="connsiteY3315" fmla="*/ 4082248 h 6479439"/>
                <a:gd name="connsiteX3316" fmla="*/ 8625095 w 9586368"/>
                <a:gd name="connsiteY3316" fmla="*/ 4086287 h 6479439"/>
                <a:gd name="connsiteX3317" fmla="*/ 8615184 w 9586368"/>
                <a:gd name="connsiteY3317" fmla="*/ 4086287 h 6479439"/>
                <a:gd name="connsiteX3318" fmla="*/ 8611165 w 9586368"/>
                <a:gd name="connsiteY3318" fmla="*/ 4082248 h 6479439"/>
                <a:gd name="connsiteX3319" fmla="*/ 8611165 w 9586368"/>
                <a:gd name="connsiteY3319" fmla="*/ 4072377 h 6479439"/>
                <a:gd name="connsiteX3320" fmla="*/ 8375869 w 9586368"/>
                <a:gd name="connsiteY3320" fmla="*/ 4068339 h 6479439"/>
                <a:gd name="connsiteX3321" fmla="*/ 8385779 w 9586368"/>
                <a:gd name="connsiteY3321" fmla="*/ 4068339 h 6479439"/>
                <a:gd name="connsiteX3322" fmla="*/ 8389799 w 9586368"/>
                <a:gd name="connsiteY3322" fmla="*/ 4072377 h 6479439"/>
                <a:gd name="connsiteX3323" fmla="*/ 8389799 w 9586368"/>
                <a:gd name="connsiteY3323" fmla="*/ 4082248 h 6479439"/>
                <a:gd name="connsiteX3324" fmla="*/ 8385779 w 9586368"/>
                <a:gd name="connsiteY3324" fmla="*/ 4086287 h 6479439"/>
                <a:gd name="connsiteX3325" fmla="*/ 8375869 w 9586368"/>
                <a:gd name="connsiteY3325" fmla="*/ 4086287 h 6479439"/>
                <a:gd name="connsiteX3326" fmla="*/ 8371850 w 9586368"/>
                <a:gd name="connsiteY3326" fmla="*/ 4082248 h 6479439"/>
                <a:gd name="connsiteX3327" fmla="*/ 8371850 w 9586368"/>
                <a:gd name="connsiteY3327" fmla="*/ 4072377 h 6479439"/>
                <a:gd name="connsiteX3328" fmla="*/ 8136553 w 9586368"/>
                <a:gd name="connsiteY3328" fmla="*/ 4068339 h 6479439"/>
                <a:gd name="connsiteX3329" fmla="*/ 8146464 w 9586368"/>
                <a:gd name="connsiteY3329" fmla="*/ 4068339 h 6479439"/>
                <a:gd name="connsiteX3330" fmla="*/ 8150483 w 9586368"/>
                <a:gd name="connsiteY3330" fmla="*/ 4072377 h 6479439"/>
                <a:gd name="connsiteX3331" fmla="*/ 8150483 w 9586368"/>
                <a:gd name="connsiteY3331" fmla="*/ 4082248 h 6479439"/>
                <a:gd name="connsiteX3332" fmla="*/ 8146464 w 9586368"/>
                <a:gd name="connsiteY3332" fmla="*/ 4086287 h 6479439"/>
                <a:gd name="connsiteX3333" fmla="*/ 8136553 w 9586368"/>
                <a:gd name="connsiteY3333" fmla="*/ 4086287 h 6479439"/>
                <a:gd name="connsiteX3334" fmla="*/ 8132534 w 9586368"/>
                <a:gd name="connsiteY3334" fmla="*/ 4082248 h 6479439"/>
                <a:gd name="connsiteX3335" fmla="*/ 8132534 w 9586368"/>
                <a:gd name="connsiteY3335" fmla="*/ 4072377 h 6479439"/>
                <a:gd name="connsiteX3336" fmla="*/ 7897241 w 9586368"/>
                <a:gd name="connsiteY3336" fmla="*/ 4068339 h 6479439"/>
                <a:gd name="connsiteX3337" fmla="*/ 7907151 w 9586368"/>
                <a:gd name="connsiteY3337" fmla="*/ 4068339 h 6479439"/>
                <a:gd name="connsiteX3338" fmla="*/ 7911170 w 9586368"/>
                <a:gd name="connsiteY3338" fmla="*/ 4072377 h 6479439"/>
                <a:gd name="connsiteX3339" fmla="*/ 7911170 w 9586368"/>
                <a:gd name="connsiteY3339" fmla="*/ 4082248 h 6479439"/>
                <a:gd name="connsiteX3340" fmla="*/ 7907151 w 9586368"/>
                <a:gd name="connsiteY3340" fmla="*/ 4086287 h 6479439"/>
                <a:gd name="connsiteX3341" fmla="*/ 7897241 w 9586368"/>
                <a:gd name="connsiteY3341" fmla="*/ 4086287 h 6479439"/>
                <a:gd name="connsiteX3342" fmla="*/ 7893222 w 9586368"/>
                <a:gd name="connsiteY3342" fmla="*/ 4082248 h 6479439"/>
                <a:gd name="connsiteX3343" fmla="*/ 7893222 w 9586368"/>
                <a:gd name="connsiteY3343" fmla="*/ 4072377 h 6479439"/>
                <a:gd name="connsiteX3344" fmla="*/ 7657926 w 9586368"/>
                <a:gd name="connsiteY3344" fmla="*/ 4068339 h 6479439"/>
                <a:gd name="connsiteX3345" fmla="*/ 7667836 w 9586368"/>
                <a:gd name="connsiteY3345" fmla="*/ 4068339 h 6479439"/>
                <a:gd name="connsiteX3346" fmla="*/ 7671855 w 9586368"/>
                <a:gd name="connsiteY3346" fmla="*/ 4072377 h 6479439"/>
                <a:gd name="connsiteX3347" fmla="*/ 7671855 w 9586368"/>
                <a:gd name="connsiteY3347" fmla="*/ 4082248 h 6479439"/>
                <a:gd name="connsiteX3348" fmla="*/ 7667836 w 9586368"/>
                <a:gd name="connsiteY3348" fmla="*/ 4086287 h 6479439"/>
                <a:gd name="connsiteX3349" fmla="*/ 7657926 w 9586368"/>
                <a:gd name="connsiteY3349" fmla="*/ 4086287 h 6479439"/>
                <a:gd name="connsiteX3350" fmla="*/ 7653906 w 9586368"/>
                <a:gd name="connsiteY3350" fmla="*/ 4082248 h 6479439"/>
                <a:gd name="connsiteX3351" fmla="*/ 7653906 w 9586368"/>
                <a:gd name="connsiteY3351" fmla="*/ 4072377 h 6479439"/>
                <a:gd name="connsiteX3352" fmla="*/ 7418611 w 9586368"/>
                <a:gd name="connsiteY3352" fmla="*/ 4068339 h 6479439"/>
                <a:gd name="connsiteX3353" fmla="*/ 7428521 w 9586368"/>
                <a:gd name="connsiteY3353" fmla="*/ 4068339 h 6479439"/>
                <a:gd name="connsiteX3354" fmla="*/ 7432540 w 9586368"/>
                <a:gd name="connsiteY3354" fmla="*/ 4072377 h 6479439"/>
                <a:gd name="connsiteX3355" fmla="*/ 7432540 w 9586368"/>
                <a:gd name="connsiteY3355" fmla="*/ 4082248 h 6479439"/>
                <a:gd name="connsiteX3356" fmla="*/ 7428521 w 9586368"/>
                <a:gd name="connsiteY3356" fmla="*/ 4086287 h 6479439"/>
                <a:gd name="connsiteX3357" fmla="*/ 7418611 w 9586368"/>
                <a:gd name="connsiteY3357" fmla="*/ 4086287 h 6479439"/>
                <a:gd name="connsiteX3358" fmla="*/ 7414592 w 9586368"/>
                <a:gd name="connsiteY3358" fmla="*/ 4082248 h 6479439"/>
                <a:gd name="connsiteX3359" fmla="*/ 7414592 w 9586368"/>
                <a:gd name="connsiteY3359" fmla="*/ 4072377 h 6479439"/>
                <a:gd name="connsiteX3360" fmla="*/ 7179298 w 9586368"/>
                <a:gd name="connsiteY3360" fmla="*/ 4068339 h 6479439"/>
                <a:gd name="connsiteX3361" fmla="*/ 7189209 w 9586368"/>
                <a:gd name="connsiteY3361" fmla="*/ 4068339 h 6479439"/>
                <a:gd name="connsiteX3362" fmla="*/ 7193228 w 9586368"/>
                <a:gd name="connsiteY3362" fmla="*/ 4072377 h 6479439"/>
                <a:gd name="connsiteX3363" fmla="*/ 7193228 w 9586368"/>
                <a:gd name="connsiteY3363" fmla="*/ 4082248 h 6479439"/>
                <a:gd name="connsiteX3364" fmla="*/ 7189209 w 9586368"/>
                <a:gd name="connsiteY3364" fmla="*/ 4086287 h 6479439"/>
                <a:gd name="connsiteX3365" fmla="*/ 7179298 w 9586368"/>
                <a:gd name="connsiteY3365" fmla="*/ 4086287 h 6479439"/>
                <a:gd name="connsiteX3366" fmla="*/ 7175279 w 9586368"/>
                <a:gd name="connsiteY3366" fmla="*/ 4082248 h 6479439"/>
                <a:gd name="connsiteX3367" fmla="*/ 7175279 w 9586368"/>
                <a:gd name="connsiteY3367" fmla="*/ 4072377 h 6479439"/>
                <a:gd name="connsiteX3368" fmla="*/ 6939983 w 9586368"/>
                <a:gd name="connsiteY3368" fmla="*/ 4068339 h 6479439"/>
                <a:gd name="connsiteX3369" fmla="*/ 6949894 w 9586368"/>
                <a:gd name="connsiteY3369" fmla="*/ 4068339 h 6479439"/>
                <a:gd name="connsiteX3370" fmla="*/ 6953913 w 9586368"/>
                <a:gd name="connsiteY3370" fmla="*/ 4072377 h 6479439"/>
                <a:gd name="connsiteX3371" fmla="*/ 6953913 w 9586368"/>
                <a:gd name="connsiteY3371" fmla="*/ 4082248 h 6479439"/>
                <a:gd name="connsiteX3372" fmla="*/ 6949894 w 9586368"/>
                <a:gd name="connsiteY3372" fmla="*/ 4086287 h 6479439"/>
                <a:gd name="connsiteX3373" fmla="*/ 6939983 w 9586368"/>
                <a:gd name="connsiteY3373" fmla="*/ 4086287 h 6479439"/>
                <a:gd name="connsiteX3374" fmla="*/ 6935964 w 9586368"/>
                <a:gd name="connsiteY3374" fmla="*/ 4082248 h 6479439"/>
                <a:gd name="connsiteX3375" fmla="*/ 6935964 w 9586368"/>
                <a:gd name="connsiteY3375" fmla="*/ 4072377 h 6479439"/>
                <a:gd name="connsiteX3376" fmla="*/ 6700670 w 9586368"/>
                <a:gd name="connsiteY3376" fmla="*/ 4068339 h 6479439"/>
                <a:gd name="connsiteX3377" fmla="*/ 6710581 w 9586368"/>
                <a:gd name="connsiteY3377" fmla="*/ 4068339 h 6479439"/>
                <a:gd name="connsiteX3378" fmla="*/ 6714600 w 9586368"/>
                <a:gd name="connsiteY3378" fmla="*/ 4072377 h 6479439"/>
                <a:gd name="connsiteX3379" fmla="*/ 6714600 w 9586368"/>
                <a:gd name="connsiteY3379" fmla="*/ 4082248 h 6479439"/>
                <a:gd name="connsiteX3380" fmla="*/ 6710581 w 9586368"/>
                <a:gd name="connsiteY3380" fmla="*/ 4086287 h 6479439"/>
                <a:gd name="connsiteX3381" fmla="*/ 6700670 w 9586368"/>
                <a:gd name="connsiteY3381" fmla="*/ 4086287 h 6479439"/>
                <a:gd name="connsiteX3382" fmla="*/ 6696651 w 9586368"/>
                <a:gd name="connsiteY3382" fmla="*/ 4082248 h 6479439"/>
                <a:gd name="connsiteX3383" fmla="*/ 6696651 w 9586368"/>
                <a:gd name="connsiteY3383" fmla="*/ 4072377 h 6479439"/>
                <a:gd name="connsiteX3384" fmla="*/ 6461356 w 9586368"/>
                <a:gd name="connsiteY3384" fmla="*/ 4068339 h 6479439"/>
                <a:gd name="connsiteX3385" fmla="*/ 6471266 w 9586368"/>
                <a:gd name="connsiteY3385" fmla="*/ 4068339 h 6479439"/>
                <a:gd name="connsiteX3386" fmla="*/ 6475285 w 9586368"/>
                <a:gd name="connsiteY3386" fmla="*/ 4072377 h 6479439"/>
                <a:gd name="connsiteX3387" fmla="*/ 6475285 w 9586368"/>
                <a:gd name="connsiteY3387" fmla="*/ 4082248 h 6479439"/>
                <a:gd name="connsiteX3388" fmla="*/ 6471266 w 9586368"/>
                <a:gd name="connsiteY3388" fmla="*/ 4086287 h 6479439"/>
                <a:gd name="connsiteX3389" fmla="*/ 6461356 w 9586368"/>
                <a:gd name="connsiteY3389" fmla="*/ 4086287 h 6479439"/>
                <a:gd name="connsiteX3390" fmla="*/ 6457337 w 9586368"/>
                <a:gd name="connsiteY3390" fmla="*/ 4082248 h 6479439"/>
                <a:gd name="connsiteX3391" fmla="*/ 6457337 w 9586368"/>
                <a:gd name="connsiteY3391" fmla="*/ 4072377 h 6479439"/>
                <a:gd name="connsiteX3392" fmla="*/ 6222042 w 9586368"/>
                <a:gd name="connsiteY3392" fmla="*/ 4068339 h 6479439"/>
                <a:gd name="connsiteX3393" fmla="*/ 6231952 w 9586368"/>
                <a:gd name="connsiteY3393" fmla="*/ 4068339 h 6479439"/>
                <a:gd name="connsiteX3394" fmla="*/ 6235971 w 9586368"/>
                <a:gd name="connsiteY3394" fmla="*/ 4072377 h 6479439"/>
                <a:gd name="connsiteX3395" fmla="*/ 6235971 w 9586368"/>
                <a:gd name="connsiteY3395" fmla="*/ 4082248 h 6479439"/>
                <a:gd name="connsiteX3396" fmla="*/ 6231952 w 9586368"/>
                <a:gd name="connsiteY3396" fmla="*/ 4086287 h 6479439"/>
                <a:gd name="connsiteX3397" fmla="*/ 6222042 w 9586368"/>
                <a:gd name="connsiteY3397" fmla="*/ 4086287 h 6479439"/>
                <a:gd name="connsiteX3398" fmla="*/ 6218023 w 9586368"/>
                <a:gd name="connsiteY3398" fmla="*/ 4082248 h 6479439"/>
                <a:gd name="connsiteX3399" fmla="*/ 6218023 w 9586368"/>
                <a:gd name="connsiteY3399" fmla="*/ 4072377 h 6479439"/>
                <a:gd name="connsiteX3400" fmla="*/ 5982729 w 9586368"/>
                <a:gd name="connsiteY3400" fmla="*/ 4068339 h 6479439"/>
                <a:gd name="connsiteX3401" fmla="*/ 5992639 w 9586368"/>
                <a:gd name="connsiteY3401" fmla="*/ 4068339 h 6479439"/>
                <a:gd name="connsiteX3402" fmla="*/ 5996658 w 9586368"/>
                <a:gd name="connsiteY3402" fmla="*/ 4072377 h 6479439"/>
                <a:gd name="connsiteX3403" fmla="*/ 5996658 w 9586368"/>
                <a:gd name="connsiteY3403" fmla="*/ 4082248 h 6479439"/>
                <a:gd name="connsiteX3404" fmla="*/ 5992639 w 9586368"/>
                <a:gd name="connsiteY3404" fmla="*/ 4086287 h 6479439"/>
                <a:gd name="connsiteX3405" fmla="*/ 5982729 w 9586368"/>
                <a:gd name="connsiteY3405" fmla="*/ 4086287 h 6479439"/>
                <a:gd name="connsiteX3406" fmla="*/ 5978710 w 9586368"/>
                <a:gd name="connsiteY3406" fmla="*/ 4082248 h 6479439"/>
                <a:gd name="connsiteX3407" fmla="*/ 5978710 w 9586368"/>
                <a:gd name="connsiteY3407" fmla="*/ 4072377 h 6479439"/>
                <a:gd name="connsiteX3408" fmla="*/ 5743412 w 9586368"/>
                <a:gd name="connsiteY3408" fmla="*/ 4068339 h 6479439"/>
                <a:gd name="connsiteX3409" fmla="*/ 5753323 w 9586368"/>
                <a:gd name="connsiteY3409" fmla="*/ 4068339 h 6479439"/>
                <a:gd name="connsiteX3410" fmla="*/ 5757342 w 9586368"/>
                <a:gd name="connsiteY3410" fmla="*/ 4072377 h 6479439"/>
                <a:gd name="connsiteX3411" fmla="*/ 5757342 w 9586368"/>
                <a:gd name="connsiteY3411" fmla="*/ 4082248 h 6479439"/>
                <a:gd name="connsiteX3412" fmla="*/ 5753323 w 9586368"/>
                <a:gd name="connsiteY3412" fmla="*/ 4086287 h 6479439"/>
                <a:gd name="connsiteX3413" fmla="*/ 5743412 w 9586368"/>
                <a:gd name="connsiteY3413" fmla="*/ 4086287 h 6479439"/>
                <a:gd name="connsiteX3414" fmla="*/ 5739393 w 9586368"/>
                <a:gd name="connsiteY3414" fmla="*/ 4082248 h 6479439"/>
                <a:gd name="connsiteX3415" fmla="*/ 5739393 w 9586368"/>
                <a:gd name="connsiteY3415" fmla="*/ 4072377 h 6479439"/>
                <a:gd name="connsiteX3416" fmla="*/ 5504099 w 9586368"/>
                <a:gd name="connsiteY3416" fmla="*/ 4068339 h 6479439"/>
                <a:gd name="connsiteX3417" fmla="*/ 5514010 w 9586368"/>
                <a:gd name="connsiteY3417" fmla="*/ 4068339 h 6479439"/>
                <a:gd name="connsiteX3418" fmla="*/ 5518029 w 9586368"/>
                <a:gd name="connsiteY3418" fmla="*/ 4072377 h 6479439"/>
                <a:gd name="connsiteX3419" fmla="*/ 5518029 w 9586368"/>
                <a:gd name="connsiteY3419" fmla="*/ 4082248 h 6479439"/>
                <a:gd name="connsiteX3420" fmla="*/ 5514010 w 9586368"/>
                <a:gd name="connsiteY3420" fmla="*/ 4086287 h 6479439"/>
                <a:gd name="connsiteX3421" fmla="*/ 5504099 w 9586368"/>
                <a:gd name="connsiteY3421" fmla="*/ 4086287 h 6479439"/>
                <a:gd name="connsiteX3422" fmla="*/ 5500080 w 9586368"/>
                <a:gd name="connsiteY3422" fmla="*/ 4082248 h 6479439"/>
                <a:gd name="connsiteX3423" fmla="*/ 5500080 w 9586368"/>
                <a:gd name="connsiteY3423" fmla="*/ 4072377 h 6479439"/>
                <a:gd name="connsiteX3424" fmla="*/ 5264784 w 9586368"/>
                <a:gd name="connsiteY3424" fmla="*/ 4068339 h 6479439"/>
                <a:gd name="connsiteX3425" fmla="*/ 5274694 w 9586368"/>
                <a:gd name="connsiteY3425" fmla="*/ 4068339 h 6479439"/>
                <a:gd name="connsiteX3426" fmla="*/ 5278713 w 9586368"/>
                <a:gd name="connsiteY3426" fmla="*/ 4072377 h 6479439"/>
                <a:gd name="connsiteX3427" fmla="*/ 5278713 w 9586368"/>
                <a:gd name="connsiteY3427" fmla="*/ 4082248 h 6479439"/>
                <a:gd name="connsiteX3428" fmla="*/ 5274694 w 9586368"/>
                <a:gd name="connsiteY3428" fmla="*/ 4086287 h 6479439"/>
                <a:gd name="connsiteX3429" fmla="*/ 5264784 w 9586368"/>
                <a:gd name="connsiteY3429" fmla="*/ 4086287 h 6479439"/>
                <a:gd name="connsiteX3430" fmla="*/ 5260765 w 9586368"/>
                <a:gd name="connsiteY3430" fmla="*/ 4082248 h 6479439"/>
                <a:gd name="connsiteX3431" fmla="*/ 5260765 w 9586368"/>
                <a:gd name="connsiteY3431" fmla="*/ 4072377 h 6479439"/>
                <a:gd name="connsiteX3432" fmla="*/ 5025470 w 9586368"/>
                <a:gd name="connsiteY3432" fmla="*/ 4068339 h 6479439"/>
                <a:gd name="connsiteX3433" fmla="*/ 5035381 w 9586368"/>
                <a:gd name="connsiteY3433" fmla="*/ 4068339 h 6479439"/>
                <a:gd name="connsiteX3434" fmla="*/ 5039400 w 9586368"/>
                <a:gd name="connsiteY3434" fmla="*/ 4072377 h 6479439"/>
                <a:gd name="connsiteX3435" fmla="*/ 5039400 w 9586368"/>
                <a:gd name="connsiteY3435" fmla="*/ 4082248 h 6479439"/>
                <a:gd name="connsiteX3436" fmla="*/ 5035381 w 9586368"/>
                <a:gd name="connsiteY3436" fmla="*/ 4086287 h 6479439"/>
                <a:gd name="connsiteX3437" fmla="*/ 5025470 w 9586368"/>
                <a:gd name="connsiteY3437" fmla="*/ 4086287 h 6479439"/>
                <a:gd name="connsiteX3438" fmla="*/ 5021451 w 9586368"/>
                <a:gd name="connsiteY3438" fmla="*/ 4082248 h 6479439"/>
                <a:gd name="connsiteX3439" fmla="*/ 5021451 w 9586368"/>
                <a:gd name="connsiteY3439" fmla="*/ 4072377 h 6479439"/>
                <a:gd name="connsiteX3440" fmla="*/ 4786241 w 9586368"/>
                <a:gd name="connsiteY3440" fmla="*/ 4068339 h 6479439"/>
                <a:gd name="connsiteX3441" fmla="*/ 4796152 w 9586368"/>
                <a:gd name="connsiteY3441" fmla="*/ 4068339 h 6479439"/>
                <a:gd name="connsiteX3442" fmla="*/ 4800171 w 9586368"/>
                <a:gd name="connsiteY3442" fmla="*/ 4072377 h 6479439"/>
                <a:gd name="connsiteX3443" fmla="*/ 4800171 w 9586368"/>
                <a:gd name="connsiteY3443" fmla="*/ 4082248 h 6479439"/>
                <a:gd name="connsiteX3444" fmla="*/ 4796152 w 9586368"/>
                <a:gd name="connsiteY3444" fmla="*/ 4086287 h 6479439"/>
                <a:gd name="connsiteX3445" fmla="*/ 4786241 w 9586368"/>
                <a:gd name="connsiteY3445" fmla="*/ 4086287 h 6479439"/>
                <a:gd name="connsiteX3446" fmla="*/ 4782224 w 9586368"/>
                <a:gd name="connsiteY3446" fmla="*/ 4082248 h 6479439"/>
                <a:gd name="connsiteX3447" fmla="*/ 4782224 w 9586368"/>
                <a:gd name="connsiteY3447" fmla="*/ 4072377 h 6479439"/>
                <a:gd name="connsiteX3448" fmla="*/ 4546929 w 9586368"/>
                <a:gd name="connsiteY3448" fmla="*/ 4068339 h 6479439"/>
                <a:gd name="connsiteX3449" fmla="*/ 4556840 w 9586368"/>
                <a:gd name="connsiteY3449" fmla="*/ 4068339 h 6479439"/>
                <a:gd name="connsiteX3450" fmla="*/ 4560859 w 9586368"/>
                <a:gd name="connsiteY3450" fmla="*/ 4072377 h 6479439"/>
                <a:gd name="connsiteX3451" fmla="*/ 4560859 w 9586368"/>
                <a:gd name="connsiteY3451" fmla="*/ 4082248 h 6479439"/>
                <a:gd name="connsiteX3452" fmla="*/ 4556840 w 9586368"/>
                <a:gd name="connsiteY3452" fmla="*/ 4086287 h 6479439"/>
                <a:gd name="connsiteX3453" fmla="*/ 4546929 w 9586368"/>
                <a:gd name="connsiteY3453" fmla="*/ 4086287 h 6479439"/>
                <a:gd name="connsiteX3454" fmla="*/ 4542910 w 9586368"/>
                <a:gd name="connsiteY3454" fmla="*/ 4082248 h 6479439"/>
                <a:gd name="connsiteX3455" fmla="*/ 4542910 w 9586368"/>
                <a:gd name="connsiteY3455" fmla="*/ 4072377 h 6479439"/>
                <a:gd name="connsiteX3456" fmla="*/ 4307612 w 9586368"/>
                <a:gd name="connsiteY3456" fmla="*/ 4068339 h 6479439"/>
                <a:gd name="connsiteX3457" fmla="*/ 4317523 w 9586368"/>
                <a:gd name="connsiteY3457" fmla="*/ 4068339 h 6479439"/>
                <a:gd name="connsiteX3458" fmla="*/ 4321543 w 9586368"/>
                <a:gd name="connsiteY3458" fmla="*/ 4072377 h 6479439"/>
                <a:gd name="connsiteX3459" fmla="*/ 4321543 w 9586368"/>
                <a:gd name="connsiteY3459" fmla="*/ 4082248 h 6479439"/>
                <a:gd name="connsiteX3460" fmla="*/ 4317523 w 9586368"/>
                <a:gd name="connsiteY3460" fmla="*/ 4086287 h 6479439"/>
                <a:gd name="connsiteX3461" fmla="*/ 4307612 w 9586368"/>
                <a:gd name="connsiteY3461" fmla="*/ 4086287 h 6479439"/>
                <a:gd name="connsiteX3462" fmla="*/ 4303595 w 9586368"/>
                <a:gd name="connsiteY3462" fmla="*/ 4082248 h 6479439"/>
                <a:gd name="connsiteX3463" fmla="*/ 4303595 w 9586368"/>
                <a:gd name="connsiteY3463" fmla="*/ 4072377 h 6479439"/>
                <a:gd name="connsiteX3464" fmla="*/ 4068297 w 9586368"/>
                <a:gd name="connsiteY3464" fmla="*/ 4068339 h 6479439"/>
                <a:gd name="connsiteX3465" fmla="*/ 4078210 w 9586368"/>
                <a:gd name="connsiteY3465" fmla="*/ 4068339 h 6479439"/>
                <a:gd name="connsiteX3466" fmla="*/ 4082229 w 9586368"/>
                <a:gd name="connsiteY3466" fmla="*/ 4072377 h 6479439"/>
                <a:gd name="connsiteX3467" fmla="*/ 4082229 w 9586368"/>
                <a:gd name="connsiteY3467" fmla="*/ 4082248 h 6479439"/>
                <a:gd name="connsiteX3468" fmla="*/ 4078210 w 9586368"/>
                <a:gd name="connsiteY3468" fmla="*/ 4086287 h 6479439"/>
                <a:gd name="connsiteX3469" fmla="*/ 4068297 w 9586368"/>
                <a:gd name="connsiteY3469" fmla="*/ 4086287 h 6479439"/>
                <a:gd name="connsiteX3470" fmla="*/ 4064278 w 9586368"/>
                <a:gd name="connsiteY3470" fmla="*/ 4082248 h 6479439"/>
                <a:gd name="connsiteX3471" fmla="*/ 4064278 w 9586368"/>
                <a:gd name="connsiteY3471" fmla="*/ 4072377 h 6479439"/>
                <a:gd name="connsiteX3472" fmla="*/ 3828990 w 9586368"/>
                <a:gd name="connsiteY3472" fmla="*/ 4068339 h 6479439"/>
                <a:gd name="connsiteX3473" fmla="*/ 3838899 w 9586368"/>
                <a:gd name="connsiteY3473" fmla="*/ 4068339 h 6479439"/>
                <a:gd name="connsiteX3474" fmla="*/ 3842917 w 9586368"/>
                <a:gd name="connsiteY3474" fmla="*/ 4072377 h 6479439"/>
                <a:gd name="connsiteX3475" fmla="*/ 3842917 w 9586368"/>
                <a:gd name="connsiteY3475" fmla="*/ 4082248 h 6479439"/>
                <a:gd name="connsiteX3476" fmla="*/ 3838899 w 9586368"/>
                <a:gd name="connsiteY3476" fmla="*/ 4086287 h 6479439"/>
                <a:gd name="connsiteX3477" fmla="*/ 3828990 w 9586368"/>
                <a:gd name="connsiteY3477" fmla="*/ 4086287 h 6479439"/>
                <a:gd name="connsiteX3478" fmla="*/ 3824971 w 9586368"/>
                <a:gd name="connsiteY3478" fmla="*/ 4082248 h 6479439"/>
                <a:gd name="connsiteX3479" fmla="*/ 3824971 w 9586368"/>
                <a:gd name="connsiteY3479" fmla="*/ 4072377 h 6479439"/>
                <a:gd name="connsiteX3480" fmla="*/ 3589676 w 9586368"/>
                <a:gd name="connsiteY3480" fmla="*/ 4068339 h 6479439"/>
                <a:gd name="connsiteX3481" fmla="*/ 3599585 w 9586368"/>
                <a:gd name="connsiteY3481" fmla="*/ 4068339 h 6479439"/>
                <a:gd name="connsiteX3482" fmla="*/ 3603604 w 9586368"/>
                <a:gd name="connsiteY3482" fmla="*/ 4072377 h 6479439"/>
                <a:gd name="connsiteX3483" fmla="*/ 3603604 w 9586368"/>
                <a:gd name="connsiteY3483" fmla="*/ 4082248 h 6479439"/>
                <a:gd name="connsiteX3484" fmla="*/ 3599585 w 9586368"/>
                <a:gd name="connsiteY3484" fmla="*/ 4086287 h 6479439"/>
                <a:gd name="connsiteX3485" fmla="*/ 3589676 w 9586368"/>
                <a:gd name="connsiteY3485" fmla="*/ 4086287 h 6479439"/>
                <a:gd name="connsiteX3486" fmla="*/ 3585657 w 9586368"/>
                <a:gd name="connsiteY3486" fmla="*/ 4082248 h 6479439"/>
                <a:gd name="connsiteX3487" fmla="*/ 3585657 w 9586368"/>
                <a:gd name="connsiteY3487" fmla="*/ 4072377 h 6479439"/>
                <a:gd name="connsiteX3488" fmla="*/ 3350359 w 9586368"/>
                <a:gd name="connsiteY3488" fmla="*/ 4068339 h 6479439"/>
                <a:gd name="connsiteX3489" fmla="*/ 3360268 w 9586368"/>
                <a:gd name="connsiteY3489" fmla="*/ 4068339 h 6479439"/>
                <a:gd name="connsiteX3490" fmla="*/ 3364287 w 9586368"/>
                <a:gd name="connsiteY3490" fmla="*/ 4072377 h 6479439"/>
                <a:gd name="connsiteX3491" fmla="*/ 3364287 w 9586368"/>
                <a:gd name="connsiteY3491" fmla="*/ 4082248 h 6479439"/>
                <a:gd name="connsiteX3492" fmla="*/ 3360268 w 9586368"/>
                <a:gd name="connsiteY3492" fmla="*/ 4086287 h 6479439"/>
                <a:gd name="connsiteX3493" fmla="*/ 3350359 w 9586368"/>
                <a:gd name="connsiteY3493" fmla="*/ 4086287 h 6479439"/>
                <a:gd name="connsiteX3494" fmla="*/ 3346340 w 9586368"/>
                <a:gd name="connsiteY3494" fmla="*/ 4082248 h 6479439"/>
                <a:gd name="connsiteX3495" fmla="*/ 3346340 w 9586368"/>
                <a:gd name="connsiteY3495" fmla="*/ 4072377 h 6479439"/>
                <a:gd name="connsiteX3496" fmla="*/ 3111048 w 9586368"/>
                <a:gd name="connsiteY3496" fmla="*/ 4068339 h 6479439"/>
                <a:gd name="connsiteX3497" fmla="*/ 3120959 w 9586368"/>
                <a:gd name="connsiteY3497" fmla="*/ 4068339 h 6479439"/>
                <a:gd name="connsiteX3498" fmla="*/ 3124977 w 9586368"/>
                <a:gd name="connsiteY3498" fmla="*/ 4072377 h 6479439"/>
                <a:gd name="connsiteX3499" fmla="*/ 3124977 w 9586368"/>
                <a:gd name="connsiteY3499" fmla="*/ 4082248 h 6479439"/>
                <a:gd name="connsiteX3500" fmla="*/ 3120959 w 9586368"/>
                <a:gd name="connsiteY3500" fmla="*/ 4086287 h 6479439"/>
                <a:gd name="connsiteX3501" fmla="*/ 3111048 w 9586368"/>
                <a:gd name="connsiteY3501" fmla="*/ 4086287 h 6479439"/>
                <a:gd name="connsiteX3502" fmla="*/ 3107029 w 9586368"/>
                <a:gd name="connsiteY3502" fmla="*/ 4082248 h 6479439"/>
                <a:gd name="connsiteX3503" fmla="*/ 3107029 w 9586368"/>
                <a:gd name="connsiteY3503" fmla="*/ 4072377 h 6479439"/>
                <a:gd name="connsiteX3504" fmla="*/ 2871737 w 9586368"/>
                <a:gd name="connsiteY3504" fmla="*/ 4068339 h 6479439"/>
                <a:gd name="connsiteX3505" fmla="*/ 2881646 w 9586368"/>
                <a:gd name="connsiteY3505" fmla="*/ 4068339 h 6479439"/>
                <a:gd name="connsiteX3506" fmla="*/ 2885666 w 9586368"/>
                <a:gd name="connsiteY3506" fmla="*/ 4072377 h 6479439"/>
                <a:gd name="connsiteX3507" fmla="*/ 2885666 w 9586368"/>
                <a:gd name="connsiteY3507" fmla="*/ 4082248 h 6479439"/>
                <a:gd name="connsiteX3508" fmla="*/ 2881646 w 9586368"/>
                <a:gd name="connsiteY3508" fmla="*/ 4086287 h 6479439"/>
                <a:gd name="connsiteX3509" fmla="*/ 2871737 w 9586368"/>
                <a:gd name="connsiteY3509" fmla="*/ 4086287 h 6479439"/>
                <a:gd name="connsiteX3510" fmla="*/ 2867717 w 9586368"/>
                <a:gd name="connsiteY3510" fmla="*/ 4082248 h 6479439"/>
                <a:gd name="connsiteX3511" fmla="*/ 2867717 w 9586368"/>
                <a:gd name="connsiteY3511" fmla="*/ 4072377 h 6479439"/>
                <a:gd name="connsiteX3512" fmla="*/ 2632423 w 9586368"/>
                <a:gd name="connsiteY3512" fmla="*/ 4068339 h 6479439"/>
                <a:gd name="connsiteX3513" fmla="*/ 2642334 w 9586368"/>
                <a:gd name="connsiteY3513" fmla="*/ 4068339 h 6479439"/>
                <a:gd name="connsiteX3514" fmla="*/ 2646352 w 9586368"/>
                <a:gd name="connsiteY3514" fmla="*/ 4072377 h 6479439"/>
                <a:gd name="connsiteX3515" fmla="*/ 2646352 w 9586368"/>
                <a:gd name="connsiteY3515" fmla="*/ 4082248 h 6479439"/>
                <a:gd name="connsiteX3516" fmla="*/ 2642334 w 9586368"/>
                <a:gd name="connsiteY3516" fmla="*/ 4086287 h 6479439"/>
                <a:gd name="connsiteX3517" fmla="*/ 2632423 w 9586368"/>
                <a:gd name="connsiteY3517" fmla="*/ 4086287 h 6479439"/>
                <a:gd name="connsiteX3518" fmla="*/ 2628404 w 9586368"/>
                <a:gd name="connsiteY3518" fmla="*/ 4082248 h 6479439"/>
                <a:gd name="connsiteX3519" fmla="*/ 2628404 w 9586368"/>
                <a:gd name="connsiteY3519" fmla="*/ 4072377 h 6479439"/>
                <a:gd name="connsiteX3520" fmla="*/ 2393104 w 9586368"/>
                <a:gd name="connsiteY3520" fmla="*/ 4068339 h 6479439"/>
                <a:gd name="connsiteX3521" fmla="*/ 2403015 w 9586368"/>
                <a:gd name="connsiteY3521" fmla="*/ 4068339 h 6479439"/>
                <a:gd name="connsiteX3522" fmla="*/ 2407034 w 9586368"/>
                <a:gd name="connsiteY3522" fmla="*/ 4072377 h 6479439"/>
                <a:gd name="connsiteX3523" fmla="*/ 2407034 w 9586368"/>
                <a:gd name="connsiteY3523" fmla="*/ 4082248 h 6479439"/>
                <a:gd name="connsiteX3524" fmla="*/ 2403015 w 9586368"/>
                <a:gd name="connsiteY3524" fmla="*/ 4086287 h 6479439"/>
                <a:gd name="connsiteX3525" fmla="*/ 2393104 w 9586368"/>
                <a:gd name="connsiteY3525" fmla="*/ 4086287 h 6479439"/>
                <a:gd name="connsiteX3526" fmla="*/ 2389087 w 9586368"/>
                <a:gd name="connsiteY3526" fmla="*/ 4082248 h 6479439"/>
                <a:gd name="connsiteX3527" fmla="*/ 2389087 w 9586368"/>
                <a:gd name="connsiteY3527" fmla="*/ 4072377 h 6479439"/>
                <a:gd name="connsiteX3528" fmla="*/ 2157819 w 9586368"/>
                <a:gd name="connsiteY3528" fmla="*/ 4068339 h 6479439"/>
                <a:gd name="connsiteX3529" fmla="*/ 2167729 w 9586368"/>
                <a:gd name="connsiteY3529" fmla="*/ 4068339 h 6479439"/>
                <a:gd name="connsiteX3530" fmla="*/ 2171749 w 9586368"/>
                <a:gd name="connsiteY3530" fmla="*/ 4072377 h 6479439"/>
                <a:gd name="connsiteX3531" fmla="*/ 2171749 w 9586368"/>
                <a:gd name="connsiteY3531" fmla="*/ 4082248 h 6479439"/>
                <a:gd name="connsiteX3532" fmla="*/ 2167729 w 9586368"/>
                <a:gd name="connsiteY3532" fmla="*/ 4086287 h 6479439"/>
                <a:gd name="connsiteX3533" fmla="*/ 2157819 w 9586368"/>
                <a:gd name="connsiteY3533" fmla="*/ 4086287 h 6479439"/>
                <a:gd name="connsiteX3534" fmla="*/ 2153801 w 9586368"/>
                <a:gd name="connsiteY3534" fmla="*/ 4082248 h 6479439"/>
                <a:gd name="connsiteX3535" fmla="*/ 2153801 w 9586368"/>
                <a:gd name="connsiteY3535" fmla="*/ 4072377 h 6479439"/>
                <a:gd name="connsiteX3536" fmla="*/ 1918511 w 9586368"/>
                <a:gd name="connsiteY3536" fmla="*/ 4068339 h 6479439"/>
                <a:gd name="connsiteX3537" fmla="*/ 1928421 w 9586368"/>
                <a:gd name="connsiteY3537" fmla="*/ 4068339 h 6479439"/>
                <a:gd name="connsiteX3538" fmla="*/ 1932440 w 9586368"/>
                <a:gd name="connsiteY3538" fmla="*/ 4072377 h 6479439"/>
                <a:gd name="connsiteX3539" fmla="*/ 1932440 w 9586368"/>
                <a:gd name="connsiteY3539" fmla="*/ 4082248 h 6479439"/>
                <a:gd name="connsiteX3540" fmla="*/ 1928421 w 9586368"/>
                <a:gd name="connsiteY3540" fmla="*/ 4086287 h 6479439"/>
                <a:gd name="connsiteX3541" fmla="*/ 1918511 w 9586368"/>
                <a:gd name="connsiteY3541" fmla="*/ 4086287 h 6479439"/>
                <a:gd name="connsiteX3542" fmla="*/ 1914492 w 9586368"/>
                <a:gd name="connsiteY3542" fmla="*/ 4082248 h 6479439"/>
                <a:gd name="connsiteX3543" fmla="*/ 1914492 w 9586368"/>
                <a:gd name="connsiteY3543" fmla="*/ 4072377 h 6479439"/>
                <a:gd name="connsiteX3544" fmla="*/ 1679207 w 9586368"/>
                <a:gd name="connsiteY3544" fmla="*/ 4068339 h 6479439"/>
                <a:gd name="connsiteX3545" fmla="*/ 1689117 w 9586368"/>
                <a:gd name="connsiteY3545" fmla="*/ 4068339 h 6479439"/>
                <a:gd name="connsiteX3546" fmla="*/ 1693137 w 9586368"/>
                <a:gd name="connsiteY3546" fmla="*/ 4072377 h 6479439"/>
                <a:gd name="connsiteX3547" fmla="*/ 1693137 w 9586368"/>
                <a:gd name="connsiteY3547" fmla="*/ 4082248 h 6479439"/>
                <a:gd name="connsiteX3548" fmla="*/ 1689117 w 9586368"/>
                <a:gd name="connsiteY3548" fmla="*/ 4086287 h 6479439"/>
                <a:gd name="connsiteX3549" fmla="*/ 1679207 w 9586368"/>
                <a:gd name="connsiteY3549" fmla="*/ 4086287 h 6479439"/>
                <a:gd name="connsiteX3550" fmla="*/ 1675189 w 9586368"/>
                <a:gd name="connsiteY3550" fmla="*/ 4082248 h 6479439"/>
                <a:gd name="connsiteX3551" fmla="*/ 1675189 w 9586368"/>
                <a:gd name="connsiteY3551" fmla="*/ 4072377 h 6479439"/>
                <a:gd name="connsiteX3552" fmla="*/ 1439891 w 9586368"/>
                <a:gd name="connsiteY3552" fmla="*/ 4068339 h 6479439"/>
                <a:gd name="connsiteX3553" fmla="*/ 1449802 w 9586368"/>
                <a:gd name="connsiteY3553" fmla="*/ 4068339 h 6479439"/>
                <a:gd name="connsiteX3554" fmla="*/ 1453820 w 9586368"/>
                <a:gd name="connsiteY3554" fmla="*/ 4072377 h 6479439"/>
                <a:gd name="connsiteX3555" fmla="*/ 1453820 w 9586368"/>
                <a:gd name="connsiteY3555" fmla="*/ 4082248 h 6479439"/>
                <a:gd name="connsiteX3556" fmla="*/ 1449802 w 9586368"/>
                <a:gd name="connsiteY3556" fmla="*/ 4086287 h 6479439"/>
                <a:gd name="connsiteX3557" fmla="*/ 1439891 w 9586368"/>
                <a:gd name="connsiteY3557" fmla="*/ 4086287 h 6479439"/>
                <a:gd name="connsiteX3558" fmla="*/ 1435873 w 9586368"/>
                <a:gd name="connsiteY3558" fmla="*/ 4082248 h 6479439"/>
                <a:gd name="connsiteX3559" fmla="*/ 1435873 w 9586368"/>
                <a:gd name="connsiteY3559" fmla="*/ 4072377 h 6479439"/>
                <a:gd name="connsiteX3560" fmla="*/ 1200576 w 9586368"/>
                <a:gd name="connsiteY3560" fmla="*/ 4068339 h 6479439"/>
                <a:gd name="connsiteX3561" fmla="*/ 1210486 w 9586368"/>
                <a:gd name="connsiteY3561" fmla="*/ 4068339 h 6479439"/>
                <a:gd name="connsiteX3562" fmla="*/ 1214505 w 9586368"/>
                <a:gd name="connsiteY3562" fmla="*/ 4072377 h 6479439"/>
                <a:gd name="connsiteX3563" fmla="*/ 1214505 w 9586368"/>
                <a:gd name="connsiteY3563" fmla="*/ 4082248 h 6479439"/>
                <a:gd name="connsiteX3564" fmla="*/ 1210486 w 9586368"/>
                <a:gd name="connsiteY3564" fmla="*/ 4086287 h 6479439"/>
                <a:gd name="connsiteX3565" fmla="*/ 1200576 w 9586368"/>
                <a:gd name="connsiteY3565" fmla="*/ 4086287 h 6479439"/>
                <a:gd name="connsiteX3566" fmla="*/ 1196558 w 9586368"/>
                <a:gd name="connsiteY3566" fmla="*/ 4082248 h 6479439"/>
                <a:gd name="connsiteX3567" fmla="*/ 1196558 w 9586368"/>
                <a:gd name="connsiteY3567" fmla="*/ 4072377 h 6479439"/>
                <a:gd name="connsiteX3568" fmla="*/ 961263 w 9586368"/>
                <a:gd name="connsiteY3568" fmla="*/ 4068339 h 6479439"/>
                <a:gd name="connsiteX3569" fmla="*/ 971174 w 9586368"/>
                <a:gd name="connsiteY3569" fmla="*/ 4068339 h 6479439"/>
                <a:gd name="connsiteX3570" fmla="*/ 975192 w 9586368"/>
                <a:gd name="connsiteY3570" fmla="*/ 4072377 h 6479439"/>
                <a:gd name="connsiteX3571" fmla="*/ 975192 w 9586368"/>
                <a:gd name="connsiteY3571" fmla="*/ 4082248 h 6479439"/>
                <a:gd name="connsiteX3572" fmla="*/ 971174 w 9586368"/>
                <a:gd name="connsiteY3572" fmla="*/ 4086287 h 6479439"/>
                <a:gd name="connsiteX3573" fmla="*/ 961263 w 9586368"/>
                <a:gd name="connsiteY3573" fmla="*/ 4086287 h 6479439"/>
                <a:gd name="connsiteX3574" fmla="*/ 957244 w 9586368"/>
                <a:gd name="connsiteY3574" fmla="*/ 4082248 h 6479439"/>
                <a:gd name="connsiteX3575" fmla="*/ 957244 w 9586368"/>
                <a:gd name="connsiteY3575" fmla="*/ 4072377 h 6479439"/>
                <a:gd name="connsiteX3576" fmla="*/ 721965 w 9586368"/>
                <a:gd name="connsiteY3576" fmla="*/ 4068339 h 6479439"/>
                <a:gd name="connsiteX3577" fmla="*/ 731876 w 9586368"/>
                <a:gd name="connsiteY3577" fmla="*/ 4068339 h 6479439"/>
                <a:gd name="connsiteX3578" fmla="*/ 735894 w 9586368"/>
                <a:gd name="connsiteY3578" fmla="*/ 4072377 h 6479439"/>
                <a:gd name="connsiteX3579" fmla="*/ 735894 w 9586368"/>
                <a:gd name="connsiteY3579" fmla="*/ 4082248 h 6479439"/>
                <a:gd name="connsiteX3580" fmla="*/ 731876 w 9586368"/>
                <a:gd name="connsiteY3580" fmla="*/ 4086287 h 6479439"/>
                <a:gd name="connsiteX3581" fmla="*/ 721965 w 9586368"/>
                <a:gd name="connsiteY3581" fmla="*/ 4086287 h 6479439"/>
                <a:gd name="connsiteX3582" fmla="*/ 717946 w 9586368"/>
                <a:gd name="connsiteY3582" fmla="*/ 4082248 h 6479439"/>
                <a:gd name="connsiteX3583" fmla="*/ 717946 w 9586368"/>
                <a:gd name="connsiteY3583" fmla="*/ 4072377 h 6479439"/>
                <a:gd name="connsiteX3584" fmla="*/ 482653 w 9586368"/>
                <a:gd name="connsiteY3584" fmla="*/ 4068339 h 6479439"/>
                <a:gd name="connsiteX3585" fmla="*/ 492563 w 9586368"/>
                <a:gd name="connsiteY3585" fmla="*/ 4068339 h 6479439"/>
                <a:gd name="connsiteX3586" fmla="*/ 496583 w 9586368"/>
                <a:gd name="connsiteY3586" fmla="*/ 4072377 h 6479439"/>
                <a:gd name="connsiteX3587" fmla="*/ 496583 w 9586368"/>
                <a:gd name="connsiteY3587" fmla="*/ 4082248 h 6479439"/>
                <a:gd name="connsiteX3588" fmla="*/ 492563 w 9586368"/>
                <a:gd name="connsiteY3588" fmla="*/ 4086287 h 6479439"/>
                <a:gd name="connsiteX3589" fmla="*/ 482653 w 9586368"/>
                <a:gd name="connsiteY3589" fmla="*/ 4086287 h 6479439"/>
                <a:gd name="connsiteX3590" fmla="*/ 478634 w 9586368"/>
                <a:gd name="connsiteY3590" fmla="*/ 4082248 h 6479439"/>
                <a:gd name="connsiteX3591" fmla="*/ 478634 w 9586368"/>
                <a:gd name="connsiteY3591" fmla="*/ 4072377 h 6479439"/>
                <a:gd name="connsiteX3592" fmla="*/ 243339 w 9586368"/>
                <a:gd name="connsiteY3592" fmla="*/ 4068339 h 6479439"/>
                <a:gd name="connsiteX3593" fmla="*/ 253250 w 9586368"/>
                <a:gd name="connsiteY3593" fmla="*/ 4068339 h 6479439"/>
                <a:gd name="connsiteX3594" fmla="*/ 257269 w 9586368"/>
                <a:gd name="connsiteY3594" fmla="*/ 4072377 h 6479439"/>
                <a:gd name="connsiteX3595" fmla="*/ 257269 w 9586368"/>
                <a:gd name="connsiteY3595" fmla="*/ 4082248 h 6479439"/>
                <a:gd name="connsiteX3596" fmla="*/ 253250 w 9586368"/>
                <a:gd name="connsiteY3596" fmla="*/ 4086287 h 6479439"/>
                <a:gd name="connsiteX3597" fmla="*/ 243339 w 9586368"/>
                <a:gd name="connsiteY3597" fmla="*/ 4086287 h 6479439"/>
                <a:gd name="connsiteX3598" fmla="*/ 239320 w 9586368"/>
                <a:gd name="connsiteY3598" fmla="*/ 4082248 h 6479439"/>
                <a:gd name="connsiteX3599" fmla="*/ 239320 w 9586368"/>
                <a:gd name="connsiteY3599" fmla="*/ 4072377 h 6479439"/>
                <a:gd name="connsiteX3600" fmla="*/ 4026 w 9586368"/>
                <a:gd name="connsiteY3600" fmla="*/ 4068339 h 6479439"/>
                <a:gd name="connsiteX3601" fmla="*/ 13936 w 9586368"/>
                <a:gd name="connsiteY3601" fmla="*/ 4068339 h 6479439"/>
                <a:gd name="connsiteX3602" fmla="*/ 17956 w 9586368"/>
                <a:gd name="connsiteY3602" fmla="*/ 4072377 h 6479439"/>
                <a:gd name="connsiteX3603" fmla="*/ 17956 w 9586368"/>
                <a:gd name="connsiteY3603" fmla="*/ 4082248 h 6479439"/>
                <a:gd name="connsiteX3604" fmla="*/ 13936 w 9586368"/>
                <a:gd name="connsiteY3604" fmla="*/ 4086287 h 6479439"/>
                <a:gd name="connsiteX3605" fmla="*/ 4026 w 9586368"/>
                <a:gd name="connsiteY3605" fmla="*/ 4086287 h 6479439"/>
                <a:gd name="connsiteX3606" fmla="*/ 7 w 9586368"/>
                <a:gd name="connsiteY3606" fmla="*/ 4082248 h 6479439"/>
                <a:gd name="connsiteX3607" fmla="*/ 7 w 9586368"/>
                <a:gd name="connsiteY3607" fmla="*/ 4072377 h 6479439"/>
                <a:gd name="connsiteX3608" fmla="*/ 2157820 w 9586368"/>
                <a:gd name="connsiteY3608" fmla="*/ 3829058 h 6479439"/>
                <a:gd name="connsiteX3609" fmla="*/ 2167731 w 9586368"/>
                <a:gd name="connsiteY3609" fmla="*/ 3829058 h 6479439"/>
                <a:gd name="connsiteX3610" fmla="*/ 2171749 w 9586368"/>
                <a:gd name="connsiteY3610" fmla="*/ 3833097 h 6479439"/>
                <a:gd name="connsiteX3611" fmla="*/ 2171749 w 9586368"/>
                <a:gd name="connsiteY3611" fmla="*/ 3842968 h 6479439"/>
                <a:gd name="connsiteX3612" fmla="*/ 2167731 w 9586368"/>
                <a:gd name="connsiteY3612" fmla="*/ 3847007 h 6479439"/>
                <a:gd name="connsiteX3613" fmla="*/ 2157820 w 9586368"/>
                <a:gd name="connsiteY3613" fmla="*/ 3847007 h 6479439"/>
                <a:gd name="connsiteX3614" fmla="*/ 2153801 w 9586368"/>
                <a:gd name="connsiteY3614" fmla="*/ 3842968 h 6479439"/>
                <a:gd name="connsiteX3615" fmla="*/ 2153801 w 9586368"/>
                <a:gd name="connsiteY3615" fmla="*/ 3833097 h 6479439"/>
                <a:gd name="connsiteX3616" fmla="*/ 1918511 w 9586368"/>
                <a:gd name="connsiteY3616" fmla="*/ 3829058 h 6479439"/>
                <a:gd name="connsiteX3617" fmla="*/ 1928421 w 9586368"/>
                <a:gd name="connsiteY3617" fmla="*/ 3829058 h 6479439"/>
                <a:gd name="connsiteX3618" fmla="*/ 1932440 w 9586368"/>
                <a:gd name="connsiteY3618" fmla="*/ 3833097 h 6479439"/>
                <a:gd name="connsiteX3619" fmla="*/ 1932440 w 9586368"/>
                <a:gd name="connsiteY3619" fmla="*/ 3842968 h 6479439"/>
                <a:gd name="connsiteX3620" fmla="*/ 1928421 w 9586368"/>
                <a:gd name="connsiteY3620" fmla="*/ 3847007 h 6479439"/>
                <a:gd name="connsiteX3621" fmla="*/ 1918511 w 9586368"/>
                <a:gd name="connsiteY3621" fmla="*/ 3847007 h 6479439"/>
                <a:gd name="connsiteX3622" fmla="*/ 1914493 w 9586368"/>
                <a:gd name="connsiteY3622" fmla="*/ 3842968 h 6479439"/>
                <a:gd name="connsiteX3623" fmla="*/ 1914493 w 9586368"/>
                <a:gd name="connsiteY3623" fmla="*/ 3833097 h 6479439"/>
                <a:gd name="connsiteX3624" fmla="*/ 1679209 w 9586368"/>
                <a:gd name="connsiteY3624" fmla="*/ 3829058 h 6479439"/>
                <a:gd name="connsiteX3625" fmla="*/ 1689118 w 9586368"/>
                <a:gd name="connsiteY3625" fmla="*/ 3829058 h 6479439"/>
                <a:gd name="connsiteX3626" fmla="*/ 1693137 w 9586368"/>
                <a:gd name="connsiteY3626" fmla="*/ 3833097 h 6479439"/>
                <a:gd name="connsiteX3627" fmla="*/ 1693137 w 9586368"/>
                <a:gd name="connsiteY3627" fmla="*/ 3842968 h 6479439"/>
                <a:gd name="connsiteX3628" fmla="*/ 1689118 w 9586368"/>
                <a:gd name="connsiteY3628" fmla="*/ 3847007 h 6479439"/>
                <a:gd name="connsiteX3629" fmla="*/ 1679209 w 9586368"/>
                <a:gd name="connsiteY3629" fmla="*/ 3847007 h 6479439"/>
                <a:gd name="connsiteX3630" fmla="*/ 1675189 w 9586368"/>
                <a:gd name="connsiteY3630" fmla="*/ 3842968 h 6479439"/>
                <a:gd name="connsiteX3631" fmla="*/ 1675189 w 9586368"/>
                <a:gd name="connsiteY3631" fmla="*/ 3833097 h 6479439"/>
                <a:gd name="connsiteX3632" fmla="*/ 1439892 w 9586368"/>
                <a:gd name="connsiteY3632" fmla="*/ 3829058 h 6479439"/>
                <a:gd name="connsiteX3633" fmla="*/ 1449802 w 9586368"/>
                <a:gd name="connsiteY3633" fmla="*/ 3829058 h 6479439"/>
                <a:gd name="connsiteX3634" fmla="*/ 1453820 w 9586368"/>
                <a:gd name="connsiteY3634" fmla="*/ 3833097 h 6479439"/>
                <a:gd name="connsiteX3635" fmla="*/ 1453820 w 9586368"/>
                <a:gd name="connsiteY3635" fmla="*/ 3842968 h 6479439"/>
                <a:gd name="connsiteX3636" fmla="*/ 1449802 w 9586368"/>
                <a:gd name="connsiteY3636" fmla="*/ 3847007 h 6479439"/>
                <a:gd name="connsiteX3637" fmla="*/ 1439892 w 9586368"/>
                <a:gd name="connsiteY3637" fmla="*/ 3847007 h 6479439"/>
                <a:gd name="connsiteX3638" fmla="*/ 1435874 w 9586368"/>
                <a:gd name="connsiteY3638" fmla="*/ 3842968 h 6479439"/>
                <a:gd name="connsiteX3639" fmla="*/ 1435874 w 9586368"/>
                <a:gd name="connsiteY3639" fmla="*/ 3833097 h 6479439"/>
                <a:gd name="connsiteX3640" fmla="*/ 1200577 w 9586368"/>
                <a:gd name="connsiteY3640" fmla="*/ 3829058 h 6479439"/>
                <a:gd name="connsiteX3641" fmla="*/ 1210487 w 9586368"/>
                <a:gd name="connsiteY3641" fmla="*/ 3829058 h 6479439"/>
                <a:gd name="connsiteX3642" fmla="*/ 1214506 w 9586368"/>
                <a:gd name="connsiteY3642" fmla="*/ 3833097 h 6479439"/>
                <a:gd name="connsiteX3643" fmla="*/ 1214506 w 9586368"/>
                <a:gd name="connsiteY3643" fmla="*/ 3842968 h 6479439"/>
                <a:gd name="connsiteX3644" fmla="*/ 1210487 w 9586368"/>
                <a:gd name="connsiteY3644" fmla="*/ 3847007 h 6479439"/>
                <a:gd name="connsiteX3645" fmla="*/ 1200577 w 9586368"/>
                <a:gd name="connsiteY3645" fmla="*/ 3847007 h 6479439"/>
                <a:gd name="connsiteX3646" fmla="*/ 1196558 w 9586368"/>
                <a:gd name="connsiteY3646" fmla="*/ 3842968 h 6479439"/>
                <a:gd name="connsiteX3647" fmla="*/ 1196558 w 9586368"/>
                <a:gd name="connsiteY3647" fmla="*/ 3833097 h 6479439"/>
                <a:gd name="connsiteX3648" fmla="*/ 961264 w 9586368"/>
                <a:gd name="connsiteY3648" fmla="*/ 3829058 h 6479439"/>
                <a:gd name="connsiteX3649" fmla="*/ 971174 w 9586368"/>
                <a:gd name="connsiteY3649" fmla="*/ 3829058 h 6479439"/>
                <a:gd name="connsiteX3650" fmla="*/ 975193 w 9586368"/>
                <a:gd name="connsiteY3650" fmla="*/ 3833097 h 6479439"/>
                <a:gd name="connsiteX3651" fmla="*/ 975193 w 9586368"/>
                <a:gd name="connsiteY3651" fmla="*/ 3842968 h 6479439"/>
                <a:gd name="connsiteX3652" fmla="*/ 971174 w 9586368"/>
                <a:gd name="connsiteY3652" fmla="*/ 3847007 h 6479439"/>
                <a:gd name="connsiteX3653" fmla="*/ 961264 w 9586368"/>
                <a:gd name="connsiteY3653" fmla="*/ 3847007 h 6479439"/>
                <a:gd name="connsiteX3654" fmla="*/ 957245 w 9586368"/>
                <a:gd name="connsiteY3654" fmla="*/ 3842968 h 6479439"/>
                <a:gd name="connsiteX3655" fmla="*/ 957245 w 9586368"/>
                <a:gd name="connsiteY3655" fmla="*/ 3833097 h 6479439"/>
                <a:gd name="connsiteX3656" fmla="*/ 9572438 w 9586368"/>
                <a:gd name="connsiteY3656" fmla="*/ 3829008 h 6479439"/>
                <a:gd name="connsiteX3657" fmla="*/ 9582349 w 9586368"/>
                <a:gd name="connsiteY3657" fmla="*/ 3829008 h 6479439"/>
                <a:gd name="connsiteX3658" fmla="*/ 9586368 w 9586368"/>
                <a:gd name="connsiteY3658" fmla="*/ 3833046 h 6479439"/>
                <a:gd name="connsiteX3659" fmla="*/ 9586368 w 9586368"/>
                <a:gd name="connsiteY3659" fmla="*/ 3842917 h 6479439"/>
                <a:gd name="connsiteX3660" fmla="*/ 9582349 w 9586368"/>
                <a:gd name="connsiteY3660" fmla="*/ 3846956 h 6479439"/>
                <a:gd name="connsiteX3661" fmla="*/ 9572438 w 9586368"/>
                <a:gd name="connsiteY3661" fmla="*/ 3846956 h 6479439"/>
                <a:gd name="connsiteX3662" fmla="*/ 9568419 w 9586368"/>
                <a:gd name="connsiteY3662" fmla="*/ 3842917 h 6479439"/>
                <a:gd name="connsiteX3663" fmla="*/ 9568419 w 9586368"/>
                <a:gd name="connsiteY3663" fmla="*/ 3833046 h 6479439"/>
                <a:gd name="connsiteX3664" fmla="*/ 9333125 w 9586368"/>
                <a:gd name="connsiteY3664" fmla="*/ 3829008 h 6479439"/>
                <a:gd name="connsiteX3665" fmla="*/ 9343036 w 9586368"/>
                <a:gd name="connsiteY3665" fmla="*/ 3829008 h 6479439"/>
                <a:gd name="connsiteX3666" fmla="*/ 9347055 w 9586368"/>
                <a:gd name="connsiteY3666" fmla="*/ 3833046 h 6479439"/>
                <a:gd name="connsiteX3667" fmla="*/ 9347055 w 9586368"/>
                <a:gd name="connsiteY3667" fmla="*/ 3842917 h 6479439"/>
                <a:gd name="connsiteX3668" fmla="*/ 9343036 w 9586368"/>
                <a:gd name="connsiteY3668" fmla="*/ 3846956 h 6479439"/>
                <a:gd name="connsiteX3669" fmla="*/ 9333125 w 9586368"/>
                <a:gd name="connsiteY3669" fmla="*/ 3846956 h 6479439"/>
                <a:gd name="connsiteX3670" fmla="*/ 9329106 w 9586368"/>
                <a:gd name="connsiteY3670" fmla="*/ 3842917 h 6479439"/>
                <a:gd name="connsiteX3671" fmla="*/ 9329106 w 9586368"/>
                <a:gd name="connsiteY3671" fmla="*/ 3833046 h 6479439"/>
                <a:gd name="connsiteX3672" fmla="*/ 9093811 w 9586368"/>
                <a:gd name="connsiteY3672" fmla="*/ 3829008 h 6479439"/>
                <a:gd name="connsiteX3673" fmla="*/ 9103722 w 9586368"/>
                <a:gd name="connsiteY3673" fmla="*/ 3829008 h 6479439"/>
                <a:gd name="connsiteX3674" fmla="*/ 9107741 w 9586368"/>
                <a:gd name="connsiteY3674" fmla="*/ 3833046 h 6479439"/>
                <a:gd name="connsiteX3675" fmla="*/ 9107741 w 9586368"/>
                <a:gd name="connsiteY3675" fmla="*/ 3842917 h 6479439"/>
                <a:gd name="connsiteX3676" fmla="*/ 9103722 w 9586368"/>
                <a:gd name="connsiteY3676" fmla="*/ 3846956 h 6479439"/>
                <a:gd name="connsiteX3677" fmla="*/ 9093811 w 9586368"/>
                <a:gd name="connsiteY3677" fmla="*/ 3846956 h 6479439"/>
                <a:gd name="connsiteX3678" fmla="*/ 9089792 w 9586368"/>
                <a:gd name="connsiteY3678" fmla="*/ 3842917 h 6479439"/>
                <a:gd name="connsiteX3679" fmla="*/ 9089792 w 9586368"/>
                <a:gd name="connsiteY3679" fmla="*/ 3833046 h 6479439"/>
                <a:gd name="connsiteX3680" fmla="*/ 8854496 w 9586368"/>
                <a:gd name="connsiteY3680" fmla="*/ 3829008 h 6479439"/>
                <a:gd name="connsiteX3681" fmla="*/ 8864407 w 9586368"/>
                <a:gd name="connsiteY3681" fmla="*/ 3829008 h 6479439"/>
                <a:gd name="connsiteX3682" fmla="*/ 8868426 w 9586368"/>
                <a:gd name="connsiteY3682" fmla="*/ 3833046 h 6479439"/>
                <a:gd name="connsiteX3683" fmla="*/ 8868426 w 9586368"/>
                <a:gd name="connsiteY3683" fmla="*/ 3842917 h 6479439"/>
                <a:gd name="connsiteX3684" fmla="*/ 8864407 w 9586368"/>
                <a:gd name="connsiteY3684" fmla="*/ 3846956 h 6479439"/>
                <a:gd name="connsiteX3685" fmla="*/ 8854496 w 9586368"/>
                <a:gd name="connsiteY3685" fmla="*/ 3846956 h 6479439"/>
                <a:gd name="connsiteX3686" fmla="*/ 8850477 w 9586368"/>
                <a:gd name="connsiteY3686" fmla="*/ 3842917 h 6479439"/>
                <a:gd name="connsiteX3687" fmla="*/ 8850477 w 9586368"/>
                <a:gd name="connsiteY3687" fmla="*/ 3833046 h 6479439"/>
                <a:gd name="connsiteX3688" fmla="*/ 8615184 w 9586368"/>
                <a:gd name="connsiteY3688" fmla="*/ 3829008 h 6479439"/>
                <a:gd name="connsiteX3689" fmla="*/ 8625095 w 9586368"/>
                <a:gd name="connsiteY3689" fmla="*/ 3829008 h 6479439"/>
                <a:gd name="connsiteX3690" fmla="*/ 8629114 w 9586368"/>
                <a:gd name="connsiteY3690" fmla="*/ 3833046 h 6479439"/>
                <a:gd name="connsiteX3691" fmla="*/ 8629114 w 9586368"/>
                <a:gd name="connsiteY3691" fmla="*/ 3842917 h 6479439"/>
                <a:gd name="connsiteX3692" fmla="*/ 8625095 w 9586368"/>
                <a:gd name="connsiteY3692" fmla="*/ 3846956 h 6479439"/>
                <a:gd name="connsiteX3693" fmla="*/ 8615184 w 9586368"/>
                <a:gd name="connsiteY3693" fmla="*/ 3846956 h 6479439"/>
                <a:gd name="connsiteX3694" fmla="*/ 8611165 w 9586368"/>
                <a:gd name="connsiteY3694" fmla="*/ 3842917 h 6479439"/>
                <a:gd name="connsiteX3695" fmla="*/ 8611165 w 9586368"/>
                <a:gd name="connsiteY3695" fmla="*/ 3833046 h 6479439"/>
                <a:gd name="connsiteX3696" fmla="*/ 8375869 w 9586368"/>
                <a:gd name="connsiteY3696" fmla="*/ 3829008 h 6479439"/>
                <a:gd name="connsiteX3697" fmla="*/ 8385779 w 9586368"/>
                <a:gd name="connsiteY3697" fmla="*/ 3829008 h 6479439"/>
                <a:gd name="connsiteX3698" fmla="*/ 8389799 w 9586368"/>
                <a:gd name="connsiteY3698" fmla="*/ 3833046 h 6479439"/>
                <a:gd name="connsiteX3699" fmla="*/ 8389799 w 9586368"/>
                <a:gd name="connsiteY3699" fmla="*/ 3842917 h 6479439"/>
                <a:gd name="connsiteX3700" fmla="*/ 8385779 w 9586368"/>
                <a:gd name="connsiteY3700" fmla="*/ 3846956 h 6479439"/>
                <a:gd name="connsiteX3701" fmla="*/ 8375869 w 9586368"/>
                <a:gd name="connsiteY3701" fmla="*/ 3846956 h 6479439"/>
                <a:gd name="connsiteX3702" fmla="*/ 8371850 w 9586368"/>
                <a:gd name="connsiteY3702" fmla="*/ 3842917 h 6479439"/>
                <a:gd name="connsiteX3703" fmla="*/ 8371850 w 9586368"/>
                <a:gd name="connsiteY3703" fmla="*/ 3833046 h 6479439"/>
                <a:gd name="connsiteX3704" fmla="*/ 8136553 w 9586368"/>
                <a:gd name="connsiteY3704" fmla="*/ 3829008 h 6479439"/>
                <a:gd name="connsiteX3705" fmla="*/ 8146464 w 9586368"/>
                <a:gd name="connsiteY3705" fmla="*/ 3829008 h 6479439"/>
                <a:gd name="connsiteX3706" fmla="*/ 8150483 w 9586368"/>
                <a:gd name="connsiteY3706" fmla="*/ 3833046 h 6479439"/>
                <a:gd name="connsiteX3707" fmla="*/ 8150483 w 9586368"/>
                <a:gd name="connsiteY3707" fmla="*/ 3842917 h 6479439"/>
                <a:gd name="connsiteX3708" fmla="*/ 8146464 w 9586368"/>
                <a:gd name="connsiteY3708" fmla="*/ 3846956 h 6479439"/>
                <a:gd name="connsiteX3709" fmla="*/ 8136553 w 9586368"/>
                <a:gd name="connsiteY3709" fmla="*/ 3846956 h 6479439"/>
                <a:gd name="connsiteX3710" fmla="*/ 8132534 w 9586368"/>
                <a:gd name="connsiteY3710" fmla="*/ 3842917 h 6479439"/>
                <a:gd name="connsiteX3711" fmla="*/ 8132534 w 9586368"/>
                <a:gd name="connsiteY3711" fmla="*/ 3833046 h 6479439"/>
                <a:gd name="connsiteX3712" fmla="*/ 7897241 w 9586368"/>
                <a:gd name="connsiteY3712" fmla="*/ 3829008 h 6479439"/>
                <a:gd name="connsiteX3713" fmla="*/ 7907151 w 9586368"/>
                <a:gd name="connsiteY3713" fmla="*/ 3829008 h 6479439"/>
                <a:gd name="connsiteX3714" fmla="*/ 7911170 w 9586368"/>
                <a:gd name="connsiteY3714" fmla="*/ 3833046 h 6479439"/>
                <a:gd name="connsiteX3715" fmla="*/ 7911170 w 9586368"/>
                <a:gd name="connsiteY3715" fmla="*/ 3842917 h 6479439"/>
                <a:gd name="connsiteX3716" fmla="*/ 7907151 w 9586368"/>
                <a:gd name="connsiteY3716" fmla="*/ 3846956 h 6479439"/>
                <a:gd name="connsiteX3717" fmla="*/ 7897241 w 9586368"/>
                <a:gd name="connsiteY3717" fmla="*/ 3846956 h 6479439"/>
                <a:gd name="connsiteX3718" fmla="*/ 7893222 w 9586368"/>
                <a:gd name="connsiteY3718" fmla="*/ 3842917 h 6479439"/>
                <a:gd name="connsiteX3719" fmla="*/ 7893222 w 9586368"/>
                <a:gd name="connsiteY3719" fmla="*/ 3833046 h 6479439"/>
                <a:gd name="connsiteX3720" fmla="*/ 7657926 w 9586368"/>
                <a:gd name="connsiteY3720" fmla="*/ 3829008 h 6479439"/>
                <a:gd name="connsiteX3721" fmla="*/ 7667836 w 9586368"/>
                <a:gd name="connsiteY3721" fmla="*/ 3829008 h 6479439"/>
                <a:gd name="connsiteX3722" fmla="*/ 7671855 w 9586368"/>
                <a:gd name="connsiteY3722" fmla="*/ 3833046 h 6479439"/>
                <a:gd name="connsiteX3723" fmla="*/ 7671855 w 9586368"/>
                <a:gd name="connsiteY3723" fmla="*/ 3842917 h 6479439"/>
                <a:gd name="connsiteX3724" fmla="*/ 7667836 w 9586368"/>
                <a:gd name="connsiteY3724" fmla="*/ 3846956 h 6479439"/>
                <a:gd name="connsiteX3725" fmla="*/ 7657926 w 9586368"/>
                <a:gd name="connsiteY3725" fmla="*/ 3846956 h 6479439"/>
                <a:gd name="connsiteX3726" fmla="*/ 7653906 w 9586368"/>
                <a:gd name="connsiteY3726" fmla="*/ 3842917 h 6479439"/>
                <a:gd name="connsiteX3727" fmla="*/ 7653906 w 9586368"/>
                <a:gd name="connsiteY3727" fmla="*/ 3833046 h 6479439"/>
                <a:gd name="connsiteX3728" fmla="*/ 7418611 w 9586368"/>
                <a:gd name="connsiteY3728" fmla="*/ 3829008 h 6479439"/>
                <a:gd name="connsiteX3729" fmla="*/ 7428521 w 9586368"/>
                <a:gd name="connsiteY3729" fmla="*/ 3829008 h 6479439"/>
                <a:gd name="connsiteX3730" fmla="*/ 7432540 w 9586368"/>
                <a:gd name="connsiteY3730" fmla="*/ 3833046 h 6479439"/>
                <a:gd name="connsiteX3731" fmla="*/ 7432540 w 9586368"/>
                <a:gd name="connsiteY3731" fmla="*/ 3842917 h 6479439"/>
                <a:gd name="connsiteX3732" fmla="*/ 7428521 w 9586368"/>
                <a:gd name="connsiteY3732" fmla="*/ 3846956 h 6479439"/>
                <a:gd name="connsiteX3733" fmla="*/ 7418611 w 9586368"/>
                <a:gd name="connsiteY3733" fmla="*/ 3846956 h 6479439"/>
                <a:gd name="connsiteX3734" fmla="*/ 7414592 w 9586368"/>
                <a:gd name="connsiteY3734" fmla="*/ 3842917 h 6479439"/>
                <a:gd name="connsiteX3735" fmla="*/ 7414592 w 9586368"/>
                <a:gd name="connsiteY3735" fmla="*/ 3833046 h 6479439"/>
                <a:gd name="connsiteX3736" fmla="*/ 7179298 w 9586368"/>
                <a:gd name="connsiteY3736" fmla="*/ 3829008 h 6479439"/>
                <a:gd name="connsiteX3737" fmla="*/ 7189209 w 9586368"/>
                <a:gd name="connsiteY3737" fmla="*/ 3829008 h 6479439"/>
                <a:gd name="connsiteX3738" fmla="*/ 7193228 w 9586368"/>
                <a:gd name="connsiteY3738" fmla="*/ 3833046 h 6479439"/>
                <a:gd name="connsiteX3739" fmla="*/ 7193228 w 9586368"/>
                <a:gd name="connsiteY3739" fmla="*/ 3842917 h 6479439"/>
                <a:gd name="connsiteX3740" fmla="*/ 7189209 w 9586368"/>
                <a:gd name="connsiteY3740" fmla="*/ 3846956 h 6479439"/>
                <a:gd name="connsiteX3741" fmla="*/ 7179298 w 9586368"/>
                <a:gd name="connsiteY3741" fmla="*/ 3846956 h 6479439"/>
                <a:gd name="connsiteX3742" fmla="*/ 7175279 w 9586368"/>
                <a:gd name="connsiteY3742" fmla="*/ 3842917 h 6479439"/>
                <a:gd name="connsiteX3743" fmla="*/ 7175279 w 9586368"/>
                <a:gd name="connsiteY3743" fmla="*/ 3833046 h 6479439"/>
                <a:gd name="connsiteX3744" fmla="*/ 6939983 w 9586368"/>
                <a:gd name="connsiteY3744" fmla="*/ 3829008 h 6479439"/>
                <a:gd name="connsiteX3745" fmla="*/ 6949894 w 9586368"/>
                <a:gd name="connsiteY3745" fmla="*/ 3829008 h 6479439"/>
                <a:gd name="connsiteX3746" fmla="*/ 6953913 w 9586368"/>
                <a:gd name="connsiteY3746" fmla="*/ 3833046 h 6479439"/>
                <a:gd name="connsiteX3747" fmla="*/ 6953913 w 9586368"/>
                <a:gd name="connsiteY3747" fmla="*/ 3842917 h 6479439"/>
                <a:gd name="connsiteX3748" fmla="*/ 6949894 w 9586368"/>
                <a:gd name="connsiteY3748" fmla="*/ 3846956 h 6479439"/>
                <a:gd name="connsiteX3749" fmla="*/ 6939983 w 9586368"/>
                <a:gd name="connsiteY3749" fmla="*/ 3846956 h 6479439"/>
                <a:gd name="connsiteX3750" fmla="*/ 6935964 w 9586368"/>
                <a:gd name="connsiteY3750" fmla="*/ 3842917 h 6479439"/>
                <a:gd name="connsiteX3751" fmla="*/ 6935964 w 9586368"/>
                <a:gd name="connsiteY3751" fmla="*/ 3833046 h 6479439"/>
                <a:gd name="connsiteX3752" fmla="*/ 6700670 w 9586368"/>
                <a:gd name="connsiteY3752" fmla="*/ 3829008 h 6479439"/>
                <a:gd name="connsiteX3753" fmla="*/ 6710581 w 9586368"/>
                <a:gd name="connsiteY3753" fmla="*/ 3829008 h 6479439"/>
                <a:gd name="connsiteX3754" fmla="*/ 6714600 w 9586368"/>
                <a:gd name="connsiteY3754" fmla="*/ 3833046 h 6479439"/>
                <a:gd name="connsiteX3755" fmla="*/ 6714600 w 9586368"/>
                <a:gd name="connsiteY3755" fmla="*/ 3842917 h 6479439"/>
                <a:gd name="connsiteX3756" fmla="*/ 6710581 w 9586368"/>
                <a:gd name="connsiteY3756" fmla="*/ 3846956 h 6479439"/>
                <a:gd name="connsiteX3757" fmla="*/ 6700670 w 9586368"/>
                <a:gd name="connsiteY3757" fmla="*/ 3846956 h 6479439"/>
                <a:gd name="connsiteX3758" fmla="*/ 6696651 w 9586368"/>
                <a:gd name="connsiteY3758" fmla="*/ 3842917 h 6479439"/>
                <a:gd name="connsiteX3759" fmla="*/ 6696651 w 9586368"/>
                <a:gd name="connsiteY3759" fmla="*/ 3833046 h 6479439"/>
                <a:gd name="connsiteX3760" fmla="*/ 6461356 w 9586368"/>
                <a:gd name="connsiteY3760" fmla="*/ 3829008 h 6479439"/>
                <a:gd name="connsiteX3761" fmla="*/ 6471266 w 9586368"/>
                <a:gd name="connsiteY3761" fmla="*/ 3829008 h 6479439"/>
                <a:gd name="connsiteX3762" fmla="*/ 6475285 w 9586368"/>
                <a:gd name="connsiteY3762" fmla="*/ 3833046 h 6479439"/>
                <a:gd name="connsiteX3763" fmla="*/ 6475285 w 9586368"/>
                <a:gd name="connsiteY3763" fmla="*/ 3842917 h 6479439"/>
                <a:gd name="connsiteX3764" fmla="*/ 6471266 w 9586368"/>
                <a:gd name="connsiteY3764" fmla="*/ 3846956 h 6479439"/>
                <a:gd name="connsiteX3765" fmla="*/ 6461356 w 9586368"/>
                <a:gd name="connsiteY3765" fmla="*/ 3846956 h 6479439"/>
                <a:gd name="connsiteX3766" fmla="*/ 6457337 w 9586368"/>
                <a:gd name="connsiteY3766" fmla="*/ 3842917 h 6479439"/>
                <a:gd name="connsiteX3767" fmla="*/ 6457337 w 9586368"/>
                <a:gd name="connsiteY3767" fmla="*/ 3833046 h 6479439"/>
                <a:gd name="connsiteX3768" fmla="*/ 6222042 w 9586368"/>
                <a:gd name="connsiteY3768" fmla="*/ 3829008 h 6479439"/>
                <a:gd name="connsiteX3769" fmla="*/ 6231952 w 9586368"/>
                <a:gd name="connsiteY3769" fmla="*/ 3829008 h 6479439"/>
                <a:gd name="connsiteX3770" fmla="*/ 6235971 w 9586368"/>
                <a:gd name="connsiteY3770" fmla="*/ 3833046 h 6479439"/>
                <a:gd name="connsiteX3771" fmla="*/ 6235971 w 9586368"/>
                <a:gd name="connsiteY3771" fmla="*/ 3842917 h 6479439"/>
                <a:gd name="connsiteX3772" fmla="*/ 6231952 w 9586368"/>
                <a:gd name="connsiteY3772" fmla="*/ 3846956 h 6479439"/>
                <a:gd name="connsiteX3773" fmla="*/ 6222042 w 9586368"/>
                <a:gd name="connsiteY3773" fmla="*/ 3846956 h 6479439"/>
                <a:gd name="connsiteX3774" fmla="*/ 6218023 w 9586368"/>
                <a:gd name="connsiteY3774" fmla="*/ 3842917 h 6479439"/>
                <a:gd name="connsiteX3775" fmla="*/ 6218023 w 9586368"/>
                <a:gd name="connsiteY3775" fmla="*/ 3833046 h 6479439"/>
                <a:gd name="connsiteX3776" fmla="*/ 5982729 w 9586368"/>
                <a:gd name="connsiteY3776" fmla="*/ 3829008 h 6479439"/>
                <a:gd name="connsiteX3777" fmla="*/ 5992639 w 9586368"/>
                <a:gd name="connsiteY3777" fmla="*/ 3829008 h 6479439"/>
                <a:gd name="connsiteX3778" fmla="*/ 5996658 w 9586368"/>
                <a:gd name="connsiteY3778" fmla="*/ 3833046 h 6479439"/>
                <a:gd name="connsiteX3779" fmla="*/ 5996658 w 9586368"/>
                <a:gd name="connsiteY3779" fmla="*/ 3842917 h 6479439"/>
                <a:gd name="connsiteX3780" fmla="*/ 5992639 w 9586368"/>
                <a:gd name="connsiteY3780" fmla="*/ 3846956 h 6479439"/>
                <a:gd name="connsiteX3781" fmla="*/ 5982729 w 9586368"/>
                <a:gd name="connsiteY3781" fmla="*/ 3846956 h 6479439"/>
                <a:gd name="connsiteX3782" fmla="*/ 5978710 w 9586368"/>
                <a:gd name="connsiteY3782" fmla="*/ 3842917 h 6479439"/>
                <a:gd name="connsiteX3783" fmla="*/ 5978710 w 9586368"/>
                <a:gd name="connsiteY3783" fmla="*/ 3833046 h 6479439"/>
                <a:gd name="connsiteX3784" fmla="*/ 5743412 w 9586368"/>
                <a:gd name="connsiteY3784" fmla="*/ 3829008 h 6479439"/>
                <a:gd name="connsiteX3785" fmla="*/ 5753323 w 9586368"/>
                <a:gd name="connsiteY3785" fmla="*/ 3829008 h 6479439"/>
                <a:gd name="connsiteX3786" fmla="*/ 5757342 w 9586368"/>
                <a:gd name="connsiteY3786" fmla="*/ 3833046 h 6479439"/>
                <a:gd name="connsiteX3787" fmla="*/ 5757342 w 9586368"/>
                <a:gd name="connsiteY3787" fmla="*/ 3842917 h 6479439"/>
                <a:gd name="connsiteX3788" fmla="*/ 5753323 w 9586368"/>
                <a:gd name="connsiteY3788" fmla="*/ 3846956 h 6479439"/>
                <a:gd name="connsiteX3789" fmla="*/ 5743412 w 9586368"/>
                <a:gd name="connsiteY3789" fmla="*/ 3846956 h 6479439"/>
                <a:gd name="connsiteX3790" fmla="*/ 5739393 w 9586368"/>
                <a:gd name="connsiteY3790" fmla="*/ 3842917 h 6479439"/>
                <a:gd name="connsiteX3791" fmla="*/ 5739393 w 9586368"/>
                <a:gd name="connsiteY3791" fmla="*/ 3833046 h 6479439"/>
                <a:gd name="connsiteX3792" fmla="*/ 5504099 w 9586368"/>
                <a:gd name="connsiteY3792" fmla="*/ 3829008 h 6479439"/>
                <a:gd name="connsiteX3793" fmla="*/ 5514010 w 9586368"/>
                <a:gd name="connsiteY3793" fmla="*/ 3829008 h 6479439"/>
                <a:gd name="connsiteX3794" fmla="*/ 5518029 w 9586368"/>
                <a:gd name="connsiteY3794" fmla="*/ 3833046 h 6479439"/>
                <a:gd name="connsiteX3795" fmla="*/ 5518029 w 9586368"/>
                <a:gd name="connsiteY3795" fmla="*/ 3842917 h 6479439"/>
                <a:gd name="connsiteX3796" fmla="*/ 5514010 w 9586368"/>
                <a:gd name="connsiteY3796" fmla="*/ 3846956 h 6479439"/>
                <a:gd name="connsiteX3797" fmla="*/ 5504099 w 9586368"/>
                <a:gd name="connsiteY3797" fmla="*/ 3846956 h 6479439"/>
                <a:gd name="connsiteX3798" fmla="*/ 5500080 w 9586368"/>
                <a:gd name="connsiteY3798" fmla="*/ 3842917 h 6479439"/>
                <a:gd name="connsiteX3799" fmla="*/ 5500080 w 9586368"/>
                <a:gd name="connsiteY3799" fmla="*/ 3833046 h 6479439"/>
                <a:gd name="connsiteX3800" fmla="*/ 5264784 w 9586368"/>
                <a:gd name="connsiteY3800" fmla="*/ 3829008 h 6479439"/>
                <a:gd name="connsiteX3801" fmla="*/ 5274694 w 9586368"/>
                <a:gd name="connsiteY3801" fmla="*/ 3829008 h 6479439"/>
                <a:gd name="connsiteX3802" fmla="*/ 5278713 w 9586368"/>
                <a:gd name="connsiteY3802" fmla="*/ 3833046 h 6479439"/>
                <a:gd name="connsiteX3803" fmla="*/ 5278713 w 9586368"/>
                <a:gd name="connsiteY3803" fmla="*/ 3842917 h 6479439"/>
                <a:gd name="connsiteX3804" fmla="*/ 5274694 w 9586368"/>
                <a:gd name="connsiteY3804" fmla="*/ 3846956 h 6479439"/>
                <a:gd name="connsiteX3805" fmla="*/ 5264784 w 9586368"/>
                <a:gd name="connsiteY3805" fmla="*/ 3846956 h 6479439"/>
                <a:gd name="connsiteX3806" fmla="*/ 5260765 w 9586368"/>
                <a:gd name="connsiteY3806" fmla="*/ 3842917 h 6479439"/>
                <a:gd name="connsiteX3807" fmla="*/ 5260765 w 9586368"/>
                <a:gd name="connsiteY3807" fmla="*/ 3833046 h 6479439"/>
                <a:gd name="connsiteX3808" fmla="*/ 5025470 w 9586368"/>
                <a:gd name="connsiteY3808" fmla="*/ 3829008 h 6479439"/>
                <a:gd name="connsiteX3809" fmla="*/ 5035381 w 9586368"/>
                <a:gd name="connsiteY3809" fmla="*/ 3829008 h 6479439"/>
                <a:gd name="connsiteX3810" fmla="*/ 5039400 w 9586368"/>
                <a:gd name="connsiteY3810" fmla="*/ 3833046 h 6479439"/>
                <a:gd name="connsiteX3811" fmla="*/ 5039400 w 9586368"/>
                <a:gd name="connsiteY3811" fmla="*/ 3842917 h 6479439"/>
                <a:gd name="connsiteX3812" fmla="*/ 5035381 w 9586368"/>
                <a:gd name="connsiteY3812" fmla="*/ 3846956 h 6479439"/>
                <a:gd name="connsiteX3813" fmla="*/ 5025470 w 9586368"/>
                <a:gd name="connsiteY3813" fmla="*/ 3846956 h 6479439"/>
                <a:gd name="connsiteX3814" fmla="*/ 5021451 w 9586368"/>
                <a:gd name="connsiteY3814" fmla="*/ 3842917 h 6479439"/>
                <a:gd name="connsiteX3815" fmla="*/ 5021451 w 9586368"/>
                <a:gd name="connsiteY3815" fmla="*/ 3833046 h 6479439"/>
                <a:gd name="connsiteX3816" fmla="*/ 4786241 w 9586368"/>
                <a:gd name="connsiteY3816" fmla="*/ 3829008 h 6479439"/>
                <a:gd name="connsiteX3817" fmla="*/ 4796152 w 9586368"/>
                <a:gd name="connsiteY3817" fmla="*/ 3829008 h 6479439"/>
                <a:gd name="connsiteX3818" fmla="*/ 4800171 w 9586368"/>
                <a:gd name="connsiteY3818" fmla="*/ 3833046 h 6479439"/>
                <a:gd name="connsiteX3819" fmla="*/ 4800171 w 9586368"/>
                <a:gd name="connsiteY3819" fmla="*/ 3842917 h 6479439"/>
                <a:gd name="connsiteX3820" fmla="*/ 4796152 w 9586368"/>
                <a:gd name="connsiteY3820" fmla="*/ 3846956 h 6479439"/>
                <a:gd name="connsiteX3821" fmla="*/ 4786241 w 9586368"/>
                <a:gd name="connsiteY3821" fmla="*/ 3846956 h 6479439"/>
                <a:gd name="connsiteX3822" fmla="*/ 4782224 w 9586368"/>
                <a:gd name="connsiteY3822" fmla="*/ 3842917 h 6479439"/>
                <a:gd name="connsiteX3823" fmla="*/ 4782224 w 9586368"/>
                <a:gd name="connsiteY3823" fmla="*/ 3833046 h 6479439"/>
                <a:gd name="connsiteX3824" fmla="*/ 4546929 w 9586368"/>
                <a:gd name="connsiteY3824" fmla="*/ 3829008 h 6479439"/>
                <a:gd name="connsiteX3825" fmla="*/ 4556840 w 9586368"/>
                <a:gd name="connsiteY3825" fmla="*/ 3829008 h 6479439"/>
                <a:gd name="connsiteX3826" fmla="*/ 4560859 w 9586368"/>
                <a:gd name="connsiteY3826" fmla="*/ 3833046 h 6479439"/>
                <a:gd name="connsiteX3827" fmla="*/ 4560859 w 9586368"/>
                <a:gd name="connsiteY3827" fmla="*/ 3842917 h 6479439"/>
                <a:gd name="connsiteX3828" fmla="*/ 4556840 w 9586368"/>
                <a:gd name="connsiteY3828" fmla="*/ 3846956 h 6479439"/>
                <a:gd name="connsiteX3829" fmla="*/ 4546929 w 9586368"/>
                <a:gd name="connsiteY3829" fmla="*/ 3846956 h 6479439"/>
                <a:gd name="connsiteX3830" fmla="*/ 4542910 w 9586368"/>
                <a:gd name="connsiteY3830" fmla="*/ 3842917 h 6479439"/>
                <a:gd name="connsiteX3831" fmla="*/ 4542910 w 9586368"/>
                <a:gd name="connsiteY3831" fmla="*/ 3833046 h 6479439"/>
                <a:gd name="connsiteX3832" fmla="*/ 4307612 w 9586368"/>
                <a:gd name="connsiteY3832" fmla="*/ 3829008 h 6479439"/>
                <a:gd name="connsiteX3833" fmla="*/ 4317523 w 9586368"/>
                <a:gd name="connsiteY3833" fmla="*/ 3829008 h 6479439"/>
                <a:gd name="connsiteX3834" fmla="*/ 4321543 w 9586368"/>
                <a:gd name="connsiteY3834" fmla="*/ 3833046 h 6479439"/>
                <a:gd name="connsiteX3835" fmla="*/ 4321543 w 9586368"/>
                <a:gd name="connsiteY3835" fmla="*/ 3842917 h 6479439"/>
                <a:gd name="connsiteX3836" fmla="*/ 4317523 w 9586368"/>
                <a:gd name="connsiteY3836" fmla="*/ 3846956 h 6479439"/>
                <a:gd name="connsiteX3837" fmla="*/ 4307612 w 9586368"/>
                <a:gd name="connsiteY3837" fmla="*/ 3846956 h 6479439"/>
                <a:gd name="connsiteX3838" fmla="*/ 4303595 w 9586368"/>
                <a:gd name="connsiteY3838" fmla="*/ 3842917 h 6479439"/>
                <a:gd name="connsiteX3839" fmla="*/ 4303595 w 9586368"/>
                <a:gd name="connsiteY3839" fmla="*/ 3833046 h 6479439"/>
                <a:gd name="connsiteX3840" fmla="*/ 4068297 w 9586368"/>
                <a:gd name="connsiteY3840" fmla="*/ 3829008 h 6479439"/>
                <a:gd name="connsiteX3841" fmla="*/ 4078210 w 9586368"/>
                <a:gd name="connsiteY3841" fmla="*/ 3829008 h 6479439"/>
                <a:gd name="connsiteX3842" fmla="*/ 4082229 w 9586368"/>
                <a:gd name="connsiteY3842" fmla="*/ 3833046 h 6479439"/>
                <a:gd name="connsiteX3843" fmla="*/ 4082229 w 9586368"/>
                <a:gd name="connsiteY3843" fmla="*/ 3842917 h 6479439"/>
                <a:gd name="connsiteX3844" fmla="*/ 4078210 w 9586368"/>
                <a:gd name="connsiteY3844" fmla="*/ 3846956 h 6479439"/>
                <a:gd name="connsiteX3845" fmla="*/ 4068297 w 9586368"/>
                <a:gd name="connsiteY3845" fmla="*/ 3846956 h 6479439"/>
                <a:gd name="connsiteX3846" fmla="*/ 4064278 w 9586368"/>
                <a:gd name="connsiteY3846" fmla="*/ 3842917 h 6479439"/>
                <a:gd name="connsiteX3847" fmla="*/ 4064278 w 9586368"/>
                <a:gd name="connsiteY3847" fmla="*/ 3833046 h 6479439"/>
                <a:gd name="connsiteX3848" fmla="*/ 3828990 w 9586368"/>
                <a:gd name="connsiteY3848" fmla="*/ 3829008 h 6479439"/>
                <a:gd name="connsiteX3849" fmla="*/ 3838899 w 9586368"/>
                <a:gd name="connsiteY3849" fmla="*/ 3829008 h 6479439"/>
                <a:gd name="connsiteX3850" fmla="*/ 3842917 w 9586368"/>
                <a:gd name="connsiteY3850" fmla="*/ 3833046 h 6479439"/>
                <a:gd name="connsiteX3851" fmla="*/ 3842917 w 9586368"/>
                <a:gd name="connsiteY3851" fmla="*/ 3842917 h 6479439"/>
                <a:gd name="connsiteX3852" fmla="*/ 3838899 w 9586368"/>
                <a:gd name="connsiteY3852" fmla="*/ 3846956 h 6479439"/>
                <a:gd name="connsiteX3853" fmla="*/ 3828990 w 9586368"/>
                <a:gd name="connsiteY3853" fmla="*/ 3846956 h 6479439"/>
                <a:gd name="connsiteX3854" fmla="*/ 3824971 w 9586368"/>
                <a:gd name="connsiteY3854" fmla="*/ 3842917 h 6479439"/>
                <a:gd name="connsiteX3855" fmla="*/ 3824971 w 9586368"/>
                <a:gd name="connsiteY3855" fmla="*/ 3833046 h 6479439"/>
                <a:gd name="connsiteX3856" fmla="*/ 3589676 w 9586368"/>
                <a:gd name="connsiteY3856" fmla="*/ 3829008 h 6479439"/>
                <a:gd name="connsiteX3857" fmla="*/ 3599585 w 9586368"/>
                <a:gd name="connsiteY3857" fmla="*/ 3829008 h 6479439"/>
                <a:gd name="connsiteX3858" fmla="*/ 3603604 w 9586368"/>
                <a:gd name="connsiteY3858" fmla="*/ 3833046 h 6479439"/>
                <a:gd name="connsiteX3859" fmla="*/ 3603604 w 9586368"/>
                <a:gd name="connsiteY3859" fmla="*/ 3842917 h 6479439"/>
                <a:gd name="connsiteX3860" fmla="*/ 3599585 w 9586368"/>
                <a:gd name="connsiteY3860" fmla="*/ 3846956 h 6479439"/>
                <a:gd name="connsiteX3861" fmla="*/ 3589676 w 9586368"/>
                <a:gd name="connsiteY3861" fmla="*/ 3846956 h 6479439"/>
                <a:gd name="connsiteX3862" fmla="*/ 3585657 w 9586368"/>
                <a:gd name="connsiteY3862" fmla="*/ 3842917 h 6479439"/>
                <a:gd name="connsiteX3863" fmla="*/ 3585657 w 9586368"/>
                <a:gd name="connsiteY3863" fmla="*/ 3833046 h 6479439"/>
                <a:gd name="connsiteX3864" fmla="*/ 3350359 w 9586368"/>
                <a:gd name="connsiteY3864" fmla="*/ 3829008 h 6479439"/>
                <a:gd name="connsiteX3865" fmla="*/ 3360268 w 9586368"/>
                <a:gd name="connsiteY3865" fmla="*/ 3829008 h 6479439"/>
                <a:gd name="connsiteX3866" fmla="*/ 3364287 w 9586368"/>
                <a:gd name="connsiteY3866" fmla="*/ 3833046 h 6479439"/>
                <a:gd name="connsiteX3867" fmla="*/ 3364287 w 9586368"/>
                <a:gd name="connsiteY3867" fmla="*/ 3842917 h 6479439"/>
                <a:gd name="connsiteX3868" fmla="*/ 3360268 w 9586368"/>
                <a:gd name="connsiteY3868" fmla="*/ 3846956 h 6479439"/>
                <a:gd name="connsiteX3869" fmla="*/ 3350359 w 9586368"/>
                <a:gd name="connsiteY3869" fmla="*/ 3846956 h 6479439"/>
                <a:gd name="connsiteX3870" fmla="*/ 3346340 w 9586368"/>
                <a:gd name="connsiteY3870" fmla="*/ 3842917 h 6479439"/>
                <a:gd name="connsiteX3871" fmla="*/ 3346340 w 9586368"/>
                <a:gd name="connsiteY3871" fmla="*/ 3833046 h 6479439"/>
                <a:gd name="connsiteX3872" fmla="*/ 3111048 w 9586368"/>
                <a:gd name="connsiteY3872" fmla="*/ 3829008 h 6479439"/>
                <a:gd name="connsiteX3873" fmla="*/ 3120959 w 9586368"/>
                <a:gd name="connsiteY3873" fmla="*/ 3829008 h 6479439"/>
                <a:gd name="connsiteX3874" fmla="*/ 3124977 w 9586368"/>
                <a:gd name="connsiteY3874" fmla="*/ 3833046 h 6479439"/>
                <a:gd name="connsiteX3875" fmla="*/ 3124977 w 9586368"/>
                <a:gd name="connsiteY3875" fmla="*/ 3842917 h 6479439"/>
                <a:gd name="connsiteX3876" fmla="*/ 3120959 w 9586368"/>
                <a:gd name="connsiteY3876" fmla="*/ 3846956 h 6479439"/>
                <a:gd name="connsiteX3877" fmla="*/ 3111048 w 9586368"/>
                <a:gd name="connsiteY3877" fmla="*/ 3846956 h 6479439"/>
                <a:gd name="connsiteX3878" fmla="*/ 3107029 w 9586368"/>
                <a:gd name="connsiteY3878" fmla="*/ 3842917 h 6479439"/>
                <a:gd name="connsiteX3879" fmla="*/ 3107029 w 9586368"/>
                <a:gd name="connsiteY3879" fmla="*/ 3833046 h 6479439"/>
                <a:gd name="connsiteX3880" fmla="*/ 2871737 w 9586368"/>
                <a:gd name="connsiteY3880" fmla="*/ 3829008 h 6479439"/>
                <a:gd name="connsiteX3881" fmla="*/ 2881646 w 9586368"/>
                <a:gd name="connsiteY3881" fmla="*/ 3829008 h 6479439"/>
                <a:gd name="connsiteX3882" fmla="*/ 2885666 w 9586368"/>
                <a:gd name="connsiteY3882" fmla="*/ 3833046 h 6479439"/>
                <a:gd name="connsiteX3883" fmla="*/ 2885666 w 9586368"/>
                <a:gd name="connsiteY3883" fmla="*/ 3842917 h 6479439"/>
                <a:gd name="connsiteX3884" fmla="*/ 2881646 w 9586368"/>
                <a:gd name="connsiteY3884" fmla="*/ 3846956 h 6479439"/>
                <a:gd name="connsiteX3885" fmla="*/ 2871737 w 9586368"/>
                <a:gd name="connsiteY3885" fmla="*/ 3846956 h 6479439"/>
                <a:gd name="connsiteX3886" fmla="*/ 2867717 w 9586368"/>
                <a:gd name="connsiteY3886" fmla="*/ 3842917 h 6479439"/>
                <a:gd name="connsiteX3887" fmla="*/ 2867717 w 9586368"/>
                <a:gd name="connsiteY3887" fmla="*/ 3833046 h 6479439"/>
                <a:gd name="connsiteX3888" fmla="*/ 2632423 w 9586368"/>
                <a:gd name="connsiteY3888" fmla="*/ 3829008 h 6479439"/>
                <a:gd name="connsiteX3889" fmla="*/ 2642334 w 9586368"/>
                <a:gd name="connsiteY3889" fmla="*/ 3829008 h 6479439"/>
                <a:gd name="connsiteX3890" fmla="*/ 2646352 w 9586368"/>
                <a:gd name="connsiteY3890" fmla="*/ 3833046 h 6479439"/>
                <a:gd name="connsiteX3891" fmla="*/ 2646352 w 9586368"/>
                <a:gd name="connsiteY3891" fmla="*/ 3842917 h 6479439"/>
                <a:gd name="connsiteX3892" fmla="*/ 2642334 w 9586368"/>
                <a:gd name="connsiteY3892" fmla="*/ 3846956 h 6479439"/>
                <a:gd name="connsiteX3893" fmla="*/ 2632423 w 9586368"/>
                <a:gd name="connsiteY3893" fmla="*/ 3846956 h 6479439"/>
                <a:gd name="connsiteX3894" fmla="*/ 2628404 w 9586368"/>
                <a:gd name="connsiteY3894" fmla="*/ 3842917 h 6479439"/>
                <a:gd name="connsiteX3895" fmla="*/ 2628404 w 9586368"/>
                <a:gd name="connsiteY3895" fmla="*/ 3833046 h 6479439"/>
                <a:gd name="connsiteX3896" fmla="*/ 2393104 w 9586368"/>
                <a:gd name="connsiteY3896" fmla="*/ 3829008 h 6479439"/>
                <a:gd name="connsiteX3897" fmla="*/ 2403015 w 9586368"/>
                <a:gd name="connsiteY3897" fmla="*/ 3829008 h 6479439"/>
                <a:gd name="connsiteX3898" fmla="*/ 2407034 w 9586368"/>
                <a:gd name="connsiteY3898" fmla="*/ 3833046 h 6479439"/>
                <a:gd name="connsiteX3899" fmla="*/ 2407034 w 9586368"/>
                <a:gd name="connsiteY3899" fmla="*/ 3842917 h 6479439"/>
                <a:gd name="connsiteX3900" fmla="*/ 2403015 w 9586368"/>
                <a:gd name="connsiteY3900" fmla="*/ 3846956 h 6479439"/>
                <a:gd name="connsiteX3901" fmla="*/ 2393104 w 9586368"/>
                <a:gd name="connsiteY3901" fmla="*/ 3846956 h 6479439"/>
                <a:gd name="connsiteX3902" fmla="*/ 2389087 w 9586368"/>
                <a:gd name="connsiteY3902" fmla="*/ 3842917 h 6479439"/>
                <a:gd name="connsiteX3903" fmla="*/ 2389087 w 9586368"/>
                <a:gd name="connsiteY3903" fmla="*/ 3833046 h 6479439"/>
                <a:gd name="connsiteX3904" fmla="*/ 721966 w 9586368"/>
                <a:gd name="connsiteY3904" fmla="*/ 3829008 h 6479439"/>
                <a:gd name="connsiteX3905" fmla="*/ 731876 w 9586368"/>
                <a:gd name="connsiteY3905" fmla="*/ 3829008 h 6479439"/>
                <a:gd name="connsiteX3906" fmla="*/ 735895 w 9586368"/>
                <a:gd name="connsiteY3906" fmla="*/ 3833046 h 6479439"/>
                <a:gd name="connsiteX3907" fmla="*/ 735895 w 9586368"/>
                <a:gd name="connsiteY3907" fmla="*/ 3842917 h 6479439"/>
                <a:gd name="connsiteX3908" fmla="*/ 731876 w 9586368"/>
                <a:gd name="connsiteY3908" fmla="*/ 3846956 h 6479439"/>
                <a:gd name="connsiteX3909" fmla="*/ 721966 w 9586368"/>
                <a:gd name="connsiteY3909" fmla="*/ 3846956 h 6479439"/>
                <a:gd name="connsiteX3910" fmla="*/ 717947 w 9586368"/>
                <a:gd name="connsiteY3910" fmla="*/ 3842917 h 6479439"/>
                <a:gd name="connsiteX3911" fmla="*/ 717947 w 9586368"/>
                <a:gd name="connsiteY3911" fmla="*/ 3833046 h 6479439"/>
                <a:gd name="connsiteX3912" fmla="*/ 482654 w 9586368"/>
                <a:gd name="connsiteY3912" fmla="*/ 3829008 h 6479439"/>
                <a:gd name="connsiteX3913" fmla="*/ 492564 w 9586368"/>
                <a:gd name="connsiteY3913" fmla="*/ 3829008 h 6479439"/>
                <a:gd name="connsiteX3914" fmla="*/ 496583 w 9586368"/>
                <a:gd name="connsiteY3914" fmla="*/ 3833046 h 6479439"/>
                <a:gd name="connsiteX3915" fmla="*/ 496583 w 9586368"/>
                <a:gd name="connsiteY3915" fmla="*/ 3842917 h 6479439"/>
                <a:gd name="connsiteX3916" fmla="*/ 492564 w 9586368"/>
                <a:gd name="connsiteY3916" fmla="*/ 3846956 h 6479439"/>
                <a:gd name="connsiteX3917" fmla="*/ 482654 w 9586368"/>
                <a:gd name="connsiteY3917" fmla="*/ 3846956 h 6479439"/>
                <a:gd name="connsiteX3918" fmla="*/ 478635 w 9586368"/>
                <a:gd name="connsiteY3918" fmla="*/ 3842917 h 6479439"/>
                <a:gd name="connsiteX3919" fmla="*/ 478635 w 9586368"/>
                <a:gd name="connsiteY3919" fmla="*/ 3833046 h 6479439"/>
                <a:gd name="connsiteX3920" fmla="*/ 243340 w 9586368"/>
                <a:gd name="connsiteY3920" fmla="*/ 3829008 h 6479439"/>
                <a:gd name="connsiteX3921" fmla="*/ 253250 w 9586368"/>
                <a:gd name="connsiteY3921" fmla="*/ 3829008 h 6479439"/>
                <a:gd name="connsiteX3922" fmla="*/ 257269 w 9586368"/>
                <a:gd name="connsiteY3922" fmla="*/ 3833046 h 6479439"/>
                <a:gd name="connsiteX3923" fmla="*/ 257269 w 9586368"/>
                <a:gd name="connsiteY3923" fmla="*/ 3842917 h 6479439"/>
                <a:gd name="connsiteX3924" fmla="*/ 253250 w 9586368"/>
                <a:gd name="connsiteY3924" fmla="*/ 3846956 h 6479439"/>
                <a:gd name="connsiteX3925" fmla="*/ 243340 w 9586368"/>
                <a:gd name="connsiteY3925" fmla="*/ 3846956 h 6479439"/>
                <a:gd name="connsiteX3926" fmla="*/ 239321 w 9586368"/>
                <a:gd name="connsiteY3926" fmla="*/ 3842917 h 6479439"/>
                <a:gd name="connsiteX3927" fmla="*/ 239321 w 9586368"/>
                <a:gd name="connsiteY3927" fmla="*/ 3833046 h 6479439"/>
                <a:gd name="connsiteX3928" fmla="*/ 4027 w 9586368"/>
                <a:gd name="connsiteY3928" fmla="*/ 3829008 h 6479439"/>
                <a:gd name="connsiteX3929" fmla="*/ 13937 w 9586368"/>
                <a:gd name="connsiteY3929" fmla="*/ 3829008 h 6479439"/>
                <a:gd name="connsiteX3930" fmla="*/ 17956 w 9586368"/>
                <a:gd name="connsiteY3930" fmla="*/ 3833046 h 6479439"/>
                <a:gd name="connsiteX3931" fmla="*/ 17956 w 9586368"/>
                <a:gd name="connsiteY3931" fmla="*/ 3842917 h 6479439"/>
                <a:gd name="connsiteX3932" fmla="*/ 13937 w 9586368"/>
                <a:gd name="connsiteY3932" fmla="*/ 3846956 h 6479439"/>
                <a:gd name="connsiteX3933" fmla="*/ 4027 w 9586368"/>
                <a:gd name="connsiteY3933" fmla="*/ 3846956 h 6479439"/>
                <a:gd name="connsiteX3934" fmla="*/ 8 w 9586368"/>
                <a:gd name="connsiteY3934" fmla="*/ 3842917 h 6479439"/>
                <a:gd name="connsiteX3935" fmla="*/ 8 w 9586368"/>
                <a:gd name="connsiteY3935" fmla="*/ 3833046 h 6479439"/>
                <a:gd name="connsiteX3936" fmla="*/ 2157820 w 9586368"/>
                <a:gd name="connsiteY3936" fmla="*/ 3589728 h 6479439"/>
                <a:gd name="connsiteX3937" fmla="*/ 2167731 w 9586368"/>
                <a:gd name="connsiteY3937" fmla="*/ 3589728 h 6479439"/>
                <a:gd name="connsiteX3938" fmla="*/ 2171749 w 9586368"/>
                <a:gd name="connsiteY3938" fmla="*/ 3593767 h 6479439"/>
                <a:gd name="connsiteX3939" fmla="*/ 2171749 w 9586368"/>
                <a:gd name="connsiteY3939" fmla="*/ 3603637 h 6479439"/>
                <a:gd name="connsiteX3940" fmla="*/ 2167731 w 9586368"/>
                <a:gd name="connsiteY3940" fmla="*/ 3607676 h 6479439"/>
                <a:gd name="connsiteX3941" fmla="*/ 2157820 w 9586368"/>
                <a:gd name="connsiteY3941" fmla="*/ 3607676 h 6479439"/>
                <a:gd name="connsiteX3942" fmla="*/ 2153801 w 9586368"/>
                <a:gd name="connsiteY3942" fmla="*/ 3603637 h 6479439"/>
                <a:gd name="connsiteX3943" fmla="*/ 2153801 w 9586368"/>
                <a:gd name="connsiteY3943" fmla="*/ 3593767 h 6479439"/>
                <a:gd name="connsiteX3944" fmla="*/ 1918511 w 9586368"/>
                <a:gd name="connsiteY3944" fmla="*/ 3589728 h 6479439"/>
                <a:gd name="connsiteX3945" fmla="*/ 1928421 w 9586368"/>
                <a:gd name="connsiteY3945" fmla="*/ 3589728 h 6479439"/>
                <a:gd name="connsiteX3946" fmla="*/ 1932441 w 9586368"/>
                <a:gd name="connsiteY3946" fmla="*/ 3593767 h 6479439"/>
                <a:gd name="connsiteX3947" fmla="*/ 1932441 w 9586368"/>
                <a:gd name="connsiteY3947" fmla="*/ 3603637 h 6479439"/>
                <a:gd name="connsiteX3948" fmla="*/ 1928421 w 9586368"/>
                <a:gd name="connsiteY3948" fmla="*/ 3607676 h 6479439"/>
                <a:gd name="connsiteX3949" fmla="*/ 1918511 w 9586368"/>
                <a:gd name="connsiteY3949" fmla="*/ 3607676 h 6479439"/>
                <a:gd name="connsiteX3950" fmla="*/ 1914493 w 9586368"/>
                <a:gd name="connsiteY3950" fmla="*/ 3603637 h 6479439"/>
                <a:gd name="connsiteX3951" fmla="*/ 1914493 w 9586368"/>
                <a:gd name="connsiteY3951" fmla="*/ 3593767 h 6479439"/>
                <a:gd name="connsiteX3952" fmla="*/ 1679209 w 9586368"/>
                <a:gd name="connsiteY3952" fmla="*/ 3589728 h 6479439"/>
                <a:gd name="connsiteX3953" fmla="*/ 1689118 w 9586368"/>
                <a:gd name="connsiteY3953" fmla="*/ 3589728 h 6479439"/>
                <a:gd name="connsiteX3954" fmla="*/ 1693138 w 9586368"/>
                <a:gd name="connsiteY3954" fmla="*/ 3593767 h 6479439"/>
                <a:gd name="connsiteX3955" fmla="*/ 1693138 w 9586368"/>
                <a:gd name="connsiteY3955" fmla="*/ 3603637 h 6479439"/>
                <a:gd name="connsiteX3956" fmla="*/ 1689118 w 9586368"/>
                <a:gd name="connsiteY3956" fmla="*/ 3607676 h 6479439"/>
                <a:gd name="connsiteX3957" fmla="*/ 1679209 w 9586368"/>
                <a:gd name="connsiteY3957" fmla="*/ 3607676 h 6479439"/>
                <a:gd name="connsiteX3958" fmla="*/ 1675190 w 9586368"/>
                <a:gd name="connsiteY3958" fmla="*/ 3603637 h 6479439"/>
                <a:gd name="connsiteX3959" fmla="*/ 1675190 w 9586368"/>
                <a:gd name="connsiteY3959" fmla="*/ 3593767 h 6479439"/>
                <a:gd name="connsiteX3960" fmla="*/ 1439892 w 9586368"/>
                <a:gd name="connsiteY3960" fmla="*/ 3589728 h 6479439"/>
                <a:gd name="connsiteX3961" fmla="*/ 1449803 w 9586368"/>
                <a:gd name="connsiteY3961" fmla="*/ 3589728 h 6479439"/>
                <a:gd name="connsiteX3962" fmla="*/ 1453822 w 9586368"/>
                <a:gd name="connsiteY3962" fmla="*/ 3593767 h 6479439"/>
                <a:gd name="connsiteX3963" fmla="*/ 1453822 w 9586368"/>
                <a:gd name="connsiteY3963" fmla="*/ 3603637 h 6479439"/>
                <a:gd name="connsiteX3964" fmla="*/ 1449803 w 9586368"/>
                <a:gd name="connsiteY3964" fmla="*/ 3607676 h 6479439"/>
                <a:gd name="connsiteX3965" fmla="*/ 1439892 w 9586368"/>
                <a:gd name="connsiteY3965" fmla="*/ 3607676 h 6479439"/>
                <a:gd name="connsiteX3966" fmla="*/ 1435874 w 9586368"/>
                <a:gd name="connsiteY3966" fmla="*/ 3603637 h 6479439"/>
                <a:gd name="connsiteX3967" fmla="*/ 1435874 w 9586368"/>
                <a:gd name="connsiteY3967" fmla="*/ 3593767 h 6479439"/>
                <a:gd name="connsiteX3968" fmla="*/ 1200577 w 9586368"/>
                <a:gd name="connsiteY3968" fmla="*/ 3589728 h 6479439"/>
                <a:gd name="connsiteX3969" fmla="*/ 1210488 w 9586368"/>
                <a:gd name="connsiteY3969" fmla="*/ 3589728 h 6479439"/>
                <a:gd name="connsiteX3970" fmla="*/ 1214506 w 9586368"/>
                <a:gd name="connsiteY3970" fmla="*/ 3593767 h 6479439"/>
                <a:gd name="connsiteX3971" fmla="*/ 1214506 w 9586368"/>
                <a:gd name="connsiteY3971" fmla="*/ 3603637 h 6479439"/>
                <a:gd name="connsiteX3972" fmla="*/ 1210488 w 9586368"/>
                <a:gd name="connsiteY3972" fmla="*/ 3607676 h 6479439"/>
                <a:gd name="connsiteX3973" fmla="*/ 1200577 w 9586368"/>
                <a:gd name="connsiteY3973" fmla="*/ 3607676 h 6479439"/>
                <a:gd name="connsiteX3974" fmla="*/ 1196559 w 9586368"/>
                <a:gd name="connsiteY3974" fmla="*/ 3603637 h 6479439"/>
                <a:gd name="connsiteX3975" fmla="*/ 1196559 w 9586368"/>
                <a:gd name="connsiteY3975" fmla="*/ 3593767 h 6479439"/>
                <a:gd name="connsiteX3976" fmla="*/ 961265 w 9586368"/>
                <a:gd name="connsiteY3976" fmla="*/ 3589728 h 6479439"/>
                <a:gd name="connsiteX3977" fmla="*/ 971175 w 9586368"/>
                <a:gd name="connsiteY3977" fmla="*/ 3589728 h 6479439"/>
                <a:gd name="connsiteX3978" fmla="*/ 975193 w 9586368"/>
                <a:gd name="connsiteY3978" fmla="*/ 3593767 h 6479439"/>
                <a:gd name="connsiteX3979" fmla="*/ 975193 w 9586368"/>
                <a:gd name="connsiteY3979" fmla="*/ 3603637 h 6479439"/>
                <a:gd name="connsiteX3980" fmla="*/ 971175 w 9586368"/>
                <a:gd name="connsiteY3980" fmla="*/ 3607676 h 6479439"/>
                <a:gd name="connsiteX3981" fmla="*/ 961265 w 9586368"/>
                <a:gd name="connsiteY3981" fmla="*/ 3607676 h 6479439"/>
                <a:gd name="connsiteX3982" fmla="*/ 957246 w 9586368"/>
                <a:gd name="connsiteY3982" fmla="*/ 3603637 h 6479439"/>
                <a:gd name="connsiteX3983" fmla="*/ 957246 w 9586368"/>
                <a:gd name="connsiteY3983" fmla="*/ 3593767 h 6479439"/>
                <a:gd name="connsiteX3984" fmla="*/ 9572438 w 9586368"/>
                <a:gd name="connsiteY3984" fmla="*/ 3589677 h 6479439"/>
                <a:gd name="connsiteX3985" fmla="*/ 9582349 w 9586368"/>
                <a:gd name="connsiteY3985" fmla="*/ 3589677 h 6479439"/>
                <a:gd name="connsiteX3986" fmla="*/ 9586368 w 9586368"/>
                <a:gd name="connsiteY3986" fmla="*/ 3593716 h 6479439"/>
                <a:gd name="connsiteX3987" fmla="*/ 9586368 w 9586368"/>
                <a:gd name="connsiteY3987" fmla="*/ 3603586 h 6479439"/>
                <a:gd name="connsiteX3988" fmla="*/ 9582349 w 9586368"/>
                <a:gd name="connsiteY3988" fmla="*/ 3607625 h 6479439"/>
                <a:gd name="connsiteX3989" fmla="*/ 9572438 w 9586368"/>
                <a:gd name="connsiteY3989" fmla="*/ 3607625 h 6479439"/>
                <a:gd name="connsiteX3990" fmla="*/ 9568419 w 9586368"/>
                <a:gd name="connsiteY3990" fmla="*/ 3603586 h 6479439"/>
                <a:gd name="connsiteX3991" fmla="*/ 9568419 w 9586368"/>
                <a:gd name="connsiteY3991" fmla="*/ 3593716 h 6479439"/>
                <a:gd name="connsiteX3992" fmla="*/ 9333125 w 9586368"/>
                <a:gd name="connsiteY3992" fmla="*/ 3589677 h 6479439"/>
                <a:gd name="connsiteX3993" fmla="*/ 9343036 w 9586368"/>
                <a:gd name="connsiteY3993" fmla="*/ 3589677 h 6479439"/>
                <a:gd name="connsiteX3994" fmla="*/ 9347055 w 9586368"/>
                <a:gd name="connsiteY3994" fmla="*/ 3593716 h 6479439"/>
                <a:gd name="connsiteX3995" fmla="*/ 9347055 w 9586368"/>
                <a:gd name="connsiteY3995" fmla="*/ 3603586 h 6479439"/>
                <a:gd name="connsiteX3996" fmla="*/ 9343036 w 9586368"/>
                <a:gd name="connsiteY3996" fmla="*/ 3607625 h 6479439"/>
                <a:gd name="connsiteX3997" fmla="*/ 9333125 w 9586368"/>
                <a:gd name="connsiteY3997" fmla="*/ 3607625 h 6479439"/>
                <a:gd name="connsiteX3998" fmla="*/ 9329106 w 9586368"/>
                <a:gd name="connsiteY3998" fmla="*/ 3603586 h 6479439"/>
                <a:gd name="connsiteX3999" fmla="*/ 9329106 w 9586368"/>
                <a:gd name="connsiteY3999" fmla="*/ 3593716 h 6479439"/>
                <a:gd name="connsiteX4000" fmla="*/ 9093811 w 9586368"/>
                <a:gd name="connsiteY4000" fmla="*/ 3589677 h 6479439"/>
                <a:gd name="connsiteX4001" fmla="*/ 9103722 w 9586368"/>
                <a:gd name="connsiteY4001" fmla="*/ 3589677 h 6479439"/>
                <a:gd name="connsiteX4002" fmla="*/ 9107741 w 9586368"/>
                <a:gd name="connsiteY4002" fmla="*/ 3593716 h 6479439"/>
                <a:gd name="connsiteX4003" fmla="*/ 9107741 w 9586368"/>
                <a:gd name="connsiteY4003" fmla="*/ 3603586 h 6479439"/>
                <a:gd name="connsiteX4004" fmla="*/ 9103722 w 9586368"/>
                <a:gd name="connsiteY4004" fmla="*/ 3607625 h 6479439"/>
                <a:gd name="connsiteX4005" fmla="*/ 9093811 w 9586368"/>
                <a:gd name="connsiteY4005" fmla="*/ 3607625 h 6479439"/>
                <a:gd name="connsiteX4006" fmla="*/ 9089792 w 9586368"/>
                <a:gd name="connsiteY4006" fmla="*/ 3603586 h 6479439"/>
                <a:gd name="connsiteX4007" fmla="*/ 9089792 w 9586368"/>
                <a:gd name="connsiteY4007" fmla="*/ 3593716 h 6479439"/>
                <a:gd name="connsiteX4008" fmla="*/ 8854496 w 9586368"/>
                <a:gd name="connsiteY4008" fmla="*/ 3589677 h 6479439"/>
                <a:gd name="connsiteX4009" fmla="*/ 8864407 w 9586368"/>
                <a:gd name="connsiteY4009" fmla="*/ 3589677 h 6479439"/>
                <a:gd name="connsiteX4010" fmla="*/ 8868426 w 9586368"/>
                <a:gd name="connsiteY4010" fmla="*/ 3593716 h 6479439"/>
                <a:gd name="connsiteX4011" fmla="*/ 8868426 w 9586368"/>
                <a:gd name="connsiteY4011" fmla="*/ 3603586 h 6479439"/>
                <a:gd name="connsiteX4012" fmla="*/ 8864407 w 9586368"/>
                <a:gd name="connsiteY4012" fmla="*/ 3607625 h 6479439"/>
                <a:gd name="connsiteX4013" fmla="*/ 8854496 w 9586368"/>
                <a:gd name="connsiteY4013" fmla="*/ 3607625 h 6479439"/>
                <a:gd name="connsiteX4014" fmla="*/ 8850477 w 9586368"/>
                <a:gd name="connsiteY4014" fmla="*/ 3603586 h 6479439"/>
                <a:gd name="connsiteX4015" fmla="*/ 8850477 w 9586368"/>
                <a:gd name="connsiteY4015" fmla="*/ 3593716 h 6479439"/>
                <a:gd name="connsiteX4016" fmla="*/ 8615184 w 9586368"/>
                <a:gd name="connsiteY4016" fmla="*/ 3589677 h 6479439"/>
                <a:gd name="connsiteX4017" fmla="*/ 8625095 w 9586368"/>
                <a:gd name="connsiteY4017" fmla="*/ 3589677 h 6479439"/>
                <a:gd name="connsiteX4018" fmla="*/ 8629114 w 9586368"/>
                <a:gd name="connsiteY4018" fmla="*/ 3593716 h 6479439"/>
                <a:gd name="connsiteX4019" fmla="*/ 8629114 w 9586368"/>
                <a:gd name="connsiteY4019" fmla="*/ 3603586 h 6479439"/>
                <a:gd name="connsiteX4020" fmla="*/ 8625095 w 9586368"/>
                <a:gd name="connsiteY4020" fmla="*/ 3607625 h 6479439"/>
                <a:gd name="connsiteX4021" fmla="*/ 8615184 w 9586368"/>
                <a:gd name="connsiteY4021" fmla="*/ 3607625 h 6479439"/>
                <a:gd name="connsiteX4022" fmla="*/ 8611165 w 9586368"/>
                <a:gd name="connsiteY4022" fmla="*/ 3603586 h 6479439"/>
                <a:gd name="connsiteX4023" fmla="*/ 8611165 w 9586368"/>
                <a:gd name="connsiteY4023" fmla="*/ 3593716 h 6479439"/>
                <a:gd name="connsiteX4024" fmla="*/ 8375869 w 9586368"/>
                <a:gd name="connsiteY4024" fmla="*/ 3589677 h 6479439"/>
                <a:gd name="connsiteX4025" fmla="*/ 8385779 w 9586368"/>
                <a:gd name="connsiteY4025" fmla="*/ 3589677 h 6479439"/>
                <a:gd name="connsiteX4026" fmla="*/ 8389799 w 9586368"/>
                <a:gd name="connsiteY4026" fmla="*/ 3593716 h 6479439"/>
                <a:gd name="connsiteX4027" fmla="*/ 8389799 w 9586368"/>
                <a:gd name="connsiteY4027" fmla="*/ 3603586 h 6479439"/>
                <a:gd name="connsiteX4028" fmla="*/ 8385779 w 9586368"/>
                <a:gd name="connsiteY4028" fmla="*/ 3607625 h 6479439"/>
                <a:gd name="connsiteX4029" fmla="*/ 8375869 w 9586368"/>
                <a:gd name="connsiteY4029" fmla="*/ 3607625 h 6479439"/>
                <a:gd name="connsiteX4030" fmla="*/ 8371850 w 9586368"/>
                <a:gd name="connsiteY4030" fmla="*/ 3603586 h 6479439"/>
                <a:gd name="connsiteX4031" fmla="*/ 8371850 w 9586368"/>
                <a:gd name="connsiteY4031" fmla="*/ 3593716 h 6479439"/>
                <a:gd name="connsiteX4032" fmla="*/ 8136553 w 9586368"/>
                <a:gd name="connsiteY4032" fmla="*/ 3589677 h 6479439"/>
                <a:gd name="connsiteX4033" fmla="*/ 8146464 w 9586368"/>
                <a:gd name="connsiteY4033" fmla="*/ 3589677 h 6479439"/>
                <a:gd name="connsiteX4034" fmla="*/ 8150483 w 9586368"/>
                <a:gd name="connsiteY4034" fmla="*/ 3593716 h 6479439"/>
                <a:gd name="connsiteX4035" fmla="*/ 8150483 w 9586368"/>
                <a:gd name="connsiteY4035" fmla="*/ 3603586 h 6479439"/>
                <a:gd name="connsiteX4036" fmla="*/ 8146464 w 9586368"/>
                <a:gd name="connsiteY4036" fmla="*/ 3607625 h 6479439"/>
                <a:gd name="connsiteX4037" fmla="*/ 8136553 w 9586368"/>
                <a:gd name="connsiteY4037" fmla="*/ 3607625 h 6479439"/>
                <a:gd name="connsiteX4038" fmla="*/ 8132534 w 9586368"/>
                <a:gd name="connsiteY4038" fmla="*/ 3603586 h 6479439"/>
                <a:gd name="connsiteX4039" fmla="*/ 8132534 w 9586368"/>
                <a:gd name="connsiteY4039" fmla="*/ 3593716 h 6479439"/>
                <a:gd name="connsiteX4040" fmla="*/ 7897241 w 9586368"/>
                <a:gd name="connsiteY4040" fmla="*/ 3589677 h 6479439"/>
                <a:gd name="connsiteX4041" fmla="*/ 7907151 w 9586368"/>
                <a:gd name="connsiteY4041" fmla="*/ 3589677 h 6479439"/>
                <a:gd name="connsiteX4042" fmla="*/ 7911170 w 9586368"/>
                <a:gd name="connsiteY4042" fmla="*/ 3593716 h 6479439"/>
                <a:gd name="connsiteX4043" fmla="*/ 7911170 w 9586368"/>
                <a:gd name="connsiteY4043" fmla="*/ 3603586 h 6479439"/>
                <a:gd name="connsiteX4044" fmla="*/ 7907151 w 9586368"/>
                <a:gd name="connsiteY4044" fmla="*/ 3607625 h 6479439"/>
                <a:gd name="connsiteX4045" fmla="*/ 7897241 w 9586368"/>
                <a:gd name="connsiteY4045" fmla="*/ 3607625 h 6479439"/>
                <a:gd name="connsiteX4046" fmla="*/ 7893222 w 9586368"/>
                <a:gd name="connsiteY4046" fmla="*/ 3603586 h 6479439"/>
                <a:gd name="connsiteX4047" fmla="*/ 7893222 w 9586368"/>
                <a:gd name="connsiteY4047" fmla="*/ 3593716 h 6479439"/>
                <a:gd name="connsiteX4048" fmla="*/ 7657926 w 9586368"/>
                <a:gd name="connsiteY4048" fmla="*/ 3589677 h 6479439"/>
                <a:gd name="connsiteX4049" fmla="*/ 7667836 w 9586368"/>
                <a:gd name="connsiteY4049" fmla="*/ 3589677 h 6479439"/>
                <a:gd name="connsiteX4050" fmla="*/ 7671855 w 9586368"/>
                <a:gd name="connsiteY4050" fmla="*/ 3593716 h 6479439"/>
                <a:gd name="connsiteX4051" fmla="*/ 7671855 w 9586368"/>
                <a:gd name="connsiteY4051" fmla="*/ 3603586 h 6479439"/>
                <a:gd name="connsiteX4052" fmla="*/ 7667836 w 9586368"/>
                <a:gd name="connsiteY4052" fmla="*/ 3607625 h 6479439"/>
                <a:gd name="connsiteX4053" fmla="*/ 7657926 w 9586368"/>
                <a:gd name="connsiteY4053" fmla="*/ 3607625 h 6479439"/>
                <a:gd name="connsiteX4054" fmla="*/ 7653906 w 9586368"/>
                <a:gd name="connsiteY4054" fmla="*/ 3603586 h 6479439"/>
                <a:gd name="connsiteX4055" fmla="*/ 7653906 w 9586368"/>
                <a:gd name="connsiteY4055" fmla="*/ 3593716 h 6479439"/>
                <a:gd name="connsiteX4056" fmla="*/ 7418611 w 9586368"/>
                <a:gd name="connsiteY4056" fmla="*/ 3589677 h 6479439"/>
                <a:gd name="connsiteX4057" fmla="*/ 7428521 w 9586368"/>
                <a:gd name="connsiteY4057" fmla="*/ 3589677 h 6479439"/>
                <a:gd name="connsiteX4058" fmla="*/ 7432540 w 9586368"/>
                <a:gd name="connsiteY4058" fmla="*/ 3593716 h 6479439"/>
                <a:gd name="connsiteX4059" fmla="*/ 7432540 w 9586368"/>
                <a:gd name="connsiteY4059" fmla="*/ 3603586 h 6479439"/>
                <a:gd name="connsiteX4060" fmla="*/ 7428521 w 9586368"/>
                <a:gd name="connsiteY4060" fmla="*/ 3607625 h 6479439"/>
                <a:gd name="connsiteX4061" fmla="*/ 7418611 w 9586368"/>
                <a:gd name="connsiteY4061" fmla="*/ 3607625 h 6479439"/>
                <a:gd name="connsiteX4062" fmla="*/ 7414592 w 9586368"/>
                <a:gd name="connsiteY4062" fmla="*/ 3603586 h 6479439"/>
                <a:gd name="connsiteX4063" fmla="*/ 7414592 w 9586368"/>
                <a:gd name="connsiteY4063" fmla="*/ 3593716 h 6479439"/>
                <a:gd name="connsiteX4064" fmla="*/ 7179298 w 9586368"/>
                <a:gd name="connsiteY4064" fmla="*/ 3589677 h 6479439"/>
                <a:gd name="connsiteX4065" fmla="*/ 7189209 w 9586368"/>
                <a:gd name="connsiteY4065" fmla="*/ 3589677 h 6479439"/>
                <a:gd name="connsiteX4066" fmla="*/ 7193228 w 9586368"/>
                <a:gd name="connsiteY4066" fmla="*/ 3593716 h 6479439"/>
                <a:gd name="connsiteX4067" fmla="*/ 7193228 w 9586368"/>
                <a:gd name="connsiteY4067" fmla="*/ 3603586 h 6479439"/>
                <a:gd name="connsiteX4068" fmla="*/ 7189209 w 9586368"/>
                <a:gd name="connsiteY4068" fmla="*/ 3607625 h 6479439"/>
                <a:gd name="connsiteX4069" fmla="*/ 7179298 w 9586368"/>
                <a:gd name="connsiteY4069" fmla="*/ 3607625 h 6479439"/>
                <a:gd name="connsiteX4070" fmla="*/ 7175279 w 9586368"/>
                <a:gd name="connsiteY4070" fmla="*/ 3603586 h 6479439"/>
                <a:gd name="connsiteX4071" fmla="*/ 7175279 w 9586368"/>
                <a:gd name="connsiteY4071" fmla="*/ 3593716 h 6479439"/>
                <a:gd name="connsiteX4072" fmla="*/ 6939983 w 9586368"/>
                <a:gd name="connsiteY4072" fmla="*/ 3589677 h 6479439"/>
                <a:gd name="connsiteX4073" fmla="*/ 6949894 w 9586368"/>
                <a:gd name="connsiteY4073" fmla="*/ 3589677 h 6479439"/>
                <a:gd name="connsiteX4074" fmla="*/ 6953913 w 9586368"/>
                <a:gd name="connsiteY4074" fmla="*/ 3593716 h 6479439"/>
                <a:gd name="connsiteX4075" fmla="*/ 6953913 w 9586368"/>
                <a:gd name="connsiteY4075" fmla="*/ 3603586 h 6479439"/>
                <a:gd name="connsiteX4076" fmla="*/ 6949894 w 9586368"/>
                <a:gd name="connsiteY4076" fmla="*/ 3607625 h 6479439"/>
                <a:gd name="connsiteX4077" fmla="*/ 6939983 w 9586368"/>
                <a:gd name="connsiteY4077" fmla="*/ 3607625 h 6479439"/>
                <a:gd name="connsiteX4078" fmla="*/ 6935964 w 9586368"/>
                <a:gd name="connsiteY4078" fmla="*/ 3603586 h 6479439"/>
                <a:gd name="connsiteX4079" fmla="*/ 6935964 w 9586368"/>
                <a:gd name="connsiteY4079" fmla="*/ 3593716 h 6479439"/>
                <a:gd name="connsiteX4080" fmla="*/ 6700670 w 9586368"/>
                <a:gd name="connsiteY4080" fmla="*/ 3589677 h 6479439"/>
                <a:gd name="connsiteX4081" fmla="*/ 6710581 w 9586368"/>
                <a:gd name="connsiteY4081" fmla="*/ 3589677 h 6479439"/>
                <a:gd name="connsiteX4082" fmla="*/ 6714600 w 9586368"/>
                <a:gd name="connsiteY4082" fmla="*/ 3593716 h 6479439"/>
                <a:gd name="connsiteX4083" fmla="*/ 6714600 w 9586368"/>
                <a:gd name="connsiteY4083" fmla="*/ 3603586 h 6479439"/>
                <a:gd name="connsiteX4084" fmla="*/ 6710581 w 9586368"/>
                <a:gd name="connsiteY4084" fmla="*/ 3607625 h 6479439"/>
                <a:gd name="connsiteX4085" fmla="*/ 6700670 w 9586368"/>
                <a:gd name="connsiteY4085" fmla="*/ 3607625 h 6479439"/>
                <a:gd name="connsiteX4086" fmla="*/ 6696651 w 9586368"/>
                <a:gd name="connsiteY4086" fmla="*/ 3603586 h 6479439"/>
                <a:gd name="connsiteX4087" fmla="*/ 6696651 w 9586368"/>
                <a:gd name="connsiteY4087" fmla="*/ 3593716 h 6479439"/>
                <a:gd name="connsiteX4088" fmla="*/ 6461356 w 9586368"/>
                <a:gd name="connsiteY4088" fmla="*/ 3589677 h 6479439"/>
                <a:gd name="connsiteX4089" fmla="*/ 6471266 w 9586368"/>
                <a:gd name="connsiteY4089" fmla="*/ 3589677 h 6479439"/>
                <a:gd name="connsiteX4090" fmla="*/ 6475285 w 9586368"/>
                <a:gd name="connsiteY4090" fmla="*/ 3593716 h 6479439"/>
                <a:gd name="connsiteX4091" fmla="*/ 6475285 w 9586368"/>
                <a:gd name="connsiteY4091" fmla="*/ 3603586 h 6479439"/>
                <a:gd name="connsiteX4092" fmla="*/ 6471266 w 9586368"/>
                <a:gd name="connsiteY4092" fmla="*/ 3607625 h 6479439"/>
                <a:gd name="connsiteX4093" fmla="*/ 6461356 w 9586368"/>
                <a:gd name="connsiteY4093" fmla="*/ 3607625 h 6479439"/>
                <a:gd name="connsiteX4094" fmla="*/ 6457337 w 9586368"/>
                <a:gd name="connsiteY4094" fmla="*/ 3603586 h 6479439"/>
                <a:gd name="connsiteX4095" fmla="*/ 6457337 w 9586368"/>
                <a:gd name="connsiteY4095" fmla="*/ 3593716 h 6479439"/>
                <a:gd name="connsiteX4096" fmla="*/ 6222042 w 9586368"/>
                <a:gd name="connsiteY4096" fmla="*/ 3589677 h 6479439"/>
                <a:gd name="connsiteX4097" fmla="*/ 6231952 w 9586368"/>
                <a:gd name="connsiteY4097" fmla="*/ 3589677 h 6479439"/>
                <a:gd name="connsiteX4098" fmla="*/ 6235971 w 9586368"/>
                <a:gd name="connsiteY4098" fmla="*/ 3593716 h 6479439"/>
                <a:gd name="connsiteX4099" fmla="*/ 6235971 w 9586368"/>
                <a:gd name="connsiteY4099" fmla="*/ 3603586 h 6479439"/>
                <a:gd name="connsiteX4100" fmla="*/ 6231952 w 9586368"/>
                <a:gd name="connsiteY4100" fmla="*/ 3607625 h 6479439"/>
                <a:gd name="connsiteX4101" fmla="*/ 6222042 w 9586368"/>
                <a:gd name="connsiteY4101" fmla="*/ 3607625 h 6479439"/>
                <a:gd name="connsiteX4102" fmla="*/ 6218023 w 9586368"/>
                <a:gd name="connsiteY4102" fmla="*/ 3603586 h 6479439"/>
                <a:gd name="connsiteX4103" fmla="*/ 6218023 w 9586368"/>
                <a:gd name="connsiteY4103" fmla="*/ 3593716 h 6479439"/>
                <a:gd name="connsiteX4104" fmla="*/ 5982729 w 9586368"/>
                <a:gd name="connsiteY4104" fmla="*/ 3589677 h 6479439"/>
                <a:gd name="connsiteX4105" fmla="*/ 5992639 w 9586368"/>
                <a:gd name="connsiteY4105" fmla="*/ 3589677 h 6479439"/>
                <a:gd name="connsiteX4106" fmla="*/ 5996658 w 9586368"/>
                <a:gd name="connsiteY4106" fmla="*/ 3593716 h 6479439"/>
                <a:gd name="connsiteX4107" fmla="*/ 5996658 w 9586368"/>
                <a:gd name="connsiteY4107" fmla="*/ 3603586 h 6479439"/>
                <a:gd name="connsiteX4108" fmla="*/ 5992639 w 9586368"/>
                <a:gd name="connsiteY4108" fmla="*/ 3607625 h 6479439"/>
                <a:gd name="connsiteX4109" fmla="*/ 5982729 w 9586368"/>
                <a:gd name="connsiteY4109" fmla="*/ 3607625 h 6479439"/>
                <a:gd name="connsiteX4110" fmla="*/ 5978710 w 9586368"/>
                <a:gd name="connsiteY4110" fmla="*/ 3603586 h 6479439"/>
                <a:gd name="connsiteX4111" fmla="*/ 5978710 w 9586368"/>
                <a:gd name="connsiteY4111" fmla="*/ 3593716 h 6479439"/>
                <a:gd name="connsiteX4112" fmla="*/ 5743412 w 9586368"/>
                <a:gd name="connsiteY4112" fmla="*/ 3589677 h 6479439"/>
                <a:gd name="connsiteX4113" fmla="*/ 5753323 w 9586368"/>
                <a:gd name="connsiteY4113" fmla="*/ 3589677 h 6479439"/>
                <a:gd name="connsiteX4114" fmla="*/ 5757342 w 9586368"/>
                <a:gd name="connsiteY4114" fmla="*/ 3593716 h 6479439"/>
                <a:gd name="connsiteX4115" fmla="*/ 5757342 w 9586368"/>
                <a:gd name="connsiteY4115" fmla="*/ 3603586 h 6479439"/>
                <a:gd name="connsiteX4116" fmla="*/ 5753323 w 9586368"/>
                <a:gd name="connsiteY4116" fmla="*/ 3607625 h 6479439"/>
                <a:gd name="connsiteX4117" fmla="*/ 5743412 w 9586368"/>
                <a:gd name="connsiteY4117" fmla="*/ 3607625 h 6479439"/>
                <a:gd name="connsiteX4118" fmla="*/ 5739393 w 9586368"/>
                <a:gd name="connsiteY4118" fmla="*/ 3603586 h 6479439"/>
                <a:gd name="connsiteX4119" fmla="*/ 5739393 w 9586368"/>
                <a:gd name="connsiteY4119" fmla="*/ 3593716 h 6479439"/>
                <a:gd name="connsiteX4120" fmla="*/ 5504099 w 9586368"/>
                <a:gd name="connsiteY4120" fmla="*/ 3589677 h 6479439"/>
                <a:gd name="connsiteX4121" fmla="*/ 5514010 w 9586368"/>
                <a:gd name="connsiteY4121" fmla="*/ 3589677 h 6479439"/>
                <a:gd name="connsiteX4122" fmla="*/ 5518029 w 9586368"/>
                <a:gd name="connsiteY4122" fmla="*/ 3593716 h 6479439"/>
                <a:gd name="connsiteX4123" fmla="*/ 5518029 w 9586368"/>
                <a:gd name="connsiteY4123" fmla="*/ 3603586 h 6479439"/>
                <a:gd name="connsiteX4124" fmla="*/ 5514010 w 9586368"/>
                <a:gd name="connsiteY4124" fmla="*/ 3607625 h 6479439"/>
                <a:gd name="connsiteX4125" fmla="*/ 5504099 w 9586368"/>
                <a:gd name="connsiteY4125" fmla="*/ 3607625 h 6479439"/>
                <a:gd name="connsiteX4126" fmla="*/ 5500080 w 9586368"/>
                <a:gd name="connsiteY4126" fmla="*/ 3603586 h 6479439"/>
                <a:gd name="connsiteX4127" fmla="*/ 5500080 w 9586368"/>
                <a:gd name="connsiteY4127" fmla="*/ 3593716 h 6479439"/>
                <a:gd name="connsiteX4128" fmla="*/ 5264784 w 9586368"/>
                <a:gd name="connsiteY4128" fmla="*/ 3589677 h 6479439"/>
                <a:gd name="connsiteX4129" fmla="*/ 5274694 w 9586368"/>
                <a:gd name="connsiteY4129" fmla="*/ 3589677 h 6479439"/>
                <a:gd name="connsiteX4130" fmla="*/ 5278713 w 9586368"/>
                <a:gd name="connsiteY4130" fmla="*/ 3593716 h 6479439"/>
                <a:gd name="connsiteX4131" fmla="*/ 5278713 w 9586368"/>
                <a:gd name="connsiteY4131" fmla="*/ 3603586 h 6479439"/>
                <a:gd name="connsiteX4132" fmla="*/ 5274694 w 9586368"/>
                <a:gd name="connsiteY4132" fmla="*/ 3607625 h 6479439"/>
                <a:gd name="connsiteX4133" fmla="*/ 5264784 w 9586368"/>
                <a:gd name="connsiteY4133" fmla="*/ 3607625 h 6479439"/>
                <a:gd name="connsiteX4134" fmla="*/ 5260765 w 9586368"/>
                <a:gd name="connsiteY4134" fmla="*/ 3603586 h 6479439"/>
                <a:gd name="connsiteX4135" fmla="*/ 5260765 w 9586368"/>
                <a:gd name="connsiteY4135" fmla="*/ 3593716 h 6479439"/>
                <a:gd name="connsiteX4136" fmla="*/ 5025470 w 9586368"/>
                <a:gd name="connsiteY4136" fmla="*/ 3589677 h 6479439"/>
                <a:gd name="connsiteX4137" fmla="*/ 5035381 w 9586368"/>
                <a:gd name="connsiteY4137" fmla="*/ 3589677 h 6479439"/>
                <a:gd name="connsiteX4138" fmla="*/ 5039400 w 9586368"/>
                <a:gd name="connsiteY4138" fmla="*/ 3593716 h 6479439"/>
                <a:gd name="connsiteX4139" fmla="*/ 5039400 w 9586368"/>
                <a:gd name="connsiteY4139" fmla="*/ 3603586 h 6479439"/>
                <a:gd name="connsiteX4140" fmla="*/ 5035381 w 9586368"/>
                <a:gd name="connsiteY4140" fmla="*/ 3607625 h 6479439"/>
                <a:gd name="connsiteX4141" fmla="*/ 5025470 w 9586368"/>
                <a:gd name="connsiteY4141" fmla="*/ 3607625 h 6479439"/>
                <a:gd name="connsiteX4142" fmla="*/ 5021451 w 9586368"/>
                <a:gd name="connsiteY4142" fmla="*/ 3603586 h 6479439"/>
                <a:gd name="connsiteX4143" fmla="*/ 5021451 w 9586368"/>
                <a:gd name="connsiteY4143" fmla="*/ 3593716 h 6479439"/>
                <a:gd name="connsiteX4144" fmla="*/ 4786241 w 9586368"/>
                <a:gd name="connsiteY4144" fmla="*/ 3589677 h 6479439"/>
                <a:gd name="connsiteX4145" fmla="*/ 4796152 w 9586368"/>
                <a:gd name="connsiteY4145" fmla="*/ 3589677 h 6479439"/>
                <a:gd name="connsiteX4146" fmla="*/ 4800171 w 9586368"/>
                <a:gd name="connsiteY4146" fmla="*/ 3593716 h 6479439"/>
                <a:gd name="connsiteX4147" fmla="*/ 4800171 w 9586368"/>
                <a:gd name="connsiteY4147" fmla="*/ 3603586 h 6479439"/>
                <a:gd name="connsiteX4148" fmla="*/ 4796152 w 9586368"/>
                <a:gd name="connsiteY4148" fmla="*/ 3607625 h 6479439"/>
                <a:gd name="connsiteX4149" fmla="*/ 4786241 w 9586368"/>
                <a:gd name="connsiteY4149" fmla="*/ 3607625 h 6479439"/>
                <a:gd name="connsiteX4150" fmla="*/ 4782224 w 9586368"/>
                <a:gd name="connsiteY4150" fmla="*/ 3603586 h 6479439"/>
                <a:gd name="connsiteX4151" fmla="*/ 4782224 w 9586368"/>
                <a:gd name="connsiteY4151" fmla="*/ 3593716 h 6479439"/>
                <a:gd name="connsiteX4152" fmla="*/ 4546929 w 9586368"/>
                <a:gd name="connsiteY4152" fmla="*/ 3589677 h 6479439"/>
                <a:gd name="connsiteX4153" fmla="*/ 4556840 w 9586368"/>
                <a:gd name="connsiteY4153" fmla="*/ 3589677 h 6479439"/>
                <a:gd name="connsiteX4154" fmla="*/ 4560859 w 9586368"/>
                <a:gd name="connsiteY4154" fmla="*/ 3593716 h 6479439"/>
                <a:gd name="connsiteX4155" fmla="*/ 4560859 w 9586368"/>
                <a:gd name="connsiteY4155" fmla="*/ 3603586 h 6479439"/>
                <a:gd name="connsiteX4156" fmla="*/ 4556840 w 9586368"/>
                <a:gd name="connsiteY4156" fmla="*/ 3607625 h 6479439"/>
                <a:gd name="connsiteX4157" fmla="*/ 4546929 w 9586368"/>
                <a:gd name="connsiteY4157" fmla="*/ 3607625 h 6479439"/>
                <a:gd name="connsiteX4158" fmla="*/ 4542910 w 9586368"/>
                <a:gd name="connsiteY4158" fmla="*/ 3603586 h 6479439"/>
                <a:gd name="connsiteX4159" fmla="*/ 4542910 w 9586368"/>
                <a:gd name="connsiteY4159" fmla="*/ 3593716 h 6479439"/>
                <a:gd name="connsiteX4160" fmla="*/ 4307612 w 9586368"/>
                <a:gd name="connsiteY4160" fmla="*/ 3589677 h 6479439"/>
                <a:gd name="connsiteX4161" fmla="*/ 4317523 w 9586368"/>
                <a:gd name="connsiteY4161" fmla="*/ 3589677 h 6479439"/>
                <a:gd name="connsiteX4162" fmla="*/ 4321543 w 9586368"/>
                <a:gd name="connsiteY4162" fmla="*/ 3593716 h 6479439"/>
                <a:gd name="connsiteX4163" fmla="*/ 4321543 w 9586368"/>
                <a:gd name="connsiteY4163" fmla="*/ 3603586 h 6479439"/>
                <a:gd name="connsiteX4164" fmla="*/ 4317523 w 9586368"/>
                <a:gd name="connsiteY4164" fmla="*/ 3607625 h 6479439"/>
                <a:gd name="connsiteX4165" fmla="*/ 4307612 w 9586368"/>
                <a:gd name="connsiteY4165" fmla="*/ 3607625 h 6479439"/>
                <a:gd name="connsiteX4166" fmla="*/ 4303595 w 9586368"/>
                <a:gd name="connsiteY4166" fmla="*/ 3603586 h 6479439"/>
                <a:gd name="connsiteX4167" fmla="*/ 4303595 w 9586368"/>
                <a:gd name="connsiteY4167" fmla="*/ 3593716 h 6479439"/>
                <a:gd name="connsiteX4168" fmla="*/ 4068297 w 9586368"/>
                <a:gd name="connsiteY4168" fmla="*/ 3589677 h 6479439"/>
                <a:gd name="connsiteX4169" fmla="*/ 4078210 w 9586368"/>
                <a:gd name="connsiteY4169" fmla="*/ 3589677 h 6479439"/>
                <a:gd name="connsiteX4170" fmla="*/ 4082229 w 9586368"/>
                <a:gd name="connsiteY4170" fmla="*/ 3593716 h 6479439"/>
                <a:gd name="connsiteX4171" fmla="*/ 4082229 w 9586368"/>
                <a:gd name="connsiteY4171" fmla="*/ 3603586 h 6479439"/>
                <a:gd name="connsiteX4172" fmla="*/ 4078210 w 9586368"/>
                <a:gd name="connsiteY4172" fmla="*/ 3607625 h 6479439"/>
                <a:gd name="connsiteX4173" fmla="*/ 4068297 w 9586368"/>
                <a:gd name="connsiteY4173" fmla="*/ 3607625 h 6479439"/>
                <a:gd name="connsiteX4174" fmla="*/ 4064278 w 9586368"/>
                <a:gd name="connsiteY4174" fmla="*/ 3603586 h 6479439"/>
                <a:gd name="connsiteX4175" fmla="*/ 4064278 w 9586368"/>
                <a:gd name="connsiteY4175" fmla="*/ 3593716 h 6479439"/>
                <a:gd name="connsiteX4176" fmla="*/ 3828990 w 9586368"/>
                <a:gd name="connsiteY4176" fmla="*/ 3589677 h 6479439"/>
                <a:gd name="connsiteX4177" fmla="*/ 3838899 w 9586368"/>
                <a:gd name="connsiteY4177" fmla="*/ 3589677 h 6479439"/>
                <a:gd name="connsiteX4178" fmla="*/ 3842917 w 9586368"/>
                <a:gd name="connsiteY4178" fmla="*/ 3593716 h 6479439"/>
                <a:gd name="connsiteX4179" fmla="*/ 3842917 w 9586368"/>
                <a:gd name="connsiteY4179" fmla="*/ 3603586 h 6479439"/>
                <a:gd name="connsiteX4180" fmla="*/ 3838899 w 9586368"/>
                <a:gd name="connsiteY4180" fmla="*/ 3607625 h 6479439"/>
                <a:gd name="connsiteX4181" fmla="*/ 3828990 w 9586368"/>
                <a:gd name="connsiteY4181" fmla="*/ 3607625 h 6479439"/>
                <a:gd name="connsiteX4182" fmla="*/ 3824971 w 9586368"/>
                <a:gd name="connsiteY4182" fmla="*/ 3603586 h 6479439"/>
                <a:gd name="connsiteX4183" fmla="*/ 3824971 w 9586368"/>
                <a:gd name="connsiteY4183" fmla="*/ 3593716 h 6479439"/>
                <a:gd name="connsiteX4184" fmla="*/ 3589676 w 9586368"/>
                <a:gd name="connsiteY4184" fmla="*/ 3589677 h 6479439"/>
                <a:gd name="connsiteX4185" fmla="*/ 3599585 w 9586368"/>
                <a:gd name="connsiteY4185" fmla="*/ 3589677 h 6479439"/>
                <a:gd name="connsiteX4186" fmla="*/ 3603604 w 9586368"/>
                <a:gd name="connsiteY4186" fmla="*/ 3593716 h 6479439"/>
                <a:gd name="connsiteX4187" fmla="*/ 3603604 w 9586368"/>
                <a:gd name="connsiteY4187" fmla="*/ 3603586 h 6479439"/>
                <a:gd name="connsiteX4188" fmla="*/ 3599585 w 9586368"/>
                <a:gd name="connsiteY4188" fmla="*/ 3607625 h 6479439"/>
                <a:gd name="connsiteX4189" fmla="*/ 3589676 w 9586368"/>
                <a:gd name="connsiteY4189" fmla="*/ 3607625 h 6479439"/>
                <a:gd name="connsiteX4190" fmla="*/ 3585657 w 9586368"/>
                <a:gd name="connsiteY4190" fmla="*/ 3603586 h 6479439"/>
                <a:gd name="connsiteX4191" fmla="*/ 3585657 w 9586368"/>
                <a:gd name="connsiteY4191" fmla="*/ 3593716 h 6479439"/>
                <a:gd name="connsiteX4192" fmla="*/ 3350359 w 9586368"/>
                <a:gd name="connsiteY4192" fmla="*/ 3589677 h 6479439"/>
                <a:gd name="connsiteX4193" fmla="*/ 3360268 w 9586368"/>
                <a:gd name="connsiteY4193" fmla="*/ 3589677 h 6479439"/>
                <a:gd name="connsiteX4194" fmla="*/ 3364287 w 9586368"/>
                <a:gd name="connsiteY4194" fmla="*/ 3593716 h 6479439"/>
                <a:gd name="connsiteX4195" fmla="*/ 3364287 w 9586368"/>
                <a:gd name="connsiteY4195" fmla="*/ 3603586 h 6479439"/>
                <a:gd name="connsiteX4196" fmla="*/ 3360268 w 9586368"/>
                <a:gd name="connsiteY4196" fmla="*/ 3607625 h 6479439"/>
                <a:gd name="connsiteX4197" fmla="*/ 3350359 w 9586368"/>
                <a:gd name="connsiteY4197" fmla="*/ 3607625 h 6479439"/>
                <a:gd name="connsiteX4198" fmla="*/ 3346340 w 9586368"/>
                <a:gd name="connsiteY4198" fmla="*/ 3603586 h 6479439"/>
                <a:gd name="connsiteX4199" fmla="*/ 3346340 w 9586368"/>
                <a:gd name="connsiteY4199" fmla="*/ 3593716 h 6479439"/>
                <a:gd name="connsiteX4200" fmla="*/ 3111048 w 9586368"/>
                <a:gd name="connsiteY4200" fmla="*/ 3589677 h 6479439"/>
                <a:gd name="connsiteX4201" fmla="*/ 3120959 w 9586368"/>
                <a:gd name="connsiteY4201" fmla="*/ 3589677 h 6479439"/>
                <a:gd name="connsiteX4202" fmla="*/ 3124977 w 9586368"/>
                <a:gd name="connsiteY4202" fmla="*/ 3593716 h 6479439"/>
                <a:gd name="connsiteX4203" fmla="*/ 3124977 w 9586368"/>
                <a:gd name="connsiteY4203" fmla="*/ 3603586 h 6479439"/>
                <a:gd name="connsiteX4204" fmla="*/ 3120959 w 9586368"/>
                <a:gd name="connsiteY4204" fmla="*/ 3607625 h 6479439"/>
                <a:gd name="connsiteX4205" fmla="*/ 3111048 w 9586368"/>
                <a:gd name="connsiteY4205" fmla="*/ 3607625 h 6479439"/>
                <a:gd name="connsiteX4206" fmla="*/ 3107029 w 9586368"/>
                <a:gd name="connsiteY4206" fmla="*/ 3603586 h 6479439"/>
                <a:gd name="connsiteX4207" fmla="*/ 3107029 w 9586368"/>
                <a:gd name="connsiteY4207" fmla="*/ 3593716 h 6479439"/>
                <a:gd name="connsiteX4208" fmla="*/ 2871737 w 9586368"/>
                <a:gd name="connsiteY4208" fmla="*/ 3589677 h 6479439"/>
                <a:gd name="connsiteX4209" fmla="*/ 2881646 w 9586368"/>
                <a:gd name="connsiteY4209" fmla="*/ 3589677 h 6479439"/>
                <a:gd name="connsiteX4210" fmla="*/ 2885666 w 9586368"/>
                <a:gd name="connsiteY4210" fmla="*/ 3593716 h 6479439"/>
                <a:gd name="connsiteX4211" fmla="*/ 2885666 w 9586368"/>
                <a:gd name="connsiteY4211" fmla="*/ 3603586 h 6479439"/>
                <a:gd name="connsiteX4212" fmla="*/ 2881646 w 9586368"/>
                <a:gd name="connsiteY4212" fmla="*/ 3607625 h 6479439"/>
                <a:gd name="connsiteX4213" fmla="*/ 2871737 w 9586368"/>
                <a:gd name="connsiteY4213" fmla="*/ 3607625 h 6479439"/>
                <a:gd name="connsiteX4214" fmla="*/ 2867717 w 9586368"/>
                <a:gd name="connsiteY4214" fmla="*/ 3603586 h 6479439"/>
                <a:gd name="connsiteX4215" fmla="*/ 2867717 w 9586368"/>
                <a:gd name="connsiteY4215" fmla="*/ 3593716 h 6479439"/>
                <a:gd name="connsiteX4216" fmla="*/ 2632423 w 9586368"/>
                <a:gd name="connsiteY4216" fmla="*/ 3589677 h 6479439"/>
                <a:gd name="connsiteX4217" fmla="*/ 2642334 w 9586368"/>
                <a:gd name="connsiteY4217" fmla="*/ 3589677 h 6479439"/>
                <a:gd name="connsiteX4218" fmla="*/ 2646352 w 9586368"/>
                <a:gd name="connsiteY4218" fmla="*/ 3593716 h 6479439"/>
                <a:gd name="connsiteX4219" fmla="*/ 2646352 w 9586368"/>
                <a:gd name="connsiteY4219" fmla="*/ 3603586 h 6479439"/>
                <a:gd name="connsiteX4220" fmla="*/ 2642334 w 9586368"/>
                <a:gd name="connsiteY4220" fmla="*/ 3607625 h 6479439"/>
                <a:gd name="connsiteX4221" fmla="*/ 2632423 w 9586368"/>
                <a:gd name="connsiteY4221" fmla="*/ 3607625 h 6479439"/>
                <a:gd name="connsiteX4222" fmla="*/ 2628404 w 9586368"/>
                <a:gd name="connsiteY4222" fmla="*/ 3603586 h 6479439"/>
                <a:gd name="connsiteX4223" fmla="*/ 2628404 w 9586368"/>
                <a:gd name="connsiteY4223" fmla="*/ 3593716 h 6479439"/>
                <a:gd name="connsiteX4224" fmla="*/ 2393104 w 9586368"/>
                <a:gd name="connsiteY4224" fmla="*/ 3589677 h 6479439"/>
                <a:gd name="connsiteX4225" fmla="*/ 2403015 w 9586368"/>
                <a:gd name="connsiteY4225" fmla="*/ 3589677 h 6479439"/>
                <a:gd name="connsiteX4226" fmla="*/ 2407034 w 9586368"/>
                <a:gd name="connsiteY4226" fmla="*/ 3593716 h 6479439"/>
                <a:gd name="connsiteX4227" fmla="*/ 2407034 w 9586368"/>
                <a:gd name="connsiteY4227" fmla="*/ 3603586 h 6479439"/>
                <a:gd name="connsiteX4228" fmla="*/ 2403015 w 9586368"/>
                <a:gd name="connsiteY4228" fmla="*/ 3607625 h 6479439"/>
                <a:gd name="connsiteX4229" fmla="*/ 2393104 w 9586368"/>
                <a:gd name="connsiteY4229" fmla="*/ 3607625 h 6479439"/>
                <a:gd name="connsiteX4230" fmla="*/ 2389087 w 9586368"/>
                <a:gd name="connsiteY4230" fmla="*/ 3603586 h 6479439"/>
                <a:gd name="connsiteX4231" fmla="*/ 2389087 w 9586368"/>
                <a:gd name="connsiteY4231" fmla="*/ 3593716 h 6479439"/>
                <a:gd name="connsiteX4232" fmla="*/ 721966 w 9586368"/>
                <a:gd name="connsiteY4232" fmla="*/ 3589677 h 6479439"/>
                <a:gd name="connsiteX4233" fmla="*/ 731877 w 9586368"/>
                <a:gd name="connsiteY4233" fmla="*/ 3589677 h 6479439"/>
                <a:gd name="connsiteX4234" fmla="*/ 735896 w 9586368"/>
                <a:gd name="connsiteY4234" fmla="*/ 3593716 h 6479439"/>
                <a:gd name="connsiteX4235" fmla="*/ 735896 w 9586368"/>
                <a:gd name="connsiteY4235" fmla="*/ 3603586 h 6479439"/>
                <a:gd name="connsiteX4236" fmla="*/ 731877 w 9586368"/>
                <a:gd name="connsiteY4236" fmla="*/ 3607625 h 6479439"/>
                <a:gd name="connsiteX4237" fmla="*/ 721966 w 9586368"/>
                <a:gd name="connsiteY4237" fmla="*/ 3607625 h 6479439"/>
                <a:gd name="connsiteX4238" fmla="*/ 717948 w 9586368"/>
                <a:gd name="connsiteY4238" fmla="*/ 3603586 h 6479439"/>
                <a:gd name="connsiteX4239" fmla="*/ 717948 w 9586368"/>
                <a:gd name="connsiteY4239" fmla="*/ 3593716 h 6479439"/>
                <a:gd name="connsiteX4240" fmla="*/ 482654 w 9586368"/>
                <a:gd name="connsiteY4240" fmla="*/ 3589677 h 6479439"/>
                <a:gd name="connsiteX4241" fmla="*/ 492565 w 9586368"/>
                <a:gd name="connsiteY4241" fmla="*/ 3589677 h 6479439"/>
                <a:gd name="connsiteX4242" fmla="*/ 496584 w 9586368"/>
                <a:gd name="connsiteY4242" fmla="*/ 3593716 h 6479439"/>
                <a:gd name="connsiteX4243" fmla="*/ 496584 w 9586368"/>
                <a:gd name="connsiteY4243" fmla="*/ 3603586 h 6479439"/>
                <a:gd name="connsiteX4244" fmla="*/ 492565 w 9586368"/>
                <a:gd name="connsiteY4244" fmla="*/ 3607625 h 6479439"/>
                <a:gd name="connsiteX4245" fmla="*/ 482654 w 9586368"/>
                <a:gd name="connsiteY4245" fmla="*/ 3607625 h 6479439"/>
                <a:gd name="connsiteX4246" fmla="*/ 478635 w 9586368"/>
                <a:gd name="connsiteY4246" fmla="*/ 3603586 h 6479439"/>
                <a:gd name="connsiteX4247" fmla="*/ 478635 w 9586368"/>
                <a:gd name="connsiteY4247" fmla="*/ 3593716 h 6479439"/>
                <a:gd name="connsiteX4248" fmla="*/ 243341 w 9586368"/>
                <a:gd name="connsiteY4248" fmla="*/ 3589677 h 6479439"/>
                <a:gd name="connsiteX4249" fmla="*/ 253251 w 9586368"/>
                <a:gd name="connsiteY4249" fmla="*/ 3589677 h 6479439"/>
                <a:gd name="connsiteX4250" fmla="*/ 257270 w 9586368"/>
                <a:gd name="connsiteY4250" fmla="*/ 3593716 h 6479439"/>
                <a:gd name="connsiteX4251" fmla="*/ 257270 w 9586368"/>
                <a:gd name="connsiteY4251" fmla="*/ 3603586 h 6479439"/>
                <a:gd name="connsiteX4252" fmla="*/ 253251 w 9586368"/>
                <a:gd name="connsiteY4252" fmla="*/ 3607625 h 6479439"/>
                <a:gd name="connsiteX4253" fmla="*/ 243341 w 9586368"/>
                <a:gd name="connsiteY4253" fmla="*/ 3607625 h 6479439"/>
                <a:gd name="connsiteX4254" fmla="*/ 239321 w 9586368"/>
                <a:gd name="connsiteY4254" fmla="*/ 3603586 h 6479439"/>
                <a:gd name="connsiteX4255" fmla="*/ 239321 w 9586368"/>
                <a:gd name="connsiteY4255" fmla="*/ 3593716 h 6479439"/>
                <a:gd name="connsiteX4256" fmla="*/ 4027 w 9586368"/>
                <a:gd name="connsiteY4256" fmla="*/ 3589677 h 6479439"/>
                <a:gd name="connsiteX4257" fmla="*/ 13938 w 9586368"/>
                <a:gd name="connsiteY4257" fmla="*/ 3589677 h 6479439"/>
                <a:gd name="connsiteX4258" fmla="*/ 17957 w 9586368"/>
                <a:gd name="connsiteY4258" fmla="*/ 3593716 h 6479439"/>
                <a:gd name="connsiteX4259" fmla="*/ 17957 w 9586368"/>
                <a:gd name="connsiteY4259" fmla="*/ 3603586 h 6479439"/>
                <a:gd name="connsiteX4260" fmla="*/ 13938 w 9586368"/>
                <a:gd name="connsiteY4260" fmla="*/ 3607625 h 6479439"/>
                <a:gd name="connsiteX4261" fmla="*/ 4027 w 9586368"/>
                <a:gd name="connsiteY4261" fmla="*/ 3607625 h 6479439"/>
                <a:gd name="connsiteX4262" fmla="*/ 8 w 9586368"/>
                <a:gd name="connsiteY4262" fmla="*/ 3603586 h 6479439"/>
                <a:gd name="connsiteX4263" fmla="*/ 8 w 9586368"/>
                <a:gd name="connsiteY4263" fmla="*/ 3593716 h 6479439"/>
                <a:gd name="connsiteX4264" fmla="*/ 9572438 w 9586368"/>
                <a:gd name="connsiteY4264" fmla="*/ 3350398 h 6479439"/>
                <a:gd name="connsiteX4265" fmla="*/ 9582349 w 9586368"/>
                <a:gd name="connsiteY4265" fmla="*/ 3350398 h 6479439"/>
                <a:gd name="connsiteX4266" fmla="*/ 9586368 w 9586368"/>
                <a:gd name="connsiteY4266" fmla="*/ 3354436 h 6479439"/>
                <a:gd name="connsiteX4267" fmla="*/ 9586368 w 9586368"/>
                <a:gd name="connsiteY4267" fmla="*/ 3364306 h 6479439"/>
                <a:gd name="connsiteX4268" fmla="*/ 9582349 w 9586368"/>
                <a:gd name="connsiteY4268" fmla="*/ 3368345 h 6479439"/>
                <a:gd name="connsiteX4269" fmla="*/ 9572438 w 9586368"/>
                <a:gd name="connsiteY4269" fmla="*/ 3368345 h 6479439"/>
                <a:gd name="connsiteX4270" fmla="*/ 9568419 w 9586368"/>
                <a:gd name="connsiteY4270" fmla="*/ 3364306 h 6479439"/>
                <a:gd name="connsiteX4271" fmla="*/ 9568419 w 9586368"/>
                <a:gd name="connsiteY4271" fmla="*/ 3354436 h 6479439"/>
                <a:gd name="connsiteX4272" fmla="*/ 9333125 w 9586368"/>
                <a:gd name="connsiteY4272" fmla="*/ 3350398 h 6479439"/>
                <a:gd name="connsiteX4273" fmla="*/ 9343036 w 9586368"/>
                <a:gd name="connsiteY4273" fmla="*/ 3350398 h 6479439"/>
                <a:gd name="connsiteX4274" fmla="*/ 9347055 w 9586368"/>
                <a:gd name="connsiteY4274" fmla="*/ 3354436 h 6479439"/>
                <a:gd name="connsiteX4275" fmla="*/ 9347055 w 9586368"/>
                <a:gd name="connsiteY4275" fmla="*/ 3364306 h 6479439"/>
                <a:gd name="connsiteX4276" fmla="*/ 9343036 w 9586368"/>
                <a:gd name="connsiteY4276" fmla="*/ 3368345 h 6479439"/>
                <a:gd name="connsiteX4277" fmla="*/ 9333125 w 9586368"/>
                <a:gd name="connsiteY4277" fmla="*/ 3368345 h 6479439"/>
                <a:gd name="connsiteX4278" fmla="*/ 9329106 w 9586368"/>
                <a:gd name="connsiteY4278" fmla="*/ 3364306 h 6479439"/>
                <a:gd name="connsiteX4279" fmla="*/ 9329106 w 9586368"/>
                <a:gd name="connsiteY4279" fmla="*/ 3354436 h 6479439"/>
                <a:gd name="connsiteX4280" fmla="*/ 9093811 w 9586368"/>
                <a:gd name="connsiteY4280" fmla="*/ 3350398 h 6479439"/>
                <a:gd name="connsiteX4281" fmla="*/ 9103722 w 9586368"/>
                <a:gd name="connsiteY4281" fmla="*/ 3350398 h 6479439"/>
                <a:gd name="connsiteX4282" fmla="*/ 9107741 w 9586368"/>
                <a:gd name="connsiteY4282" fmla="*/ 3354436 h 6479439"/>
                <a:gd name="connsiteX4283" fmla="*/ 9107741 w 9586368"/>
                <a:gd name="connsiteY4283" fmla="*/ 3364306 h 6479439"/>
                <a:gd name="connsiteX4284" fmla="*/ 9103722 w 9586368"/>
                <a:gd name="connsiteY4284" fmla="*/ 3368345 h 6479439"/>
                <a:gd name="connsiteX4285" fmla="*/ 9093811 w 9586368"/>
                <a:gd name="connsiteY4285" fmla="*/ 3368345 h 6479439"/>
                <a:gd name="connsiteX4286" fmla="*/ 9089792 w 9586368"/>
                <a:gd name="connsiteY4286" fmla="*/ 3364306 h 6479439"/>
                <a:gd name="connsiteX4287" fmla="*/ 9089792 w 9586368"/>
                <a:gd name="connsiteY4287" fmla="*/ 3354436 h 6479439"/>
                <a:gd name="connsiteX4288" fmla="*/ 8854496 w 9586368"/>
                <a:gd name="connsiteY4288" fmla="*/ 3350398 h 6479439"/>
                <a:gd name="connsiteX4289" fmla="*/ 8864407 w 9586368"/>
                <a:gd name="connsiteY4289" fmla="*/ 3350398 h 6479439"/>
                <a:gd name="connsiteX4290" fmla="*/ 8868426 w 9586368"/>
                <a:gd name="connsiteY4290" fmla="*/ 3354436 h 6479439"/>
                <a:gd name="connsiteX4291" fmla="*/ 8868426 w 9586368"/>
                <a:gd name="connsiteY4291" fmla="*/ 3364306 h 6479439"/>
                <a:gd name="connsiteX4292" fmla="*/ 8864407 w 9586368"/>
                <a:gd name="connsiteY4292" fmla="*/ 3368345 h 6479439"/>
                <a:gd name="connsiteX4293" fmla="*/ 8854496 w 9586368"/>
                <a:gd name="connsiteY4293" fmla="*/ 3368345 h 6479439"/>
                <a:gd name="connsiteX4294" fmla="*/ 8850477 w 9586368"/>
                <a:gd name="connsiteY4294" fmla="*/ 3364306 h 6479439"/>
                <a:gd name="connsiteX4295" fmla="*/ 8850477 w 9586368"/>
                <a:gd name="connsiteY4295" fmla="*/ 3354436 h 6479439"/>
                <a:gd name="connsiteX4296" fmla="*/ 8615184 w 9586368"/>
                <a:gd name="connsiteY4296" fmla="*/ 3350398 h 6479439"/>
                <a:gd name="connsiteX4297" fmla="*/ 8625095 w 9586368"/>
                <a:gd name="connsiteY4297" fmla="*/ 3350398 h 6479439"/>
                <a:gd name="connsiteX4298" fmla="*/ 8629114 w 9586368"/>
                <a:gd name="connsiteY4298" fmla="*/ 3354436 h 6479439"/>
                <a:gd name="connsiteX4299" fmla="*/ 8629114 w 9586368"/>
                <a:gd name="connsiteY4299" fmla="*/ 3364306 h 6479439"/>
                <a:gd name="connsiteX4300" fmla="*/ 8625095 w 9586368"/>
                <a:gd name="connsiteY4300" fmla="*/ 3368345 h 6479439"/>
                <a:gd name="connsiteX4301" fmla="*/ 8615184 w 9586368"/>
                <a:gd name="connsiteY4301" fmla="*/ 3368345 h 6479439"/>
                <a:gd name="connsiteX4302" fmla="*/ 8611165 w 9586368"/>
                <a:gd name="connsiteY4302" fmla="*/ 3364306 h 6479439"/>
                <a:gd name="connsiteX4303" fmla="*/ 8611165 w 9586368"/>
                <a:gd name="connsiteY4303" fmla="*/ 3354436 h 6479439"/>
                <a:gd name="connsiteX4304" fmla="*/ 8375869 w 9586368"/>
                <a:gd name="connsiteY4304" fmla="*/ 3350398 h 6479439"/>
                <a:gd name="connsiteX4305" fmla="*/ 8385779 w 9586368"/>
                <a:gd name="connsiteY4305" fmla="*/ 3350398 h 6479439"/>
                <a:gd name="connsiteX4306" fmla="*/ 8389799 w 9586368"/>
                <a:gd name="connsiteY4306" fmla="*/ 3354436 h 6479439"/>
                <a:gd name="connsiteX4307" fmla="*/ 8389799 w 9586368"/>
                <a:gd name="connsiteY4307" fmla="*/ 3364306 h 6479439"/>
                <a:gd name="connsiteX4308" fmla="*/ 8385779 w 9586368"/>
                <a:gd name="connsiteY4308" fmla="*/ 3368345 h 6479439"/>
                <a:gd name="connsiteX4309" fmla="*/ 8375869 w 9586368"/>
                <a:gd name="connsiteY4309" fmla="*/ 3368345 h 6479439"/>
                <a:gd name="connsiteX4310" fmla="*/ 8371850 w 9586368"/>
                <a:gd name="connsiteY4310" fmla="*/ 3364306 h 6479439"/>
                <a:gd name="connsiteX4311" fmla="*/ 8371850 w 9586368"/>
                <a:gd name="connsiteY4311" fmla="*/ 3354436 h 6479439"/>
                <a:gd name="connsiteX4312" fmla="*/ 8136553 w 9586368"/>
                <a:gd name="connsiteY4312" fmla="*/ 3350398 h 6479439"/>
                <a:gd name="connsiteX4313" fmla="*/ 8146464 w 9586368"/>
                <a:gd name="connsiteY4313" fmla="*/ 3350398 h 6479439"/>
                <a:gd name="connsiteX4314" fmla="*/ 8150483 w 9586368"/>
                <a:gd name="connsiteY4314" fmla="*/ 3354436 h 6479439"/>
                <a:gd name="connsiteX4315" fmla="*/ 8150483 w 9586368"/>
                <a:gd name="connsiteY4315" fmla="*/ 3364306 h 6479439"/>
                <a:gd name="connsiteX4316" fmla="*/ 8146464 w 9586368"/>
                <a:gd name="connsiteY4316" fmla="*/ 3368345 h 6479439"/>
                <a:gd name="connsiteX4317" fmla="*/ 8136553 w 9586368"/>
                <a:gd name="connsiteY4317" fmla="*/ 3368345 h 6479439"/>
                <a:gd name="connsiteX4318" fmla="*/ 8132534 w 9586368"/>
                <a:gd name="connsiteY4318" fmla="*/ 3364306 h 6479439"/>
                <a:gd name="connsiteX4319" fmla="*/ 8132534 w 9586368"/>
                <a:gd name="connsiteY4319" fmla="*/ 3354436 h 6479439"/>
                <a:gd name="connsiteX4320" fmla="*/ 7897241 w 9586368"/>
                <a:gd name="connsiteY4320" fmla="*/ 3350398 h 6479439"/>
                <a:gd name="connsiteX4321" fmla="*/ 7907151 w 9586368"/>
                <a:gd name="connsiteY4321" fmla="*/ 3350398 h 6479439"/>
                <a:gd name="connsiteX4322" fmla="*/ 7911170 w 9586368"/>
                <a:gd name="connsiteY4322" fmla="*/ 3354436 h 6479439"/>
                <a:gd name="connsiteX4323" fmla="*/ 7911170 w 9586368"/>
                <a:gd name="connsiteY4323" fmla="*/ 3364306 h 6479439"/>
                <a:gd name="connsiteX4324" fmla="*/ 7907151 w 9586368"/>
                <a:gd name="connsiteY4324" fmla="*/ 3368345 h 6479439"/>
                <a:gd name="connsiteX4325" fmla="*/ 7897241 w 9586368"/>
                <a:gd name="connsiteY4325" fmla="*/ 3368345 h 6479439"/>
                <a:gd name="connsiteX4326" fmla="*/ 7893222 w 9586368"/>
                <a:gd name="connsiteY4326" fmla="*/ 3364306 h 6479439"/>
                <a:gd name="connsiteX4327" fmla="*/ 7893222 w 9586368"/>
                <a:gd name="connsiteY4327" fmla="*/ 3354436 h 6479439"/>
                <a:gd name="connsiteX4328" fmla="*/ 7657926 w 9586368"/>
                <a:gd name="connsiteY4328" fmla="*/ 3350398 h 6479439"/>
                <a:gd name="connsiteX4329" fmla="*/ 7667836 w 9586368"/>
                <a:gd name="connsiteY4329" fmla="*/ 3350398 h 6479439"/>
                <a:gd name="connsiteX4330" fmla="*/ 7671855 w 9586368"/>
                <a:gd name="connsiteY4330" fmla="*/ 3354436 h 6479439"/>
                <a:gd name="connsiteX4331" fmla="*/ 7671855 w 9586368"/>
                <a:gd name="connsiteY4331" fmla="*/ 3364306 h 6479439"/>
                <a:gd name="connsiteX4332" fmla="*/ 7667836 w 9586368"/>
                <a:gd name="connsiteY4332" fmla="*/ 3368345 h 6479439"/>
                <a:gd name="connsiteX4333" fmla="*/ 7657926 w 9586368"/>
                <a:gd name="connsiteY4333" fmla="*/ 3368345 h 6479439"/>
                <a:gd name="connsiteX4334" fmla="*/ 7653906 w 9586368"/>
                <a:gd name="connsiteY4334" fmla="*/ 3364306 h 6479439"/>
                <a:gd name="connsiteX4335" fmla="*/ 7653906 w 9586368"/>
                <a:gd name="connsiteY4335" fmla="*/ 3354436 h 6479439"/>
                <a:gd name="connsiteX4336" fmla="*/ 7418611 w 9586368"/>
                <a:gd name="connsiteY4336" fmla="*/ 3350398 h 6479439"/>
                <a:gd name="connsiteX4337" fmla="*/ 7428521 w 9586368"/>
                <a:gd name="connsiteY4337" fmla="*/ 3350398 h 6479439"/>
                <a:gd name="connsiteX4338" fmla="*/ 7432540 w 9586368"/>
                <a:gd name="connsiteY4338" fmla="*/ 3354436 h 6479439"/>
                <a:gd name="connsiteX4339" fmla="*/ 7432540 w 9586368"/>
                <a:gd name="connsiteY4339" fmla="*/ 3364306 h 6479439"/>
                <a:gd name="connsiteX4340" fmla="*/ 7428521 w 9586368"/>
                <a:gd name="connsiteY4340" fmla="*/ 3368345 h 6479439"/>
                <a:gd name="connsiteX4341" fmla="*/ 7418611 w 9586368"/>
                <a:gd name="connsiteY4341" fmla="*/ 3368345 h 6479439"/>
                <a:gd name="connsiteX4342" fmla="*/ 7414592 w 9586368"/>
                <a:gd name="connsiteY4342" fmla="*/ 3364306 h 6479439"/>
                <a:gd name="connsiteX4343" fmla="*/ 7414592 w 9586368"/>
                <a:gd name="connsiteY4343" fmla="*/ 3354436 h 6479439"/>
                <a:gd name="connsiteX4344" fmla="*/ 7179298 w 9586368"/>
                <a:gd name="connsiteY4344" fmla="*/ 3350398 h 6479439"/>
                <a:gd name="connsiteX4345" fmla="*/ 7189209 w 9586368"/>
                <a:gd name="connsiteY4345" fmla="*/ 3350398 h 6479439"/>
                <a:gd name="connsiteX4346" fmla="*/ 7193228 w 9586368"/>
                <a:gd name="connsiteY4346" fmla="*/ 3354436 h 6479439"/>
                <a:gd name="connsiteX4347" fmla="*/ 7193228 w 9586368"/>
                <a:gd name="connsiteY4347" fmla="*/ 3364306 h 6479439"/>
                <a:gd name="connsiteX4348" fmla="*/ 7189209 w 9586368"/>
                <a:gd name="connsiteY4348" fmla="*/ 3368345 h 6479439"/>
                <a:gd name="connsiteX4349" fmla="*/ 7179298 w 9586368"/>
                <a:gd name="connsiteY4349" fmla="*/ 3368345 h 6479439"/>
                <a:gd name="connsiteX4350" fmla="*/ 7175279 w 9586368"/>
                <a:gd name="connsiteY4350" fmla="*/ 3364306 h 6479439"/>
                <a:gd name="connsiteX4351" fmla="*/ 7175279 w 9586368"/>
                <a:gd name="connsiteY4351" fmla="*/ 3354436 h 6479439"/>
                <a:gd name="connsiteX4352" fmla="*/ 6939983 w 9586368"/>
                <a:gd name="connsiteY4352" fmla="*/ 3350398 h 6479439"/>
                <a:gd name="connsiteX4353" fmla="*/ 6949894 w 9586368"/>
                <a:gd name="connsiteY4353" fmla="*/ 3350398 h 6479439"/>
                <a:gd name="connsiteX4354" fmla="*/ 6953913 w 9586368"/>
                <a:gd name="connsiteY4354" fmla="*/ 3354436 h 6479439"/>
                <a:gd name="connsiteX4355" fmla="*/ 6953913 w 9586368"/>
                <a:gd name="connsiteY4355" fmla="*/ 3364306 h 6479439"/>
                <a:gd name="connsiteX4356" fmla="*/ 6949894 w 9586368"/>
                <a:gd name="connsiteY4356" fmla="*/ 3368345 h 6479439"/>
                <a:gd name="connsiteX4357" fmla="*/ 6939983 w 9586368"/>
                <a:gd name="connsiteY4357" fmla="*/ 3368345 h 6479439"/>
                <a:gd name="connsiteX4358" fmla="*/ 6935964 w 9586368"/>
                <a:gd name="connsiteY4358" fmla="*/ 3364306 h 6479439"/>
                <a:gd name="connsiteX4359" fmla="*/ 6935964 w 9586368"/>
                <a:gd name="connsiteY4359" fmla="*/ 3354436 h 6479439"/>
                <a:gd name="connsiteX4360" fmla="*/ 6700670 w 9586368"/>
                <a:gd name="connsiteY4360" fmla="*/ 3350398 h 6479439"/>
                <a:gd name="connsiteX4361" fmla="*/ 6710581 w 9586368"/>
                <a:gd name="connsiteY4361" fmla="*/ 3350398 h 6479439"/>
                <a:gd name="connsiteX4362" fmla="*/ 6714600 w 9586368"/>
                <a:gd name="connsiteY4362" fmla="*/ 3354436 h 6479439"/>
                <a:gd name="connsiteX4363" fmla="*/ 6714600 w 9586368"/>
                <a:gd name="connsiteY4363" fmla="*/ 3364306 h 6479439"/>
                <a:gd name="connsiteX4364" fmla="*/ 6710581 w 9586368"/>
                <a:gd name="connsiteY4364" fmla="*/ 3368345 h 6479439"/>
                <a:gd name="connsiteX4365" fmla="*/ 6700670 w 9586368"/>
                <a:gd name="connsiteY4365" fmla="*/ 3368345 h 6479439"/>
                <a:gd name="connsiteX4366" fmla="*/ 6696651 w 9586368"/>
                <a:gd name="connsiteY4366" fmla="*/ 3364306 h 6479439"/>
                <a:gd name="connsiteX4367" fmla="*/ 6696651 w 9586368"/>
                <a:gd name="connsiteY4367" fmla="*/ 3354436 h 6479439"/>
                <a:gd name="connsiteX4368" fmla="*/ 6461356 w 9586368"/>
                <a:gd name="connsiteY4368" fmla="*/ 3350398 h 6479439"/>
                <a:gd name="connsiteX4369" fmla="*/ 6471266 w 9586368"/>
                <a:gd name="connsiteY4369" fmla="*/ 3350398 h 6479439"/>
                <a:gd name="connsiteX4370" fmla="*/ 6475285 w 9586368"/>
                <a:gd name="connsiteY4370" fmla="*/ 3354436 h 6479439"/>
                <a:gd name="connsiteX4371" fmla="*/ 6475285 w 9586368"/>
                <a:gd name="connsiteY4371" fmla="*/ 3364306 h 6479439"/>
                <a:gd name="connsiteX4372" fmla="*/ 6471266 w 9586368"/>
                <a:gd name="connsiteY4372" fmla="*/ 3368345 h 6479439"/>
                <a:gd name="connsiteX4373" fmla="*/ 6461356 w 9586368"/>
                <a:gd name="connsiteY4373" fmla="*/ 3368345 h 6479439"/>
                <a:gd name="connsiteX4374" fmla="*/ 6457337 w 9586368"/>
                <a:gd name="connsiteY4374" fmla="*/ 3364306 h 6479439"/>
                <a:gd name="connsiteX4375" fmla="*/ 6457337 w 9586368"/>
                <a:gd name="connsiteY4375" fmla="*/ 3354436 h 6479439"/>
                <a:gd name="connsiteX4376" fmla="*/ 6222042 w 9586368"/>
                <a:gd name="connsiteY4376" fmla="*/ 3350398 h 6479439"/>
                <a:gd name="connsiteX4377" fmla="*/ 6231952 w 9586368"/>
                <a:gd name="connsiteY4377" fmla="*/ 3350398 h 6479439"/>
                <a:gd name="connsiteX4378" fmla="*/ 6235971 w 9586368"/>
                <a:gd name="connsiteY4378" fmla="*/ 3354436 h 6479439"/>
                <a:gd name="connsiteX4379" fmla="*/ 6235971 w 9586368"/>
                <a:gd name="connsiteY4379" fmla="*/ 3364306 h 6479439"/>
                <a:gd name="connsiteX4380" fmla="*/ 6231952 w 9586368"/>
                <a:gd name="connsiteY4380" fmla="*/ 3368345 h 6479439"/>
                <a:gd name="connsiteX4381" fmla="*/ 6222042 w 9586368"/>
                <a:gd name="connsiteY4381" fmla="*/ 3368345 h 6479439"/>
                <a:gd name="connsiteX4382" fmla="*/ 6218023 w 9586368"/>
                <a:gd name="connsiteY4382" fmla="*/ 3364306 h 6479439"/>
                <a:gd name="connsiteX4383" fmla="*/ 6218023 w 9586368"/>
                <a:gd name="connsiteY4383" fmla="*/ 3354436 h 6479439"/>
                <a:gd name="connsiteX4384" fmla="*/ 5982729 w 9586368"/>
                <a:gd name="connsiteY4384" fmla="*/ 3350398 h 6479439"/>
                <a:gd name="connsiteX4385" fmla="*/ 5992639 w 9586368"/>
                <a:gd name="connsiteY4385" fmla="*/ 3350398 h 6479439"/>
                <a:gd name="connsiteX4386" fmla="*/ 5996658 w 9586368"/>
                <a:gd name="connsiteY4386" fmla="*/ 3354436 h 6479439"/>
                <a:gd name="connsiteX4387" fmla="*/ 5996658 w 9586368"/>
                <a:gd name="connsiteY4387" fmla="*/ 3364306 h 6479439"/>
                <a:gd name="connsiteX4388" fmla="*/ 5992639 w 9586368"/>
                <a:gd name="connsiteY4388" fmla="*/ 3368345 h 6479439"/>
                <a:gd name="connsiteX4389" fmla="*/ 5982729 w 9586368"/>
                <a:gd name="connsiteY4389" fmla="*/ 3368345 h 6479439"/>
                <a:gd name="connsiteX4390" fmla="*/ 5978710 w 9586368"/>
                <a:gd name="connsiteY4390" fmla="*/ 3364306 h 6479439"/>
                <a:gd name="connsiteX4391" fmla="*/ 5978710 w 9586368"/>
                <a:gd name="connsiteY4391" fmla="*/ 3354436 h 6479439"/>
                <a:gd name="connsiteX4392" fmla="*/ 5743412 w 9586368"/>
                <a:gd name="connsiteY4392" fmla="*/ 3350398 h 6479439"/>
                <a:gd name="connsiteX4393" fmla="*/ 5753323 w 9586368"/>
                <a:gd name="connsiteY4393" fmla="*/ 3350398 h 6479439"/>
                <a:gd name="connsiteX4394" fmla="*/ 5757342 w 9586368"/>
                <a:gd name="connsiteY4394" fmla="*/ 3354436 h 6479439"/>
                <a:gd name="connsiteX4395" fmla="*/ 5757342 w 9586368"/>
                <a:gd name="connsiteY4395" fmla="*/ 3364306 h 6479439"/>
                <a:gd name="connsiteX4396" fmla="*/ 5753323 w 9586368"/>
                <a:gd name="connsiteY4396" fmla="*/ 3368345 h 6479439"/>
                <a:gd name="connsiteX4397" fmla="*/ 5743412 w 9586368"/>
                <a:gd name="connsiteY4397" fmla="*/ 3368345 h 6479439"/>
                <a:gd name="connsiteX4398" fmla="*/ 5739393 w 9586368"/>
                <a:gd name="connsiteY4398" fmla="*/ 3364306 h 6479439"/>
                <a:gd name="connsiteX4399" fmla="*/ 5739393 w 9586368"/>
                <a:gd name="connsiteY4399" fmla="*/ 3354436 h 6479439"/>
                <a:gd name="connsiteX4400" fmla="*/ 5504099 w 9586368"/>
                <a:gd name="connsiteY4400" fmla="*/ 3350398 h 6479439"/>
                <a:gd name="connsiteX4401" fmla="*/ 5514010 w 9586368"/>
                <a:gd name="connsiteY4401" fmla="*/ 3350398 h 6479439"/>
                <a:gd name="connsiteX4402" fmla="*/ 5518029 w 9586368"/>
                <a:gd name="connsiteY4402" fmla="*/ 3354436 h 6479439"/>
                <a:gd name="connsiteX4403" fmla="*/ 5518029 w 9586368"/>
                <a:gd name="connsiteY4403" fmla="*/ 3364306 h 6479439"/>
                <a:gd name="connsiteX4404" fmla="*/ 5514010 w 9586368"/>
                <a:gd name="connsiteY4404" fmla="*/ 3368345 h 6479439"/>
                <a:gd name="connsiteX4405" fmla="*/ 5504099 w 9586368"/>
                <a:gd name="connsiteY4405" fmla="*/ 3368345 h 6479439"/>
                <a:gd name="connsiteX4406" fmla="*/ 5500080 w 9586368"/>
                <a:gd name="connsiteY4406" fmla="*/ 3364306 h 6479439"/>
                <a:gd name="connsiteX4407" fmla="*/ 5500080 w 9586368"/>
                <a:gd name="connsiteY4407" fmla="*/ 3354436 h 6479439"/>
                <a:gd name="connsiteX4408" fmla="*/ 5264784 w 9586368"/>
                <a:gd name="connsiteY4408" fmla="*/ 3350398 h 6479439"/>
                <a:gd name="connsiteX4409" fmla="*/ 5274694 w 9586368"/>
                <a:gd name="connsiteY4409" fmla="*/ 3350398 h 6479439"/>
                <a:gd name="connsiteX4410" fmla="*/ 5278713 w 9586368"/>
                <a:gd name="connsiteY4410" fmla="*/ 3354436 h 6479439"/>
                <a:gd name="connsiteX4411" fmla="*/ 5278713 w 9586368"/>
                <a:gd name="connsiteY4411" fmla="*/ 3364306 h 6479439"/>
                <a:gd name="connsiteX4412" fmla="*/ 5274694 w 9586368"/>
                <a:gd name="connsiteY4412" fmla="*/ 3368345 h 6479439"/>
                <a:gd name="connsiteX4413" fmla="*/ 5264784 w 9586368"/>
                <a:gd name="connsiteY4413" fmla="*/ 3368345 h 6479439"/>
                <a:gd name="connsiteX4414" fmla="*/ 5260765 w 9586368"/>
                <a:gd name="connsiteY4414" fmla="*/ 3364306 h 6479439"/>
                <a:gd name="connsiteX4415" fmla="*/ 5260765 w 9586368"/>
                <a:gd name="connsiteY4415" fmla="*/ 3354436 h 6479439"/>
                <a:gd name="connsiteX4416" fmla="*/ 5025470 w 9586368"/>
                <a:gd name="connsiteY4416" fmla="*/ 3350398 h 6479439"/>
                <a:gd name="connsiteX4417" fmla="*/ 5035381 w 9586368"/>
                <a:gd name="connsiteY4417" fmla="*/ 3350398 h 6479439"/>
                <a:gd name="connsiteX4418" fmla="*/ 5039400 w 9586368"/>
                <a:gd name="connsiteY4418" fmla="*/ 3354436 h 6479439"/>
                <a:gd name="connsiteX4419" fmla="*/ 5039400 w 9586368"/>
                <a:gd name="connsiteY4419" fmla="*/ 3364306 h 6479439"/>
                <a:gd name="connsiteX4420" fmla="*/ 5035381 w 9586368"/>
                <a:gd name="connsiteY4420" fmla="*/ 3368345 h 6479439"/>
                <a:gd name="connsiteX4421" fmla="*/ 5025470 w 9586368"/>
                <a:gd name="connsiteY4421" fmla="*/ 3368345 h 6479439"/>
                <a:gd name="connsiteX4422" fmla="*/ 5021451 w 9586368"/>
                <a:gd name="connsiteY4422" fmla="*/ 3364306 h 6479439"/>
                <a:gd name="connsiteX4423" fmla="*/ 5021451 w 9586368"/>
                <a:gd name="connsiteY4423" fmla="*/ 3354436 h 6479439"/>
                <a:gd name="connsiteX4424" fmla="*/ 4786241 w 9586368"/>
                <a:gd name="connsiteY4424" fmla="*/ 3350398 h 6479439"/>
                <a:gd name="connsiteX4425" fmla="*/ 4796152 w 9586368"/>
                <a:gd name="connsiteY4425" fmla="*/ 3350398 h 6479439"/>
                <a:gd name="connsiteX4426" fmla="*/ 4800171 w 9586368"/>
                <a:gd name="connsiteY4426" fmla="*/ 3354436 h 6479439"/>
                <a:gd name="connsiteX4427" fmla="*/ 4800171 w 9586368"/>
                <a:gd name="connsiteY4427" fmla="*/ 3364306 h 6479439"/>
                <a:gd name="connsiteX4428" fmla="*/ 4796152 w 9586368"/>
                <a:gd name="connsiteY4428" fmla="*/ 3368345 h 6479439"/>
                <a:gd name="connsiteX4429" fmla="*/ 4786241 w 9586368"/>
                <a:gd name="connsiteY4429" fmla="*/ 3368345 h 6479439"/>
                <a:gd name="connsiteX4430" fmla="*/ 4782224 w 9586368"/>
                <a:gd name="connsiteY4430" fmla="*/ 3364306 h 6479439"/>
                <a:gd name="connsiteX4431" fmla="*/ 4782224 w 9586368"/>
                <a:gd name="connsiteY4431" fmla="*/ 3354436 h 6479439"/>
                <a:gd name="connsiteX4432" fmla="*/ 4546929 w 9586368"/>
                <a:gd name="connsiteY4432" fmla="*/ 3350398 h 6479439"/>
                <a:gd name="connsiteX4433" fmla="*/ 4556840 w 9586368"/>
                <a:gd name="connsiteY4433" fmla="*/ 3350398 h 6479439"/>
                <a:gd name="connsiteX4434" fmla="*/ 4560859 w 9586368"/>
                <a:gd name="connsiteY4434" fmla="*/ 3354436 h 6479439"/>
                <a:gd name="connsiteX4435" fmla="*/ 4560859 w 9586368"/>
                <a:gd name="connsiteY4435" fmla="*/ 3364306 h 6479439"/>
                <a:gd name="connsiteX4436" fmla="*/ 4556840 w 9586368"/>
                <a:gd name="connsiteY4436" fmla="*/ 3368345 h 6479439"/>
                <a:gd name="connsiteX4437" fmla="*/ 4546929 w 9586368"/>
                <a:gd name="connsiteY4437" fmla="*/ 3368345 h 6479439"/>
                <a:gd name="connsiteX4438" fmla="*/ 4542910 w 9586368"/>
                <a:gd name="connsiteY4438" fmla="*/ 3364306 h 6479439"/>
                <a:gd name="connsiteX4439" fmla="*/ 4542910 w 9586368"/>
                <a:gd name="connsiteY4439" fmla="*/ 3354436 h 6479439"/>
                <a:gd name="connsiteX4440" fmla="*/ 4307612 w 9586368"/>
                <a:gd name="connsiteY4440" fmla="*/ 3350398 h 6479439"/>
                <a:gd name="connsiteX4441" fmla="*/ 4317523 w 9586368"/>
                <a:gd name="connsiteY4441" fmla="*/ 3350398 h 6479439"/>
                <a:gd name="connsiteX4442" fmla="*/ 4321543 w 9586368"/>
                <a:gd name="connsiteY4442" fmla="*/ 3354436 h 6479439"/>
                <a:gd name="connsiteX4443" fmla="*/ 4321543 w 9586368"/>
                <a:gd name="connsiteY4443" fmla="*/ 3364306 h 6479439"/>
                <a:gd name="connsiteX4444" fmla="*/ 4317523 w 9586368"/>
                <a:gd name="connsiteY4444" fmla="*/ 3368345 h 6479439"/>
                <a:gd name="connsiteX4445" fmla="*/ 4307612 w 9586368"/>
                <a:gd name="connsiteY4445" fmla="*/ 3368345 h 6479439"/>
                <a:gd name="connsiteX4446" fmla="*/ 4303595 w 9586368"/>
                <a:gd name="connsiteY4446" fmla="*/ 3364306 h 6479439"/>
                <a:gd name="connsiteX4447" fmla="*/ 4303595 w 9586368"/>
                <a:gd name="connsiteY4447" fmla="*/ 3354436 h 6479439"/>
                <a:gd name="connsiteX4448" fmla="*/ 4068297 w 9586368"/>
                <a:gd name="connsiteY4448" fmla="*/ 3350398 h 6479439"/>
                <a:gd name="connsiteX4449" fmla="*/ 4078210 w 9586368"/>
                <a:gd name="connsiteY4449" fmla="*/ 3350398 h 6479439"/>
                <a:gd name="connsiteX4450" fmla="*/ 4082229 w 9586368"/>
                <a:gd name="connsiteY4450" fmla="*/ 3354436 h 6479439"/>
                <a:gd name="connsiteX4451" fmla="*/ 4082229 w 9586368"/>
                <a:gd name="connsiteY4451" fmla="*/ 3364306 h 6479439"/>
                <a:gd name="connsiteX4452" fmla="*/ 4078210 w 9586368"/>
                <a:gd name="connsiteY4452" fmla="*/ 3368345 h 6479439"/>
                <a:gd name="connsiteX4453" fmla="*/ 4068297 w 9586368"/>
                <a:gd name="connsiteY4453" fmla="*/ 3368345 h 6479439"/>
                <a:gd name="connsiteX4454" fmla="*/ 4064278 w 9586368"/>
                <a:gd name="connsiteY4454" fmla="*/ 3364306 h 6479439"/>
                <a:gd name="connsiteX4455" fmla="*/ 4064278 w 9586368"/>
                <a:gd name="connsiteY4455" fmla="*/ 3354436 h 6479439"/>
                <a:gd name="connsiteX4456" fmla="*/ 3828990 w 9586368"/>
                <a:gd name="connsiteY4456" fmla="*/ 3350398 h 6479439"/>
                <a:gd name="connsiteX4457" fmla="*/ 3838899 w 9586368"/>
                <a:gd name="connsiteY4457" fmla="*/ 3350398 h 6479439"/>
                <a:gd name="connsiteX4458" fmla="*/ 3842917 w 9586368"/>
                <a:gd name="connsiteY4458" fmla="*/ 3354436 h 6479439"/>
                <a:gd name="connsiteX4459" fmla="*/ 3842917 w 9586368"/>
                <a:gd name="connsiteY4459" fmla="*/ 3364306 h 6479439"/>
                <a:gd name="connsiteX4460" fmla="*/ 3838899 w 9586368"/>
                <a:gd name="connsiteY4460" fmla="*/ 3368345 h 6479439"/>
                <a:gd name="connsiteX4461" fmla="*/ 3828990 w 9586368"/>
                <a:gd name="connsiteY4461" fmla="*/ 3368345 h 6479439"/>
                <a:gd name="connsiteX4462" fmla="*/ 3824971 w 9586368"/>
                <a:gd name="connsiteY4462" fmla="*/ 3364306 h 6479439"/>
                <a:gd name="connsiteX4463" fmla="*/ 3824971 w 9586368"/>
                <a:gd name="connsiteY4463" fmla="*/ 3354436 h 6479439"/>
                <a:gd name="connsiteX4464" fmla="*/ 3589676 w 9586368"/>
                <a:gd name="connsiteY4464" fmla="*/ 3350398 h 6479439"/>
                <a:gd name="connsiteX4465" fmla="*/ 3599585 w 9586368"/>
                <a:gd name="connsiteY4465" fmla="*/ 3350398 h 6479439"/>
                <a:gd name="connsiteX4466" fmla="*/ 3603604 w 9586368"/>
                <a:gd name="connsiteY4466" fmla="*/ 3354436 h 6479439"/>
                <a:gd name="connsiteX4467" fmla="*/ 3603604 w 9586368"/>
                <a:gd name="connsiteY4467" fmla="*/ 3364306 h 6479439"/>
                <a:gd name="connsiteX4468" fmla="*/ 3599585 w 9586368"/>
                <a:gd name="connsiteY4468" fmla="*/ 3368345 h 6479439"/>
                <a:gd name="connsiteX4469" fmla="*/ 3589676 w 9586368"/>
                <a:gd name="connsiteY4469" fmla="*/ 3368345 h 6479439"/>
                <a:gd name="connsiteX4470" fmla="*/ 3585657 w 9586368"/>
                <a:gd name="connsiteY4470" fmla="*/ 3364306 h 6479439"/>
                <a:gd name="connsiteX4471" fmla="*/ 3585657 w 9586368"/>
                <a:gd name="connsiteY4471" fmla="*/ 3354436 h 6479439"/>
                <a:gd name="connsiteX4472" fmla="*/ 3350359 w 9586368"/>
                <a:gd name="connsiteY4472" fmla="*/ 3350398 h 6479439"/>
                <a:gd name="connsiteX4473" fmla="*/ 3360268 w 9586368"/>
                <a:gd name="connsiteY4473" fmla="*/ 3350398 h 6479439"/>
                <a:gd name="connsiteX4474" fmla="*/ 3364287 w 9586368"/>
                <a:gd name="connsiteY4474" fmla="*/ 3354436 h 6479439"/>
                <a:gd name="connsiteX4475" fmla="*/ 3364287 w 9586368"/>
                <a:gd name="connsiteY4475" fmla="*/ 3364306 h 6479439"/>
                <a:gd name="connsiteX4476" fmla="*/ 3360268 w 9586368"/>
                <a:gd name="connsiteY4476" fmla="*/ 3368345 h 6479439"/>
                <a:gd name="connsiteX4477" fmla="*/ 3350359 w 9586368"/>
                <a:gd name="connsiteY4477" fmla="*/ 3368345 h 6479439"/>
                <a:gd name="connsiteX4478" fmla="*/ 3346340 w 9586368"/>
                <a:gd name="connsiteY4478" fmla="*/ 3364306 h 6479439"/>
                <a:gd name="connsiteX4479" fmla="*/ 3346340 w 9586368"/>
                <a:gd name="connsiteY4479" fmla="*/ 3354436 h 6479439"/>
                <a:gd name="connsiteX4480" fmla="*/ 3111048 w 9586368"/>
                <a:gd name="connsiteY4480" fmla="*/ 3350398 h 6479439"/>
                <a:gd name="connsiteX4481" fmla="*/ 3120959 w 9586368"/>
                <a:gd name="connsiteY4481" fmla="*/ 3350398 h 6479439"/>
                <a:gd name="connsiteX4482" fmla="*/ 3124977 w 9586368"/>
                <a:gd name="connsiteY4482" fmla="*/ 3354436 h 6479439"/>
                <a:gd name="connsiteX4483" fmla="*/ 3124977 w 9586368"/>
                <a:gd name="connsiteY4483" fmla="*/ 3364306 h 6479439"/>
                <a:gd name="connsiteX4484" fmla="*/ 3120959 w 9586368"/>
                <a:gd name="connsiteY4484" fmla="*/ 3368345 h 6479439"/>
                <a:gd name="connsiteX4485" fmla="*/ 3111048 w 9586368"/>
                <a:gd name="connsiteY4485" fmla="*/ 3368345 h 6479439"/>
                <a:gd name="connsiteX4486" fmla="*/ 3107029 w 9586368"/>
                <a:gd name="connsiteY4486" fmla="*/ 3364306 h 6479439"/>
                <a:gd name="connsiteX4487" fmla="*/ 3107029 w 9586368"/>
                <a:gd name="connsiteY4487" fmla="*/ 3354436 h 6479439"/>
                <a:gd name="connsiteX4488" fmla="*/ 2871737 w 9586368"/>
                <a:gd name="connsiteY4488" fmla="*/ 3350398 h 6479439"/>
                <a:gd name="connsiteX4489" fmla="*/ 2881646 w 9586368"/>
                <a:gd name="connsiteY4489" fmla="*/ 3350398 h 6479439"/>
                <a:gd name="connsiteX4490" fmla="*/ 2885666 w 9586368"/>
                <a:gd name="connsiteY4490" fmla="*/ 3354436 h 6479439"/>
                <a:gd name="connsiteX4491" fmla="*/ 2885666 w 9586368"/>
                <a:gd name="connsiteY4491" fmla="*/ 3364306 h 6479439"/>
                <a:gd name="connsiteX4492" fmla="*/ 2881646 w 9586368"/>
                <a:gd name="connsiteY4492" fmla="*/ 3368345 h 6479439"/>
                <a:gd name="connsiteX4493" fmla="*/ 2871737 w 9586368"/>
                <a:gd name="connsiteY4493" fmla="*/ 3368345 h 6479439"/>
                <a:gd name="connsiteX4494" fmla="*/ 2867717 w 9586368"/>
                <a:gd name="connsiteY4494" fmla="*/ 3364306 h 6479439"/>
                <a:gd name="connsiteX4495" fmla="*/ 2867717 w 9586368"/>
                <a:gd name="connsiteY4495" fmla="*/ 3354436 h 6479439"/>
                <a:gd name="connsiteX4496" fmla="*/ 2632423 w 9586368"/>
                <a:gd name="connsiteY4496" fmla="*/ 3350398 h 6479439"/>
                <a:gd name="connsiteX4497" fmla="*/ 2642334 w 9586368"/>
                <a:gd name="connsiteY4497" fmla="*/ 3350398 h 6479439"/>
                <a:gd name="connsiteX4498" fmla="*/ 2646352 w 9586368"/>
                <a:gd name="connsiteY4498" fmla="*/ 3354436 h 6479439"/>
                <a:gd name="connsiteX4499" fmla="*/ 2646352 w 9586368"/>
                <a:gd name="connsiteY4499" fmla="*/ 3364306 h 6479439"/>
                <a:gd name="connsiteX4500" fmla="*/ 2642334 w 9586368"/>
                <a:gd name="connsiteY4500" fmla="*/ 3368345 h 6479439"/>
                <a:gd name="connsiteX4501" fmla="*/ 2632423 w 9586368"/>
                <a:gd name="connsiteY4501" fmla="*/ 3368345 h 6479439"/>
                <a:gd name="connsiteX4502" fmla="*/ 2628404 w 9586368"/>
                <a:gd name="connsiteY4502" fmla="*/ 3364306 h 6479439"/>
                <a:gd name="connsiteX4503" fmla="*/ 2628404 w 9586368"/>
                <a:gd name="connsiteY4503" fmla="*/ 3354436 h 6479439"/>
                <a:gd name="connsiteX4504" fmla="*/ 2393104 w 9586368"/>
                <a:gd name="connsiteY4504" fmla="*/ 3350398 h 6479439"/>
                <a:gd name="connsiteX4505" fmla="*/ 2403015 w 9586368"/>
                <a:gd name="connsiteY4505" fmla="*/ 3350398 h 6479439"/>
                <a:gd name="connsiteX4506" fmla="*/ 2407034 w 9586368"/>
                <a:gd name="connsiteY4506" fmla="*/ 3354436 h 6479439"/>
                <a:gd name="connsiteX4507" fmla="*/ 2407034 w 9586368"/>
                <a:gd name="connsiteY4507" fmla="*/ 3364306 h 6479439"/>
                <a:gd name="connsiteX4508" fmla="*/ 2403015 w 9586368"/>
                <a:gd name="connsiteY4508" fmla="*/ 3368345 h 6479439"/>
                <a:gd name="connsiteX4509" fmla="*/ 2393104 w 9586368"/>
                <a:gd name="connsiteY4509" fmla="*/ 3368345 h 6479439"/>
                <a:gd name="connsiteX4510" fmla="*/ 2389087 w 9586368"/>
                <a:gd name="connsiteY4510" fmla="*/ 3364306 h 6479439"/>
                <a:gd name="connsiteX4511" fmla="*/ 2389087 w 9586368"/>
                <a:gd name="connsiteY4511" fmla="*/ 3354436 h 6479439"/>
                <a:gd name="connsiteX4512" fmla="*/ 2157820 w 9586368"/>
                <a:gd name="connsiteY4512" fmla="*/ 3350398 h 6479439"/>
                <a:gd name="connsiteX4513" fmla="*/ 2167731 w 9586368"/>
                <a:gd name="connsiteY4513" fmla="*/ 3350398 h 6479439"/>
                <a:gd name="connsiteX4514" fmla="*/ 2171749 w 9586368"/>
                <a:gd name="connsiteY4514" fmla="*/ 3354436 h 6479439"/>
                <a:gd name="connsiteX4515" fmla="*/ 2171749 w 9586368"/>
                <a:gd name="connsiteY4515" fmla="*/ 3364306 h 6479439"/>
                <a:gd name="connsiteX4516" fmla="*/ 2167731 w 9586368"/>
                <a:gd name="connsiteY4516" fmla="*/ 3368345 h 6479439"/>
                <a:gd name="connsiteX4517" fmla="*/ 2157820 w 9586368"/>
                <a:gd name="connsiteY4517" fmla="*/ 3368345 h 6479439"/>
                <a:gd name="connsiteX4518" fmla="*/ 2153802 w 9586368"/>
                <a:gd name="connsiteY4518" fmla="*/ 3364306 h 6479439"/>
                <a:gd name="connsiteX4519" fmla="*/ 2153802 w 9586368"/>
                <a:gd name="connsiteY4519" fmla="*/ 3354436 h 6479439"/>
                <a:gd name="connsiteX4520" fmla="*/ 1918511 w 9586368"/>
                <a:gd name="connsiteY4520" fmla="*/ 3350398 h 6479439"/>
                <a:gd name="connsiteX4521" fmla="*/ 1928422 w 9586368"/>
                <a:gd name="connsiteY4521" fmla="*/ 3350398 h 6479439"/>
                <a:gd name="connsiteX4522" fmla="*/ 1932441 w 9586368"/>
                <a:gd name="connsiteY4522" fmla="*/ 3354436 h 6479439"/>
                <a:gd name="connsiteX4523" fmla="*/ 1932441 w 9586368"/>
                <a:gd name="connsiteY4523" fmla="*/ 3364306 h 6479439"/>
                <a:gd name="connsiteX4524" fmla="*/ 1928422 w 9586368"/>
                <a:gd name="connsiteY4524" fmla="*/ 3368345 h 6479439"/>
                <a:gd name="connsiteX4525" fmla="*/ 1918511 w 9586368"/>
                <a:gd name="connsiteY4525" fmla="*/ 3368345 h 6479439"/>
                <a:gd name="connsiteX4526" fmla="*/ 1914493 w 9586368"/>
                <a:gd name="connsiteY4526" fmla="*/ 3364306 h 6479439"/>
                <a:gd name="connsiteX4527" fmla="*/ 1914493 w 9586368"/>
                <a:gd name="connsiteY4527" fmla="*/ 3354436 h 6479439"/>
                <a:gd name="connsiteX4528" fmla="*/ 1679210 w 9586368"/>
                <a:gd name="connsiteY4528" fmla="*/ 3350398 h 6479439"/>
                <a:gd name="connsiteX4529" fmla="*/ 1689120 w 9586368"/>
                <a:gd name="connsiteY4529" fmla="*/ 3350398 h 6479439"/>
                <a:gd name="connsiteX4530" fmla="*/ 1693138 w 9586368"/>
                <a:gd name="connsiteY4530" fmla="*/ 3354436 h 6479439"/>
                <a:gd name="connsiteX4531" fmla="*/ 1693138 w 9586368"/>
                <a:gd name="connsiteY4531" fmla="*/ 3364306 h 6479439"/>
                <a:gd name="connsiteX4532" fmla="*/ 1689120 w 9586368"/>
                <a:gd name="connsiteY4532" fmla="*/ 3368345 h 6479439"/>
                <a:gd name="connsiteX4533" fmla="*/ 1679210 w 9586368"/>
                <a:gd name="connsiteY4533" fmla="*/ 3368345 h 6479439"/>
                <a:gd name="connsiteX4534" fmla="*/ 1675191 w 9586368"/>
                <a:gd name="connsiteY4534" fmla="*/ 3364306 h 6479439"/>
                <a:gd name="connsiteX4535" fmla="*/ 1675191 w 9586368"/>
                <a:gd name="connsiteY4535" fmla="*/ 3354436 h 6479439"/>
                <a:gd name="connsiteX4536" fmla="*/ 1439893 w 9586368"/>
                <a:gd name="connsiteY4536" fmla="*/ 3350398 h 6479439"/>
                <a:gd name="connsiteX4537" fmla="*/ 1449803 w 9586368"/>
                <a:gd name="connsiteY4537" fmla="*/ 3350398 h 6479439"/>
                <a:gd name="connsiteX4538" fmla="*/ 1453823 w 9586368"/>
                <a:gd name="connsiteY4538" fmla="*/ 3354436 h 6479439"/>
                <a:gd name="connsiteX4539" fmla="*/ 1453823 w 9586368"/>
                <a:gd name="connsiteY4539" fmla="*/ 3364306 h 6479439"/>
                <a:gd name="connsiteX4540" fmla="*/ 1449803 w 9586368"/>
                <a:gd name="connsiteY4540" fmla="*/ 3368345 h 6479439"/>
                <a:gd name="connsiteX4541" fmla="*/ 1439893 w 9586368"/>
                <a:gd name="connsiteY4541" fmla="*/ 3368345 h 6479439"/>
                <a:gd name="connsiteX4542" fmla="*/ 1435875 w 9586368"/>
                <a:gd name="connsiteY4542" fmla="*/ 3364306 h 6479439"/>
                <a:gd name="connsiteX4543" fmla="*/ 1435875 w 9586368"/>
                <a:gd name="connsiteY4543" fmla="*/ 3354436 h 6479439"/>
                <a:gd name="connsiteX4544" fmla="*/ 1200578 w 9586368"/>
                <a:gd name="connsiteY4544" fmla="*/ 3350398 h 6479439"/>
                <a:gd name="connsiteX4545" fmla="*/ 1210488 w 9586368"/>
                <a:gd name="connsiteY4545" fmla="*/ 3350398 h 6479439"/>
                <a:gd name="connsiteX4546" fmla="*/ 1214507 w 9586368"/>
                <a:gd name="connsiteY4546" fmla="*/ 3354436 h 6479439"/>
                <a:gd name="connsiteX4547" fmla="*/ 1214507 w 9586368"/>
                <a:gd name="connsiteY4547" fmla="*/ 3364306 h 6479439"/>
                <a:gd name="connsiteX4548" fmla="*/ 1210488 w 9586368"/>
                <a:gd name="connsiteY4548" fmla="*/ 3368345 h 6479439"/>
                <a:gd name="connsiteX4549" fmla="*/ 1200578 w 9586368"/>
                <a:gd name="connsiteY4549" fmla="*/ 3368345 h 6479439"/>
                <a:gd name="connsiteX4550" fmla="*/ 1196559 w 9586368"/>
                <a:gd name="connsiteY4550" fmla="*/ 3364306 h 6479439"/>
                <a:gd name="connsiteX4551" fmla="*/ 1196559 w 9586368"/>
                <a:gd name="connsiteY4551" fmla="*/ 3354436 h 6479439"/>
                <a:gd name="connsiteX4552" fmla="*/ 961265 w 9586368"/>
                <a:gd name="connsiteY4552" fmla="*/ 3350398 h 6479439"/>
                <a:gd name="connsiteX4553" fmla="*/ 971176 w 9586368"/>
                <a:gd name="connsiteY4553" fmla="*/ 3350398 h 6479439"/>
                <a:gd name="connsiteX4554" fmla="*/ 975194 w 9586368"/>
                <a:gd name="connsiteY4554" fmla="*/ 3354436 h 6479439"/>
                <a:gd name="connsiteX4555" fmla="*/ 975194 w 9586368"/>
                <a:gd name="connsiteY4555" fmla="*/ 3364306 h 6479439"/>
                <a:gd name="connsiteX4556" fmla="*/ 971176 w 9586368"/>
                <a:gd name="connsiteY4556" fmla="*/ 3368345 h 6479439"/>
                <a:gd name="connsiteX4557" fmla="*/ 961265 w 9586368"/>
                <a:gd name="connsiteY4557" fmla="*/ 3368345 h 6479439"/>
                <a:gd name="connsiteX4558" fmla="*/ 957246 w 9586368"/>
                <a:gd name="connsiteY4558" fmla="*/ 3364306 h 6479439"/>
                <a:gd name="connsiteX4559" fmla="*/ 957246 w 9586368"/>
                <a:gd name="connsiteY4559" fmla="*/ 3354436 h 6479439"/>
                <a:gd name="connsiteX4560" fmla="*/ 721967 w 9586368"/>
                <a:gd name="connsiteY4560" fmla="*/ 3350398 h 6479439"/>
                <a:gd name="connsiteX4561" fmla="*/ 731877 w 9586368"/>
                <a:gd name="connsiteY4561" fmla="*/ 3350398 h 6479439"/>
                <a:gd name="connsiteX4562" fmla="*/ 735896 w 9586368"/>
                <a:gd name="connsiteY4562" fmla="*/ 3354436 h 6479439"/>
                <a:gd name="connsiteX4563" fmla="*/ 735896 w 9586368"/>
                <a:gd name="connsiteY4563" fmla="*/ 3364306 h 6479439"/>
                <a:gd name="connsiteX4564" fmla="*/ 731877 w 9586368"/>
                <a:gd name="connsiteY4564" fmla="*/ 3368345 h 6479439"/>
                <a:gd name="connsiteX4565" fmla="*/ 721967 w 9586368"/>
                <a:gd name="connsiteY4565" fmla="*/ 3368345 h 6479439"/>
                <a:gd name="connsiteX4566" fmla="*/ 717949 w 9586368"/>
                <a:gd name="connsiteY4566" fmla="*/ 3364306 h 6479439"/>
                <a:gd name="connsiteX4567" fmla="*/ 717949 w 9586368"/>
                <a:gd name="connsiteY4567" fmla="*/ 3354436 h 6479439"/>
                <a:gd name="connsiteX4568" fmla="*/ 482655 w 9586368"/>
                <a:gd name="connsiteY4568" fmla="*/ 3350398 h 6479439"/>
                <a:gd name="connsiteX4569" fmla="*/ 492565 w 9586368"/>
                <a:gd name="connsiteY4569" fmla="*/ 3350398 h 6479439"/>
                <a:gd name="connsiteX4570" fmla="*/ 496584 w 9586368"/>
                <a:gd name="connsiteY4570" fmla="*/ 3354436 h 6479439"/>
                <a:gd name="connsiteX4571" fmla="*/ 496584 w 9586368"/>
                <a:gd name="connsiteY4571" fmla="*/ 3364306 h 6479439"/>
                <a:gd name="connsiteX4572" fmla="*/ 492565 w 9586368"/>
                <a:gd name="connsiteY4572" fmla="*/ 3368345 h 6479439"/>
                <a:gd name="connsiteX4573" fmla="*/ 482655 w 9586368"/>
                <a:gd name="connsiteY4573" fmla="*/ 3368345 h 6479439"/>
                <a:gd name="connsiteX4574" fmla="*/ 478636 w 9586368"/>
                <a:gd name="connsiteY4574" fmla="*/ 3364306 h 6479439"/>
                <a:gd name="connsiteX4575" fmla="*/ 478636 w 9586368"/>
                <a:gd name="connsiteY4575" fmla="*/ 3354436 h 6479439"/>
                <a:gd name="connsiteX4576" fmla="*/ 243341 w 9586368"/>
                <a:gd name="connsiteY4576" fmla="*/ 3350398 h 6479439"/>
                <a:gd name="connsiteX4577" fmla="*/ 253252 w 9586368"/>
                <a:gd name="connsiteY4577" fmla="*/ 3350398 h 6479439"/>
                <a:gd name="connsiteX4578" fmla="*/ 257271 w 9586368"/>
                <a:gd name="connsiteY4578" fmla="*/ 3354436 h 6479439"/>
                <a:gd name="connsiteX4579" fmla="*/ 257271 w 9586368"/>
                <a:gd name="connsiteY4579" fmla="*/ 3364306 h 6479439"/>
                <a:gd name="connsiteX4580" fmla="*/ 253252 w 9586368"/>
                <a:gd name="connsiteY4580" fmla="*/ 3368345 h 6479439"/>
                <a:gd name="connsiteX4581" fmla="*/ 243341 w 9586368"/>
                <a:gd name="connsiteY4581" fmla="*/ 3368345 h 6479439"/>
                <a:gd name="connsiteX4582" fmla="*/ 239322 w 9586368"/>
                <a:gd name="connsiteY4582" fmla="*/ 3364306 h 6479439"/>
                <a:gd name="connsiteX4583" fmla="*/ 239322 w 9586368"/>
                <a:gd name="connsiteY4583" fmla="*/ 3354436 h 6479439"/>
                <a:gd name="connsiteX4584" fmla="*/ 4029 w 9586368"/>
                <a:gd name="connsiteY4584" fmla="*/ 3350398 h 6479439"/>
                <a:gd name="connsiteX4585" fmla="*/ 13938 w 9586368"/>
                <a:gd name="connsiteY4585" fmla="*/ 3350398 h 6479439"/>
                <a:gd name="connsiteX4586" fmla="*/ 17957 w 9586368"/>
                <a:gd name="connsiteY4586" fmla="*/ 3354436 h 6479439"/>
                <a:gd name="connsiteX4587" fmla="*/ 17957 w 9586368"/>
                <a:gd name="connsiteY4587" fmla="*/ 3364306 h 6479439"/>
                <a:gd name="connsiteX4588" fmla="*/ 13938 w 9586368"/>
                <a:gd name="connsiteY4588" fmla="*/ 3368345 h 6479439"/>
                <a:gd name="connsiteX4589" fmla="*/ 4029 w 9586368"/>
                <a:gd name="connsiteY4589" fmla="*/ 3368345 h 6479439"/>
                <a:gd name="connsiteX4590" fmla="*/ 9 w 9586368"/>
                <a:gd name="connsiteY4590" fmla="*/ 3364306 h 6479439"/>
                <a:gd name="connsiteX4591" fmla="*/ 9 w 9586368"/>
                <a:gd name="connsiteY4591" fmla="*/ 3354436 h 6479439"/>
                <a:gd name="connsiteX4592" fmla="*/ 2157820 w 9586368"/>
                <a:gd name="connsiteY4592" fmla="*/ 3111118 h 6479439"/>
                <a:gd name="connsiteX4593" fmla="*/ 2167731 w 9586368"/>
                <a:gd name="connsiteY4593" fmla="*/ 3111118 h 6479439"/>
                <a:gd name="connsiteX4594" fmla="*/ 2171750 w 9586368"/>
                <a:gd name="connsiteY4594" fmla="*/ 3115157 h 6479439"/>
                <a:gd name="connsiteX4595" fmla="*/ 2171750 w 9586368"/>
                <a:gd name="connsiteY4595" fmla="*/ 3125027 h 6479439"/>
                <a:gd name="connsiteX4596" fmla="*/ 2167731 w 9586368"/>
                <a:gd name="connsiteY4596" fmla="*/ 3129066 h 6479439"/>
                <a:gd name="connsiteX4597" fmla="*/ 2157820 w 9586368"/>
                <a:gd name="connsiteY4597" fmla="*/ 3129066 h 6479439"/>
                <a:gd name="connsiteX4598" fmla="*/ 2153802 w 9586368"/>
                <a:gd name="connsiteY4598" fmla="*/ 3125027 h 6479439"/>
                <a:gd name="connsiteX4599" fmla="*/ 2153802 w 9586368"/>
                <a:gd name="connsiteY4599" fmla="*/ 3115157 h 6479439"/>
                <a:gd name="connsiteX4600" fmla="*/ 1918513 w 9586368"/>
                <a:gd name="connsiteY4600" fmla="*/ 3111118 h 6479439"/>
                <a:gd name="connsiteX4601" fmla="*/ 1928422 w 9586368"/>
                <a:gd name="connsiteY4601" fmla="*/ 3111118 h 6479439"/>
                <a:gd name="connsiteX4602" fmla="*/ 1932441 w 9586368"/>
                <a:gd name="connsiteY4602" fmla="*/ 3115157 h 6479439"/>
                <a:gd name="connsiteX4603" fmla="*/ 1932441 w 9586368"/>
                <a:gd name="connsiteY4603" fmla="*/ 3125027 h 6479439"/>
                <a:gd name="connsiteX4604" fmla="*/ 1928422 w 9586368"/>
                <a:gd name="connsiteY4604" fmla="*/ 3129066 h 6479439"/>
                <a:gd name="connsiteX4605" fmla="*/ 1918513 w 9586368"/>
                <a:gd name="connsiteY4605" fmla="*/ 3129066 h 6479439"/>
                <a:gd name="connsiteX4606" fmla="*/ 1914493 w 9586368"/>
                <a:gd name="connsiteY4606" fmla="*/ 3125027 h 6479439"/>
                <a:gd name="connsiteX4607" fmla="*/ 1914493 w 9586368"/>
                <a:gd name="connsiteY4607" fmla="*/ 3115157 h 6479439"/>
                <a:gd name="connsiteX4608" fmla="*/ 1679211 w 9586368"/>
                <a:gd name="connsiteY4608" fmla="*/ 3111118 h 6479439"/>
                <a:gd name="connsiteX4609" fmla="*/ 1689121 w 9586368"/>
                <a:gd name="connsiteY4609" fmla="*/ 3111118 h 6479439"/>
                <a:gd name="connsiteX4610" fmla="*/ 1693139 w 9586368"/>
                <a:gd name="connsiteY4610" fmla="*/ 3115157 h 6479439"/>
                <a:gd name="connsiteX4611" fmla="*/ 1693139 w 9586368"/>
                <a:gd name="connsiteY4611" fmla="*/ 3125027 h 6479439"/>
                <a:gd name="connsiteX4612" fmla="*/ 1689121 w 9586368"/>
                <a:gd name="connsiteY4612" fmla="*/ 3129066 h 6479439"/>
                <a:gd name="connsiteX4613" fmla="*/ 1679211 w 9586368"/>
                <a:gd name="connsiteY4613" fmla="*/ 3129066 h 6479439"/>
                <a:gd name="connsiteX4614" fmla="*/ 1675191 w 9586368"/>
                <a:gd name="connsiteY4614" fmla="*/ 3125027 h 6479439"/>
                <a:gd name="connsiteX4615" fmla="*/ 1675191 w 9586368"/>
                <a:gd name="connsiteY4615" fmla="*/ 3115157 h 6479439"/>
                <a:gd name="connsiteX4616" fmla="*/ 1439895 w 9586368"/>
                <a:gd name="connsiteY4616" fmla="*/ 3111118 h 6479439"/>
                <a:gd name="connsiteX4617" fmla="*/ 1449805 w 9586368"/>
                <a:gd name="connsiteY4617" fmla="*/ 3111118 h 6479439"/>
                <a:gd name="connsiteX4618" fmla="*/ 1453823 w 9586368"/>
                <a:gd name="connsiteY4618" fmla="*/ 3115157 h 6479439"/>
                <a:gd name="connsiteX4619" fmla="*/ 1453823 w 9586368"/>
                <a:gd name="connsiteY4619" fmla="*/ 3125027 h 6479439"/>
                <a:gd name="connsiteX4620" fmla="*/ 1449805 w 9586368"/>
                <a:gd name="connsiteY4620" fmla="*/ 3129066 h 6479439"/>
                <a:gd name="connsiteX4621" fmla="*/ 1439895 w 9586368"/>
                <a:gd name="connsiteY4621" fmla="*/ 3129066 h 6479439"/>
                <a:gd name="connsiteX4622" fmla="*/ 1435875 w 9586368"/>
                <a:gd name="connsiteY4622" fmla="*/ 3125027 h 6479439"/>
                <a:gd name="connsiteX4623" fmla="*/ 1435875 w 9586368"/>
                <a:gd name="connsiteY4623" fmla="*/ 3115157 h 6479439"/>
                <a:gd name="connsiteX4624" fmla="*/ 1200578 w 9586368"/>
                <a:gd name="connsiteY4624" fmla="*/ 3111118 h 6479439"/>
                <a:gd name="connsiteX4625" fmla="*/ 1210489 w 9586368"/>
                <a:gd name="connsiteY4625" fmla="*/ 3111118 h 6479439"/>
                <a:gd name="connsiteX4626" fmla="*/ 1214507 w 9586368"/>
                <a:gd name="connsiteY4626" fmla="*/ 3115157 h 6479439"/>
                <a:gd name="connsiteX4627" fmla="*/ 1214507 w 9586368"/>
                <a:gd name="connsiteY4627" fmla="*/ 3125027 h 6479439"/>
                <a:gd name="connsiteX4628" fmla="*/ 1210489 w 9586368"/>
                <a:gd name="connsiteY4628" fmla="*/ 3129066 h 6479439"/>
                <a:gd name="connsiteX4629" fmla="*/ 1200578 w 9586368"/>
                <a:gd name="connsiteY4629" fmla="*/ 3129066 h 6479439"/>
                <a:gd name="connsiteX4630" fmla="*/ 1196560 w 9586368"/>
                <a:gd name="connsiteY4630" fmla="*/ 3125027 h 6479439"/>
                <a:gd name="connsiteX4631" fmla="*/ 1196560 w 9586368"/>
                <a:gd name="connsiteY4631" fmla="*/ 3115157 h 6479439"/>
                <a:gd name="connsiteX4632" fmla="*/ 961266 w 9586368"/>
                <a:gd name="connsiteY4632" fmla="*/ 3111118 h 6479439"/>
                <a:gd name="connsiteX4633" fmla="*/ 971176 w 9586368"/>
                <a:gd name="connsiteY4633" fmla="*/ 3111118 h 6479439"/>
                <a:gd name="connsiteX4634" fmla="*/ 975195 w 9586368"/>
                <a:gd name="connsiteY4634" fmla="*/ 3115157 h 6479439"/>
                <a:gd name="connsiteX4635" fmla="*/ 975195 w 9586368"/>
                <a:gd name="connsiteY4635" fmla="*/ 3125027 h 6479439"/>
                <a:gd name="connsiteX4636" fmla="*/ 971176 w 9586368"/>
                <a:gd name="connsiteY4636" fmla="*/ 3129066 h 6479439"/>
                <a:gd name="connsiteX4637" fmla="*/ 961266 w 9586368"/>
                <a:gd name="connsiteY4637" fmla="*/ 3129066 h 6479439"/>
                <a:gd name="connsiteX4638" fmla="*/ 957247 w 9586368"/>
                <a:gd name="connsiteY4638" fmla="*/ 3125027 h 6479439"/>
                <a:gd name="connsiteX4639" fmla="*/ 957247 w 9586368"/>
                <a:gd name="connsiteY4639" fmla="*/ 3115157 h 6479439"/>
                <a:gd name="connsiteX4640" fmla="*/ 9572438 w 9586368"/>
                <a:gd name="connsiteY4640" fmla="*/ 3111067 h 6479439"/>
                <a:gd name="connsiteX4641" fmla="*/ 9582349 w 9586368"/>
                <a:gd name="connsiteY4641" fmla="*/ 3111067 h 6479439"/>
                <a:gd name="connsiteX4642" fmla="*/ 9586368 w 9586368"/>
                <a:gd name="connsiteY4642" fmla="*/ 3115105 h 6479439"/>
                <a:gd name="connsiteX4643" fmla="*/ 9586368 w 9586368"/>
                <a:gd name="connsiteY4643" fmla="*/ 3124976 h 6479439"/>
                <a:gd name="connsiteX4644" fmla="*/ 9582349 w 9586368"/>
                <a:gd name="connsiteY4644" fmla="*/ 3129015 h 6479439"/>
                <a:gd name="connsiteX4645" fmla="*/ 9572438 w 9586368"/>
                <a:gd name="connsiteY4645" fmla="*/ 3129015 h 6479439"/>
                <a:gd name="connsiteX4646" fmla="*/ 9568419 w 9586368"/>
                <a:gd name="connsiteY4646" fmla="*/ 3124976 h 6479439"/>
                <a:gd name="connsiteX4647" fmla="*/ 9568419 w 9586368"/>
                <a:gd name="connsiteY4647" fmla="*/ 3115105 h 6479439"/>
                <a:gd name="connsiteX4648" fmla="*/ 9333125 w 9586368"/>
                <a:gd name="connsiteY4648" fmla="*/ 3111067 h 6479439"/>
                <a:gd name="connsiteX4649" fmla="*/ 9343036 w 9586368"/>
                <a:gd name="connsiteY4649" fmla="*/ 3111067 h 6479439"/>
                <a:gd name="connsiteX4650" fmla="*/ 9347055 w 9586368"/>
                <a:gd name="connsiteY4650" fmla="*/ 3115105 h 6479439"/>
                <a:gd name="connsiteX4651" fmla="*/ 9347055 w 9586368"/>
                <a:gd name="connsiteY4651" fmla="*/ 3124976 h 6479439"/>
                <a:gd name="connsiteX4652" fmla="*/ 9343036 w 9586368"/>
                <a:gd name="connsiteY4652" fmla="*/ 3129015 h 6479439"/>
                <a:gd name="connsiteX4653" fmla="*/ 9333125 w 9586368"/>
                <a:gd name="connsiteY4653" fmla="*/ 3129015 h 6479439"/>
                <a:gd name="connsiteX4654" fmla="*/ 9329106 w 9586368"/>
                <a:gd name="connsiteY4654" fmla="*/ 3124976 h 6479439"/>
                <a:gd name="connsiteX4655" fmla="*/ 9329106 w 9586368"/>
                <a:gd name="connsiteY4655" fmla="*/ 3115105 h 6479439"/>
                <a:gd name="connsiteX4656" fmla="*/ 9093811 w 9586368"/>
                <a:gd name="connsiteY4656" fmla="*/ 3111067 h 6479439"/>
                <a:gd name="connsiteX4657" fmla="*/ 9103722 w 9586368"/>
                <a:gd name="connsiteY4657" fmla="*/ 3111067 h 6479439"/>
                <a:gd name="connsiteX4658" fmla="*/ 9107741 w 9586368"/>
                <a:gd name="connsiteY4658" fmla="*/ 3115105 h 6479439"/>
                <a:gd name="connsiteX4659" fmla="*/ 9107741 w 9586368"/>
                <a:gd name="connsiteY4659" fmla="*/ 3124976 h 6479439"/>
                <a:gd name="connsiteX4660" fmla="*/ 9103722 w 9586368"/>
                <a:gd name="connsiteY4660" fmla="*/ 3129015 h 6479439"/>
                <a:gd name="connsiteX4661" fmla="*/ 9093811 w 9586368"/>
                <a:gd name="connsiteY4661" fmla="*/ 3129015 h 6479439"/>
                <a:gd name="connsiteX4662" fmla="*/ 9089792 w 9586368"/>
                <a:gd name="connsiteY4662" fmla="*/ 3124976 h 6479439"/>
                <a:gd name="connsiteX4663" fmla="*/ 9089792 w 9586368"/>
                <a:gd name="connsiteY4663" fmla="*/ 3115105 h 6479439"/>
                <a:gd name="connsiteX4664" fmla="*/ 8854496 w 9586368"/>
                <a:gd name="connsiteY4664" fmla="*/ 3111067 h 6479439"/>
                <a:gd name="connsiteX4665" fmla="*/ 8864407 w 9586368"/>
                <a:gd name="connsiteY4665" fmla="*/ 3111067 h 6479439"/>
                <a:gd name="connsiteX4666" fmla="*/ 8868426 w 9586368"/>
                <a:gd name="connsiteY4666" fmla="*/ 3115105 h 6479439"/>
                <a:gd name="connsiteX4667" fmla="*/ 8868426 w 9586368"/>
                <a:gd name="connsiteY4667" fmla="*/ 3124976 h 6479439"/>
                <a:gd name="connsiteX4668" fmla="*/ 8864407 w 9586368"/>
                <a:gd name="connsiteY4668" fmla="*/ 3129015 h 6479439"/>
                <a:gd name="connsiteX4669" fmla="*/ 8854496 w 9586368"/>
                <a:gd name="connsiteY4669" fmla="*/ 3129015 h 6479439"/>
                <a:gd name="connsiteX4670" fmla="*/ 8850477 w 9586368"/>
                <a:gd name="connsiteY4670" fmla="*/ 3124976 h 6479439"/>
                <a:gd name="connsiteX4671" fmla="*/ 8850477 w 9586368"/>
                <a:gd name="connsiteY4671" fmla="*/ 3115105 h 6479439"/>
                <a:gd name="connsiteX4672" fmla="*/ 8615184 w 9586368"/>
                <a:gd name="connsiteY4672" fmla="*/ 3111067 h 6479439"/>
                <a:gd name="connsiteX4673" fmla="*/ 8625095 w 9586368"/>
                <a:gd name="connsiteY4673" fmla="*/ 3111067 h 6479439"/>
                <a:gd name="connsiteX4674" fmla="*/ 8629114 w 9586368"/>
                <a:gd name="connsiteY4674" fmla="*/ 3115105 h 6479439"/>
                <a:gd name="connsiteX4675" fmla="*/ 8629114 w 9586368"/>
                <a:gd name="connsiteY4675" fmla="*/ 3124976 h 6479439"/>
                <a:gd name="connsiteX4676" fmla="*/ 8625095 w 9586368"/>
                <a:gd name="connsiteY4676" fmla="*/ 3129015 h 6479439"/>
                <a:gd name="connsiteX4677" fmla="*/ 8615184 w 9586368"/>
                <a:gd name="connsiteY4677" fmla="*/ 3129015 h 6479439"/>
                <a:gd name="connsiteX4678" fmla="*/ 8611165 w 9586368"/>
                <a:gd name="connsiteY4678" fmla="*/ 3124976 h 6479439"/>
                <a:gd name="connsiteX4679" fmla="*/ 8611165 w 9586368"/>
                <a:gd name="connsiteY4679" fmla="*/ 3115105 h 6479439"/>
                <a:gd name="connsiteX4680" fmla="*/ 8375869 w 9586368"/>
                <a:gd name="connsiteY4680" fmla="*/ 3111067 h 6479439"/>
                <a:gd name="connsiteX4681" fmla="*/ 8385779 w 9586368"/>
                <a:gd name="connsiteY4681" fmla="*/ 3111067 h 6479439"/>
                <a:gd name="connsiteX4682" fmla="*/ 8389799 w 9586368"/>
                <a:gd name="connsiteY4682" fmla="*/ 3115105 h 6479439"/>
                <a:gd name="connsiteX4683" fmla="*/ 8389799 w 9586368"/>
                <a:gd name="connsiteY4683" fmla="*/ 3124976 h 6479439"/>
                <a:gd name="connsiteX4684" fmla="*/ 8385779 w 9586368"/>
                <a:gd name="connsiteY4684" fmla="*/ 3129015 h 6479439"/>
                <a:gd name="connsiteX4685" fmla="*/ 8375869 w 9586368"/>
                <a:gd name="connsiteY4685" fmla="*/ 3129015 h 6479439"/>
                <a:gd name="connsiteX4686" fmla="*/ 8371850 w 9586368"/>
                <a:gd name="connsiteY4686" fmla="*/ 3124976 h 6479439"/>
                <a:gd name="connsiteX4687" fmla="*/ 8371850 w 9586368"/>
                <a:gd name="connsiteY4687" fmla="*/ 3115105 h 6479439"/>
                <a:gd name="connsiteX4688" fmla="*/ 8136553 w 9586368"/>
                <a:gd name="connsiteY4688" fmla="*/ 3111067 h 6479439"/>
                <a:gd name="connsiteX4689" fmla="*/ 8146464 w 9586368"/>
                <a:gd name="connsiteY4689" fmla="*/ 3111067 h 6479439"/>
                <a:gd name="connsiteX4690" fmla="*/ 8150483 w 9586368"/>
                <a:gd name="connsiteY4690" fmla="*/ 3115105 h 6479439"/>
                <a:gd name="connsiteX4691" fmla="*/ 8150483 w 9586368"/>
                <a:gd name="connsiteY4691" fmla="*/ 3124976 h 6479439"/>
                <a:gd name="connsiteX4692" fmla="*/ 8146464 w 9586368"/>
                <a:gd name="connsiteY4692" fmla="*/ 3129015 h 6479439"/>
                <a:gd name="connsiteX4693" fmla="*/ 8136553 w 9586368"/>
                <a:gd name="connsiteY4693" fmla="*/ 3129015 h 6479439"/>
                <a:gd name="connsiteX4694" fmla="*/ 8132534 w 9586368"/>
                <a:gd name="connsiteY4694" fmla="*/ 3124976 h 6479439"/>
                <a:gd name="connsiteX4695" fmla="*/ 8132534 w 9586368"/>
                <a:gd name="connsiteY4695" fmla="*/ 3115105 h 6479439"/>
                <a:gd name="connsiteX4696" fmla="*/ 7897241 w 9586368"/>
                <a:gd name="connsiteY4696" fmla="*/ 3111067 h 6479439"/>
                <a:gd name="connsiteX4697" fmla="*/ 7907151 w 9586368"/>
                <a:gd name="connsiteY4697" fmla="*/ 3111067 h 6479439"/>
                <a:gd name="connsiteX4698" fmla="*/ 7911170 w 9586368"/>
                <a:gd name="connsiteY4698" fmla="*/ 3115105 h 6479439"/>
                <a:gd name="connsiteX4699" fmla="*/ 7911170 w 9586368"/>
                <a:gd name="connsiteY4699" fmla="*/ 3124976 h 6479439"/>
                <a:gd name="connsiteX4700" fmla="*/ 7907151 w 9586368"/>
                <a:gd name="connsiteY4700" fmla="*/ 3129015 h 6479439"/>
                <a:gd name="connsiteX4701" fmla="*/ 7897241 w 9586368"/>
                <a:gd name="connsiteY4701" fmla="*/ 3129015 h 6479439"/>
                <a:gd name="connsiteX4702" fmla="*/ 7893222 w 9586368"/>
                <a:gd name="connsiteY4702" fmla="*/ 3124976 h 6479439"/>
                <a:gd name="connsiteX4703" fmla="*/ 7893222 w 9586368"/>
                <a:gd name="connsiteY4703" fmla="*/ 3115105 h 6479439"/>
                <a:gd name="connsiteX4704" fmla="*/ 7657926 w 9586368"/>
                <a:gd name="connsiteY4704" fmla="*/ 3111067 h 6479439"/>
                <a:gd name="connsiteX4705" fmla="*/ 7667836 w 9586368"/>
                <a:gd name="connsiteY4705" fmla="*/ 3111067 h 6479439"/>
                <a:gd name="connsiteX4706" fmla="*/ 7671855 w 9586368"/>
                <a:gd name="connsiteY4706" fmla="*/ 3115105 h 6479439"/>
                <a:gd name="connsiteX4707" fmla="*/ 7671855 w 9586368"/>
                <a:gd name="connsiteY4707" fmla="*/ 3124976 h 6479439"/>
                <a:gd name="connsiteX4708" fmla="*/ 7667836 w 9586368"/>
                <a:gd name="connsiteY4708" fmla="*/ 3129015 h 6479439"/>
                <a:gd name="connsiteX4709" fmla="*/ 7657926 w 9586368"/>
                <a:gd name="connsiteY4709" fmla="*/ 3129015 h 6479439"/>
                <a:gd name="connsiteX4710" fmla="*/ 7653906 w 9586368"/>
                <a:gd name="connsiteY4710" fmla="*/ 3124976 h 6479439"/>
                <a:gd name="connsiteX4711" fmla="*/ 7653906 w 9586368"/>
                <a:gd name="connsiteY4711" fmla="*/ 3115105 h 6479439"/>
                <a:gd name="connsiteX4712" fmla="*/ 7418611 w 9586368"/>
                <a:gd name="connsiteY4712" fmla="*/ 3111067 h 6479439"/>
                <a:gd name="connsiteX4713" fmla="*/ 7428521 w 9586368"/>
                <a:gd name="connsiteY4713" fmla="*/ 3111067 h 6479439"/>
                <a:gd name="connsiteX4714" fmla="*/ 7432540 w 9586368"/>
                <a:gd name="connsiteY4714" fmla="*/ 3115105 h 6479439"/>
                <a:gd name="connsiteX4715" fmla="*/ 7432540 w 9586368"/>
                <a:gd name="connsiteY4715" fmla="*/ 3124976 h 6479439"/>
                <a:gd name="connsiteX4716" fmla="*/ 7428521 w 9586368"/>
                <a:gd name="connsiteY4716" fmla="*/ 3129015 h 6479439"/>
                <a:gd name="connsiteX4717" fmla="*/ 7418611 w 9586368"/>
                <a:gd name="connsiteY4717" fmla="*/ 3129015 h 6479439"/>
                <a:gd name="connsiteX4718" fmla="*/ 7414592 w 9586368"/>
                <a:gd name="connsiteY4718" fmla="*/ 3124976 h 6479439"/>
                <a:gd name="connsiteX4719" fmla="*/ 7414592 w 9586368"/>
                <a:gd name="connsiteY4719" fmla="*/ 3115105 h 6479439"/>
                <a:gd name="connsiteX4720" fmla="*/ 7179298 w 9586368"/>
                <a:gd name="connsiteY4720" fmla="*/ 3111067 h 6479439"/>
                <a:gd name="connsiteX4721" fmla="*/ 7189209 w 9586368"/>
                <a:gd name="connsiteY4721" fmla="*/ 3111067 h 6479439"/>
                <a:gd name="connsiteX4722" fmla="*/ 7193228 w 9586368"/>
                <a:gd name="connsiteY4722" fmla="*/ 3115105 h 6479439"/>
                <a:gd name="connsiteX4723" fmla="*/ 7193228 w 9586368"/>
                <a:gd name="connsiteY4723" fmla="*/ 3124976 h 6479439"/>
                <a:gd name="connsiteX4724" fmla="*/ 7189209 w 9586368"/>
                <a:gd name="connsiteY4724" fmla="*/ 3129015 h 6479439"/>
                <a:gd name="connsiteX4725" fmla="*/ 7179298 w 9586368"/>
                <a:gd name="connsiteY4725" fmla="*/ 3129015 h 6479439"/>
                <a:gd name="connsiteX4726" fmla="*/ 7175279 w 9586368"/>
                <a:gd name="connsiteY4726" fmla="*/ 3124976 h 6479439"/>
                <a:gd name="connsiteX4727" fmla="*/ 7175279 w 9586368"/>
                <a:gd name="connsiteY4727" fmla="*/ 3115105 h 6479439"/>
                <a:gd name="connsiteX4728" fmla="*/ 6939983 w 9586368"/>
                <a:gd name="connsiteY4728" fmla="*/ 3111067 h 6479439"/>
                <a:gd name="connsiteX4729" fmla="*/ 6949894 w 9586368"/>
                <a:gd name="connsiteY4729" fmla="*/ 3111067 h 6479439"/>
                <a:gd name="connsiteX4730" fmla="*/ 6953913 w 9586368"/>
                <a:gd name="connsiteY4730" fmla="*/ 3115105 h 6479439"/>
                <a:gd name="connsiteX4731" fmla="*/ 6953913 w 9586368"/>
                <a:gd name="connsiteY4731" fmla="*/ 3124976 h 6479439"/>
                <a:gd name="connsiteX4732" fmla="*/ 6949894 w 9586368"/>
                <a:gd name="connsiteY4732" fmla="*/ 3129015 h 6479439"/>
                <a:gd name="connsiteX4733" fmla="*/ 6939983 w 9586368"/>
                <a:gd name="connsiteY4733" fmla="*/ 3129015 h 6479439"/>
                <a:gd name="connsiteX4734" fmla="*/ 6935964 w 9586368"/>
                <a:gd name="connsiteY4734" fmla="*/ 3124976 h 6479439"/>
                <a:gd name="connsiteX4735" fmla="*/ 6935964 w 9586368"/>
                <a:gd name="connsiteY4735" fmla="*/ 3115105 h 6479439"/>
                <a:gd name="connsiteX4736" fmla="*/ 6700670 w 9586368"/>
                <a:gd name="connsiteY4736" fmla="*/ 3111067 h 6479439"/>
                <a:gd name="connsiteX4737" fmla="*/ 6710581 w 9586368"/>
                <a:gd name="connsiteY4737" fmla="*/ 3111067 h 6479439"/>
                <a:gd name="connsiteX4738" fmla="*/ 6714600 w 9586368"/>
                <a:gd name="connsiteY4738" fmla="*/ 3115105 h 6479439"/>
                <a:gd name="connsiteX4739" fmla="*/ 6714600 w 9586368"/>
                <a:gd name="connsiteY4739" fmla="*/ 3124976 h 6479439"/>
                <a:gd name="connsiteX4740" fmla="*/ 6710581 w 9586368"/>
                <a:gd name="connsiteY4740" fmla="*/ 3129015 h 6479439"/>
                <a:gd name="connsiteX4741" fmla="*/ 6700670 w 9586368"/>
                <a:gd name="connsiteY4741" fmla="*/ 3129015 h 6479439"/>
                <a:gd name="connsiteX4742" fmla="*/ 6696651 w 9586368"/>
                <a:gd name="connsiteY4742" fmla="*/ 3124976 h 6479439"/>
                <a:gd name="connsiteX4743" fmla="*/ 6696651 w 9586368"/>
                <a:gd name="connsiteY4743" fmla="*/ 3115105 h 6479439"/>
                <a:gd name="connsiteX4744" fmla="*/ 6461356 w 9586368"/>
                <a:gd name="connsiteY4744" fmla="*/ 3111067 h 6479439"/>
                <a:gd name="connsiteX4745" fmla="*/ 6471266 w 9586368"/>
                <a:gd name="connsiteY4745" fmla="*/ 3111067 h 6479439"/>
                <a:gd name="connsiteX4746" fmla="*/ 6475285 w 9586368"/>
                <a:gd name="connsiteY4746" fmla="*/ 3115105 h 6479439"/>
                <a:gd name="connsiteX4747" fmla="*/ 6475285 w 9586368"/>
                <a:gd name="connsiteY4747" fmla="*/ 3124976 h 6479439"/>
                <a:gd name="connsiteX4748" fmla="*/ 6471266 w 9586368"/>
                <a:gd name="connsiteY4748" fmla="*/ 3129015 h 6479439"/>
                <a:gd name="connsiteX4749" fmla="*/ 6461356 w 9586368"/>
                <a:gd name="connsiteY4749" fmla="*/ 3129015 h 6479439"/>
                <a:gd name="connsiteX4750" fmla="*/ 6457337 w 9586368"/>
                <a:gd name="connsiteY4750" fmla="*/ 3124976 h 6479439"/>
                <a:gd name="connsiteX4751" fmla="*/ 6457337 w 9586368"/>
                <a:gd name="connsiteY4751" fmla="*/ 3115105 h 6479439"/>
                <a:gd name="connsiteX4752" fmla="*/ 6222042 w 9586368"/>
                <a:gd name="connsiteY4752" fmla="*/ 3111067 h 6479439"/>
                <a:gd name="connsiteX4753" fmla="*/ 6231952 w 9586368"/>
                <a:gd name="connsiteY4753" fmla="*/ 3111067 h 6479439"/>
                <a:gd name="connsiteX4754" fmla="*/ 6235971 w 9586368"/>
                <a:gd name="connsiteY4754" fmla="*/ 3115105 h 6479439"/>
                <a:gd name="connsiteX4755" fmla="*/ 6235971 w 9586368"/>
                <a:gd name="connsiteY4755" fmla="*/ 3124976 h 6479439"/>
                <a:gd name="connsiteX4756" fmla="*/ 6231952 w 9586368"/>
                <a:gd name="connsiteY4756" fmla="*/ 3129015 h 6479439"/>
                <a:gd name="connsiteX4757" fmla="*/ 6222042 w 9586368"/>
                <a:gd name="connsiteY4757" fmla="*/ 3129015 h 6479439"/>
                <a:gd name="connsiteX4758" fmla="*/ 6218023 w 9586368"/>
                <a:gd name="connsiteY4758" fmla="*/ 3124976 h 6479439"/>
                <a:gd name="connsiteX4759" fmla="*/ 6218023 w 9586368"/>
                <a:gd name="connsiteY4759" fmla="*/ 3115105 h 6479439"/>
                <a:gd name="connsiteX4760" fmla="*/ 5982729 w 9586368"/>
                <a:gd name="connsiteY4760" fmla="*/ 3111067 h 6479439"/>
                <a:gd name="connsiteX4761" fmla="*/ 5992639 w 9586368"/>
                <a:gd name="connsiteY4761" fmla="*/ 3111067 h 6479439"/>
                <a:gd name="connsiteX4762" fmla="*/ 5996658 w 9586368"/>
                <a:gd name="connsiteY4762" fmla="*/ 3115105 h 6479439"/>
                <a:gd name="connsiteX4763" fmla="*/ 5996658 w 9586368"/>
                <a:gd name="connsiteY4763" fmla="*/ 3124976 h 6479439"/>
                <a:gd name="connsiteX4764" fmla="*/ 5992639 w 9586368"/>
                <a:gd name="connsiteY4764" fmla="*/ 3129015 h 6479439"/>
                <a:gd name="connsiteX4765" fmla="*/ 5982729 w 9586368"/>
                <a:gd name="connsiteY4765" fmla="*/ 3129015 h 6479439"/>
                <a:gd name="connsiteX4766" fmla="*/ 5978710 w 9586368"/>
                <a:gd name="connsiteY4766" fmla="*/ 3124976 h 6479439"/>
                <a:gd name="connsiteX4767" fmla="*/ 5978710 w 9586368"/>
                <a:gd name="connsiteY4767" fmla="*/ 3115105 h 6479439"/>
                <a:gd name="connsiteX4768" fmla="*/ 5743412 w 9586368"/>
                <a:gd name="connsiteY4768" fmla="*/ 3111067 h 6479439"/>
                <a:gd name="connsiteX4769" fmla="*/ 5753323 w 9586368"/>
                <a:gd name="connsiteY4769" fmla="*/ 3111067 h 6479439"/>
                <a:gd name="connsiteX4770" fmla="*/ 5757342 w 9586368"/>
                <a:gd name="connsiteY4770" fmla="*/ 3115105 h 6479439"/>
                <a:gd name="connsiteX4771" fmla="*/ 5757342 w 9586368"/>
                <a:gd name="connsiteY4771" fmla="*/ 3124976 h 6479439"/>
                <a:gd name="connsiteX4772" fmla="*/ 5753323 w 9586368"/>
                <a:gd name="connsiteY4772" fmla="*/ 3129015 h 6479439"/>
                <a:gd name="connsiteX4773" fmla="*/ 5743412 w 9586368"/>
                <a:gd name="connsiteY4773" fmla="*/ 3129015 h 6479439"/>
                <a:gd name="connsiteX4774" fmla="*/ 5739393 w 9586368"/>
                <a:gd name="connsiteY4774" fmla="*/ 3124976 h 6479439"/>
                <a:gd name="connsiteX4775" fmla="*/ 5739393 w 9586368"/>
                <a:gd name="connsiteY4775" fmla="*/ 3115105 h 6479439"/>
                <a:gd name="connsiteX4776" fmla="*/ 5504099 w 9586368"/>
                <a:gd name="connsiteY4776" fmla="*/ 3111067 h 6479439"/>
                <a:gd name="connsiteX4777" fmla="*/ 5514010 w 9586368"/>
                <a:gd name="connsiteY4777" fmla="*/ 3111067 h 6479439"/>
                <a:gd name="connsiteX4778" fmla="*/ 5518029 w 9586368"/>
                <a:gd name="connsiteY4778" fmla="*/ 3115105 h 6479439"/>
                <a:gd name="connsiteX4779" fmla="*/ 5518029 w 9586368"/>
                <a:gd name="connsiteY4779" fmla="*/ 3124976 h 6479439"/>
                <a:gd name="connsiteX4780" fmla="*/ 5514010 w 9586368"/>
                <a:gd name="connsiteY4780" fmla="*/ 3129015 h 6479439"/>
                <a:gd name="connsiteX4781" fmla="*/ 5504099 w 9586368"/>
                <a:gd name="connsiteY4781" fmla="*/ 3129015 h 6479439"/>
                <a:gd name="connsiteX4782" fmla="*/ 5500080 w 9586368"/>
                <a:gd name="connsiteY4782" fmla="*/ 3124976 h 6479439"/>
                <a:gd name="connsiteX4783" fmla="*/ 5500080 w 9586368"/>
                <a:gd name="connsiteY4783" fmla="*/ 3115105 h 6479439"/>
                <a:gd name="connsiteX4784" fmla="*/ 5264784 w 9586368"/>
                <a:gd name="connsiteY4784" fmla="*/ 3111067 h 6479439"/>
                <a:gd name="connsiteX4785" fmla="*/ 5274694 w 9586368"/>
                <a:gd name="connsiteY4785" fmla="*/ 3111067 h 6479439"/>
                <a:gd name="connsiteX4786" fmla="*/ 5278713 w 9586368"/>
                <a:gd name="connsiteY4786" fmla="*/ 3115105 h 6479439"/>
                <a:gd name="connsiteX4787" fmla="*/ 5278713 w 9586368"/>
                <a:gd name="connsiteY4787" fmla="*/ 3124976 h 6479439"/>
                <a:gd name="connsiteX4788" fmla="*/ 5274694 w 9586368"/>
                <a:gd name="connsiteY4788" fmla="*/ 3129015 h 6479439"/>
                <a:gd name="connsiteX4789" fmla="*/ 5264784 w 9586368"/>
                <a:gd name="connsiteY4789" fmla="*/ 3129015 h 6479439"/>
                <a:gd name="connsiteX4790" fmla="*/ 5260765 w 9586368"/>
                <a:gd name="connsiteY4790" fmla="*/ 3124976 h 6479439"/>
                <a:gd name="connsiteX4791" fmla="*/ 5260765 w 9586368"/>
                <a:gd name="connsiteY4791" fmla="*/ 3115105 h 6479439"/>
                <a:gd name="connsiteX4792" fmla="*/ 5025470 w 9586368"/>
                <a:gd name="connsiteY4792" fmla="*/ 3111067 h 6479439"/>
                <a:gd name="connsiteX4793" fmla="*/ 5035381 w 9586368"/>
                <a:gd name="connsiteY4793" fmla="*/ 3111067 h 6479439"/>
                <a:gd name="connsiteX4794" fmla="*/ 5039400 w 9586368"/>
                <a:gd name="connsiteY4794" fmla="*/ 3115105 h 6479439"/>
                <a:gd name="connsiteX4795" fmla="*/ 5039400 w 9586368"/>
                <a:gd name="connsiteY4795" fmla="*/ 3124976 h 6479439"/>
                <a:gd name="connsiteX4796" fmla="*/ 5035381 w 9586368"/>
                <a:gd name="connsiteY4796" fmla="*/ 3129015 h 6479439"/>
                <a:gd name="connsiteX4797" fmla="*/ 5025470 w 9586368"/>
                <a:gd name="connsiteY4797" fmla="*/ 3129015 h 6479439"/>
                <a:gd name="connsiteX4798" fmla="*/ 5021451 w 9586368"/>
                <a:gd name="connsiteY4798" fmla="*/ 3124976 h 6479439"/>
                <a:gd name="connsiteX4799" fmla="*/ 5021451 w 9586368"/>
                <a:gd name="connsiteY4799" fmla="*/ 3115105 h 6479439"/>
                <a:gd name="connsiteX4800" fmla="*/ 4786241 w 9586368"/>
                <a:gd name="connsiteY4800" fmla="*/ 3111067 h 6479439"/>
                <a:gd name="connsiteX4801" fmla="*/ 4796152 w 9586368"/>
                <a:gd name="connsiteY4801" fmla="*/ 3111067 h 6479439"/>
                <a:gd name="connsiteX4802" fmla="*/ 4800171 w 9586368"/>
                <a:gd name="connsiteY4802" fmla="*/ 3115105 h 6479439"/>
                <a:gd name="connsiteX4803" fmla="*/ 4800171 w 9586368"/>
                <a:gd name="connsiteY4803" fmla="*/ 3124976 h 6479439"/>
                <a:gd name="connsiteX4804" fmla="*/ 4796152 w 9586368"/>
                <a:gd name="connsiteY4804" fmla="*/ 3129015 h 6479439"/>
                <a:gd name="connsiteX4805" fmla="*/ 4786241 w 9586368"/>
                <a:gd name="connsiteY4805" fmla="*/ 3129015 h 6479439"/>
                <a:gd name="connsiteX4806" fmla="*/ 4782224 w 9586368"/>
                <a:gd name="connsiteY4806" fmla="*/ 3124976 h 6479439"/>
                <a:gd name="connsiteX4807" fmla="*/ 4782224 w 9586368"/>
                <a:gd name="connsiteY4807" fmla="*/ 3115105 h 6479439"/>
                <a:gd name="connsiteX4808" fmla="*/ 4546929 w 9586368"/>
                <a:gd name="connsiteY4808" fmla="*/ 3111067 h 6479439"/>
                <a:gd name="connsiteX4809" fmla="*/ 4556840 w 9586368"/>
                <a:gd name="connsiteY4809" fmla="*/ 3111067 h 6479439"/>
                <a:gd name="connsiteX4810" fmla="*/ 4560859 w 9586368"/>
                <a:gd name="connsiteY4810" fmla="*/ 3115105 h 6479439"/>
                <a:gd name="connsiteX4811" fmla="*/ 4560859 w 9586368"/>
                <a:gd name="connsiteY4811" fmla="*/ 3124976 h 6479439"/>
                <a:gd name="connsiteX4812" fmla="*/ 4556840 w 9586368"/>
                <a:gd name="connsiteY4812" fmla="*/ 3129015 h 6479439"/>
                <a:gd name="connsiteX4813" fmla="*/ 4546929 w 9586368"/>
                <a:gd name="connsiteY4813" fmla="*/ 3129015 h 6479439"/>
                <a:gd name="connsiteX4814" fmla="*/ 4542910 w 9586368"/>
                <a:gd name="connsiteY4814" fmla="*/ 3124976 h 6479439"/>
                <a:gd name="connsiteX4815" fmla="*/ 4542910 w 9586368"/>
                <a:gd name="connsiteY4815" fmla="*/ 3115105 h 6479439"/>
                <a:gd name="connsiteX4816" fmla="*/ 4307612 w 9586368"/>
                <a:gd name="connsiteY4816" fmla="*/ 3111067 h 6479439"/>
                <a:gd name="connsiteX4817" fmla="*/ 4317523 w 9586368"/>
                <a:gd name="connsiteY4817" fmla="*/ 3111067 h 6479439"/>
                <a:gd name="connsiteX4818" fmla="*/ 4321543 w 9586368"/>
                <a:gd name="connsiteY4818" fmla="*/ 3115105 h 6479439"/>
                <a:gd name="connsiteX4819" fmla="*/ 4321543 w 9586368"/>
                <a:gd name="connsiteY4819" fmla="*/ 3124976 h 6479439"/>
                <a:gd name="connsiteX4820" fmla="*/ 4317523 w 9586368"/>
                <a:gd name="connsiteY4820" fmla="*/ 3129015 h 6479439"/>
                <a:gd name="connsiteX4821" fmla="*/ 4307612 w 9586368"/>
                <a:gd name="connsiteY4821" fmla="*/ 3129015 h 6479439"/>
                <a:gd name="connsiteX4822" fmla="*/ 4303595 w 9586368"/>
                <a:gd name="connsiteY4822" fmla="*/ 3124976 h 6479439"/>
                <a:gd name="connsiteX4823" fmla="*/ 4303595 w 9586368"/>
                <a:gd name="connsiteY4823" fmla="*/ 3115105 h 6479439"/>
                <a:gd name="connsiteX4824" fmla="*/ 4068297 w 9586368"/>
                <a:gd name="connsiteY4824" fmla="*/ 3111067 h 6479439"/>
                <a:gd name="connsiteX4825" fmla="*/ 4078210 w 9586368"/>
                <a:gd name="connsiteY4825" fmla="*/ 3111067 h 6479439"/>
                <a:gd name="connsiteX4826" fmla="*/ 4082229 w 9586368"/>
                <a:gd name="connsiteY4826" fmla="*/ 3115105 h 6479439"/>
                <a:gd name="connsiteX4827" fmla="*/ 4082229 w 9586368"/>
                <a:gd name="connsiteY4827" fmla="*/ 3124976 h 6479439"/>
                <a:gd name="connsiteX4828" fmla="*/ 4078210 w 9586368"/>
                <a:gd name="connsiteY4828" fmla="*/ 3129015 h 6479439"/>
                <a:gd name="connsiteX4829" fmla="*/ 4068297 w 9586368"/>
                <a:gd name="connsiteY4829" fmla="*/ 3129015 h 6479439"/>
                <a:gd name="connsiteX4830" fmla="*/ 4064278 w 9586368"/>
                <a:gd name="connsiteY4830" fmla="*/ 3124976 h 6479439"/>
                <a:gd name="connsiteX4831" fmla="*/ 4064278 w 9586368"/>
                <a:gd name="connsiteY4831" fmla="*/ 3115105 h 6479439"/>
                <a:gd name="connsiteX4832" fmla="*/ 3828990 w 9586368"/>
                <a:gd name="connsiteY4832" fmla="*/ 3111067 h 6479439"/>
                <a:gd name="connsiteX4833" fmla="*/ 3838899 w 9586368"/>
                <a:gd name="connsiteY4833" fmla="*/ 3111067 h 6479439"/>
                <a:gd name="connsiteX4834" fmla="*/ 3842917 w 9586368"/>
                <a:gd name="connsiteY4834" fmla="*/ 3115105 h 6479439"/>
                <a:gd name="connsiteX4835" fmla="*/ 3842917 w 9586368"/>
                <a:gd name="connsiteY4835" fmla="*/ 3124976 h 6479439"/>
                <a:gd name="connsiteX4836" fmla="*/ 3838899 w 9586368"/>
                <a:gd name="connsiteY4836" fmla="*/ 3129015 h 6479439"/>
                <a:gd name="connsiteX4837" fmla="*/ 3828990 w 9586368"/>
                <a:gd name="connsiteY4837" fmla="*/ 3129015 h 6479439"/>
                <a:gd name="connsiteX4838" fmla="*/ 3824971 w 9586368"/>
                <a:gd name="connsiteY4838" fmla="*/ 3124976 h 6479439"/>
                <a:gd name="connsiteX4839" fmla="*/ 3824971 w 9586368"/>
                <a:gd name="connsiteY4839" fmla="*/ 3115105 h 6479439"/>
                <a:gd name="connsiteX4840" fmla="*/ 3589676 w 9586368"/>
                <a:gd name="connsiteY4840" fmla="*/ 3111067 h 6479439"/>
                <a:gd name="connsiteX4841" fmla="*/ 3599585 w 9586368"/>
                <a:gd name="connsiteY4841" fmla="*/ 3111067 h 6479439"/>
                <a:gd name="connsiteX4842" fmla="*/ 3603604 w 9586368"/>
                <a:gd name="connsiteY4842" fmla="*/ 3115105 h 6479439"/>
                <a:gd name="connsiteX4843" fmla="*/ 3603604 w 9586368"/>
                <a:gd name="connsiteY4843" fmla="*/ 3124976 h 6479439"/>
                <a:gd name="connsiteX4844" fmla="*/ 3599585 w 9586368"/>
                <a:gd name="connsiteY4844" fmla="*/ 3129015 h 6479439"/>
                <a:gd name="connsiteX4845" fmla="*/ 3589676 w 9586368"/>
                <a:gd name="connsiteY4845" fmla="*/ 3129015 h 6479439"/>
                <a:gd name="connsiteX4846" fmla="*/ 3585657 w 9586368"/>
                <a:gd name="connsiteY4846" fmla="*/ 3124976 h 6479439"/>
                <a:gd name="connsiteX4847" fmla="*/ 3585657 w 9586368"/>
                <a:gd name="connsiteY4847" fmla="*/ 3115105 h 6479439"/>
                <a:gd name="connsiteX4848" fmla="*/ 3350359 w 9586368"/>
                <a:gd name="connsiteY4848" fmla="*/ 3111067 h 6479439"/>
                <a:gd name="connsiteX4849" fmla="*/ 3360268 w 9586368"/>
                <a:gd name="connsiteY4849" fmla="*/ 3111067 h 6479439"/>
                <a:gd name="connsiteX4850" fmla="*/ 3364287 w 9586368"/>
                <a:gd name="connsiteY4850" fmla="*/ 3115105 h 6479439"/>
                <a:gd name="connsiteX4851" fmla="*/ 3364287 w 9586368"/>
                <a:gd name="connsiteY4851" fmla="*/ 3124976 h 6479439"/>
                <a:gd name="connsiteX4852" fmla="*/ 3360268 w 9586368"/>
                <a:gd name="connsiteY4852" fmla="*/ 3129015 h 6479439"/>
                <a:gd name="connsiteX4853" fmla="*/ 3350359 w 9586368"/>
                <a:gd name="connsiteY4853" fmla="*/ 3129015 h 6479439"/>
                <a:gd name="connsiteX4854" fmla="*/ 3346340 w 9586368"/>
                <a:gd name="connsiteY4854" fmla="*/ 3124976 h 6479439"/>
                <a:gd name="connsiteX4855" fmla="*/ 3346340 w 9586368"/>
                <a:gd name="connsiteY4855" fmla="*/ 3115105 h 6479439"/>
                <a:gd name="connsiteX4856" fmla="*/ 3111048 w 9586368"/>
                <a:gd name="connsiteY4856" fmla="*/ 3111067 h 6479439"/>
                <a:gd name="connsiteX4857" fmla="*/ 3120959 w 9586368"/>
                <a:gd name="connsiteY4857" fmla="*/ 3111067 h 6479439"/>
                <a:gd name="connsiteX4858" fmla="*/ 3124977 w 9586368"/>
                <a:gd name="connsiteY4858" fmla="*/ 3115105 h 6479439"/>
                <a:gd name="connsiteX4859" fmla="*/ 3124977 w 9586368"/>
                <a:gd name="connsiteY4859" fmla="*/ 3124976 h 6479439"/>
                <a:gd name="connsiteX4860" fmla="*/ 3120959 w 9586368"/>
                <a:gd name="connsiteY4860" fmla="*/ 3129015 h 6479439"/>
                <a:gd name="connsiteX4861" fmla="*/ 3111048 w 9586368"/>
                <a:gd name="connsiteY4861" fmla="*/ 3129015 h 6479439"/>
                <a:gd name="connsiteX4862" fmla="*/ 3107029 w 9586368"/>
                <a:gd name="connsiteY4862" fmla="*/ 3124976 h 6479439"/>
                <a:gd name="connsiteX4863" fmla="*/ 3107029 w 9586368"/>
                <a:gd name="connsiteY4863" fmla="*/ 3115105 h 6479439"/>
                <a:gd name="connsiteX4864" fmla="*/ 2871737 w 9586368"/>
                <a:gd name="connsiteY4864" fmla="*/ 3111067 h 6479439"/>
                <a:gd name="connsiteX4865" fmla="*/ 2881646 w 9586368"/>
                <a:gd name="connsiteY4865" fmla="*/ 3111067 h 6479439"/>
                <a:gd name="connsiteX4866" fmla="*/ 2885666 w 9586368"/>
                <a:gd name="connsiteY4866" fmla="*/ 3115105 h 6479439"/>
                <a:gd name="connsiteX4867" fmla="*/ 2885666 w 9586368"/>
                <a:gd name="connsiteY4867" fmla="*/ 3124976 h 6479439"/>
                <a:gd name="connsiteX4868" fmla="*/ 2881646 w 9586368"/>
                <a:gd name="connsiteY4868" fmla="*/ 3129015 h 6479439"/>
                <a:gd name="connsiteX4869" fmla="*/ 2871737 w 9586368"/>
                <a:gd name="connsiteY4869" fmla="*/ 3129015 h 6479439"/>
                <a:gd name="connsiteX4870" fmla="*/ 2867717 w 9586368"/>
                <a:gd name="connsiteY4870" fmla="*/ 3124976 h 6479439"/>
                <a:gd name="connsiteX4871" fmla="*/ 2867717 w 9586368"/>
                <a:gd name="connsiteY4871" fmla="*/ 3115105 h 6479439"/>
                <a:gd name="connsiteX4872" fmla="*/ 2632423 w 9586368"/>
                <a:gd name="connsiteY4872" fmla="*/ 3111067 h 6479439"/>
                <a:gd name="connsiteX4873" fmla="*/ 2642334 w 9586368"/>
                <a:gd name="connsiteY4873" fmla="*/ 3111067 h 6479439"/>
                <a:gd name="connsiteX4874" fmla="*/ 2646352 w 9586368"/>
                <a:gd name="connsiteY4874" fmla="*/ 3115105 h 6479439"/>
                <a:gd name="connsiteX4875" fmla="*/ 2646352 w 9586368"/>
                <a:gd name="connsiteY4875" fmla="*/ 3124976 h 6479439"/>
                <a:gd name="connsiteX4876" fmla="*/ 2642334 w 9586368"/>
                <a:gd name="connsiteY4876" fmla="*/ 3129015 h 6479439"/>
                <a:gd name="connsiteX4877" fmla="*/ 2632423 w 9586368"/>
                <a:gd name="connsiteY4877" fmla="*/ 3129015 h 6479439"/>
                <a:gd name="connsiteX4878" fmla="*/ 2628404 w 9586368"/>
                <a:gd name="connsiteY4878" fmla="*/ 3124976 h 6479439"/>
                <a:gd name="connsiteX4879" fmla="*/ 2628404 w 9586368"/>
                <a:gd name="connsiteY4879" fmla="*/ 3115105 h 6479439"/>
                <a:gd name="connsiteX4880" fmla="*/ 2393104 w 9586368"/>
                <a:gd name="connsiteY4880" fmla="*/ 3111067 h 6479439"/>
                <a:gd name="connsiteX4881" fmla="*/ 2403015 w 9586368"/>
                <a:gd name="connsiteY4881" fmla="*/ 3111067 h 6479439"/>
                <a:gd name="connsiteX4882" fmla="*/ 2407034 w 9586368"/>
                <a:gd name="connsiteY4882" fmla="*/ 3115105 h 6479439"/>
                <a:gd name="connsiteX4883" fmla="*/ 2407034 w 9586368"/>
                <a:gd name="connsiteY4883" fmla="*/ 3124976 h 6479439"/>
                <a:gd name="connsiteX4884" fmla="*/ 2403015 w 9586368"/>
                <a:gd name="connsiteY4884" fmla="*/ 3129015 h 6479439"/>
                <a:gd name="connsiteX4885" fmla="*/ 2393104 w 9586368"/>
                <a:gd name="connsiteY4885" fmla="*/ 3129015 h 6479439"/>
                <a:gd name="connsiteX4886" fmla="*/ 2389087 w 9586368"/>
                <a:gd name="connsiteY4886" fmla="*/ 3124976 h 6479439"/>
                <a:gd name="connsiteX4887" fmla="*/ 2389087 w 9586368"/>
                <a:gd name="connsiteY4887" fmla="*/ 3115105 h 6479439"/>
                <a:gd name="connsiteX4888" fmla="*/ 721968 w 9586368"/>
                <a:gd name="connsiteY4888" fmla="*/ 3111067 h 6479439"/>
                <a:gd name="connsiteX4889" fmla="*/ 731878 w 9586368"/>
                <a:gd name="connsiteY4889" fmla="*/ 3111067 h 6479439"/>
                <a:gd name="connsiteX4890" fmla="*/ 735897 w 9586368"/>
                <a:gd name="connsiteY4890" fmla="*/ 3115105 h 6479439"/>
                <a:gd name="connsiteX4891" fmla="*/ 735897 w 9586368"/>
                <a:gd name="connsiteY4891" fmla="*/ 3124976 h 6479439"/>
                <a:gd name="connsiteX4892" fmla="*/ 731878 w 9586368"/>
                <a:gd name="connsiteY4892" fmla="*/ 3129015 h 6479439"/>
                <a:gd name="connsiteX4893" fmla="*/ 721968 w 9586368"/>
                <a:gd name="connsiteY4893" fmla="*/ 3129015 h 6479439"/>
                <a:gd name="connsiteX4894" fmla="*/ 717949 w 9586368"/>
                <a:gd name="connsiteY4894" fmla="*/ 3124976 h 6479439"/>
                <a:gd name="connsiteX4895" fmla="*/ 717949 w 9586368"/>
                <a:gd name="connsiteY4895" fmla="*/ 3115105 h 6479439"/>
                <a:gd name="connsiteX4896" fmla="*/ 482656 w 9586368"/>
                <a:gd name="connsiteY4896" fmla="*/ 3111067 h 6479439"/>
                <a:gd name="connsiteX4897" fmla="*/ 492566 w 9586368"/>
                <a:gd name="connsiteY4897" fmla="*/ 3111067 h 6479439"/>
                <a:gd name="connsiteX4898" fmla="*/ 496585 w 9586368"/>
                <a:gd name="connsiteY4898" fmla="*/ 3115105 h 6479439"/>
                <a:gd name="connsiteX4899" fmla="*/ 496585 w 9586368"/>
                <a:gd name="connsiteY4899" fmla="*/ 3124976 h 6479439"/>
                <a:gd name="connsiteX4900" fmla="*/ 492566 w 9586368"/>
                <a:gd name="connsiteY4900" fmla="*/ 3129015 h 6479439"/>
                <a:gd name="connsiteX4901" fmla="*/ 482656 w 9586368"/>
                <a:gd name="connsiteY4901" fmla="*/ 3129015 h 6479439"/>
                <a:gd name="connsiteX4902" fmla="*/ 478637 w 9586368"/>
                <a:gd name="connsiteY4902" fmla="*/ 3124976 h 6479439"/>
                <a:gd name="connsiteX4903" fmla="*/ 478637 w 9586368"/>
                <a:gd name="connsiteY4903" fmla="*/ 3115105 h 6479439"/>
                <a:gd name="connsiteX4904" fmla="*/ 243342 w 9586368"/>
                <a:gd name="connsiteY4904" fmla="*/ 3111067 h 6479439"/>
                <a:gd name="connsiteX4905" fmla="*/ 253252 w 9586368"/>
                <a:gd name="connsiteY4905" fmla="*/ 3111067 h 6479439"/>
                <a:gd name="connsiteX4906" fmla="*/ 257271 w 9586368"/>
                <a:gd name="connsiteY4906" fmla="*/ 3115105 h 6479439"/>
                <a:gd name="connsiteX4907" fmla="*/ 257271 w 9586368"/>
                <a:gd name="connsiteY4907" fmla="*/ 3124976 h 6479439"/>
                <a:gd name="connsiteX4908" fmla="*/ 253252 w 9586368"/>
                <a:gd name="connsiteY4908" fmla="*/ 3129015 h 6479439"/>
                <a:gd name="connsiteX4909" fmla="*/ 243342 w 9586368"/>
                <a:gd name="connsiteY4909" fmla="*/ 3129015 h 6479439"/>
                <a:gd name="connsiteX4910" fmla="*/ 239323 w 9586368"/>
                <a:gd name="connsiteY4910" fmla="*/ 3124976 h 6479439"/>
                <a:gd name="connsiteX4911" fmla="*/ 239323 w 9586368"/>
                <a:gd name="connsiteY4911" fmla="*/ 3115105 h 6479439"/>
                <a:gd name="connsiteX4912" fmla="*/ 4029 w 9586368"/>
                <a:gd name="connsiteY4912" fmla="*/ 3111067 h 6479439"/>
                <a:gd name="connsiteX4913" fmla="*/ 13939 w 9586368"/>
                <a:gd name="connsiteY4913" fmla="*/ 3111067 h 6479439"/>
                <a:gd name="connsiteX4914" fmla="*/ 17959 w 9586368"/>
                <a:gd name="connsiteY4914" fmla="*/ 3115105 h 6479439"/>
                <a:gd name="connsiteX4915" fmla="*/ 17959 w 9586368"/>
                <a:gd name="connsiteY4915" fmla="*/ 3124976 h 6479439"/>
                <a:gd name="connsiteX4916" fmla="*/ 13939 w 9586368"/>
                <a:gd name="connsiteY4916" fmla="*/ 3129015 h 6479439"/>
                <a:gd name="connsiteX4917" fmla="*/ 4029 w 9586368"/>
                <a:gd name="connsiteY4917" fmla="*/ 3129015 h 6479439"/>
                <a:gd name="connsiteX4918" fmla="*/ 10 w 9586368"/>
                <a:gd name="connsiteY4918" fmla="*/ 3124976 h 6479439"/>
                <a:gd name="connsiteX4919" fmla="*/ 10 w 9586368"/>
                <a:gd name="connsiteY4919" fmla="*/ 3115105 h 6479439"/>
                <a:gd name="connsiteX4920" fmla="*/ 2157820 w 9586368"/>
                <a:gd name="connsiteY4920" fmla="*/ 2871788 h 6479439"/>
                <a:gd name="connsiteX4921" fmla="*/ 2167732 w 9586368"/>
                <a:gd name="connsiteY4921" fmla="*/ 2871788 h 6479439"/>
                <a:gd name="connsiteX4922" fmla="*/ 2171750 w 9586368"/>
                <a:gd name="connsiteY4922" fmla="*/ 2875826 h 6479439"/>
                <a:gd name="connsiteX4923" fmla="*/ 2171750 w 9586368"/>
                <a:gd name="connsiteY4923" fmla="*/ 2885696 h 6479439"/>
                <a:gd name="connsiteX4924" fmla="*/ 2167732 w 9586368"/>
                <a:gd name="connsiteY4924" fmla="*/ 2889735 h 6479439"/>
                <a:gd name="connsiteX4925" fmla="*/ 2157820 w 9586368"/>
                <a:gd name="connsiteY4925" fmla="*/ 2889735 h 6479439"/>
                <a:gd name="connsiteX4926" fmla="*/ 2153802 w 9586368"/>
                <a:gd name="connsiteY4926" fmla="*/ 2885696 h 6479439"/>
                <a:gd name="connsiteX4927" fmla="*/ 2153802 w 9586368"/>
                <a:gd name="connsiteY4927" fmla="*/ 2875826 h 6479439"/>
                <a:gd name="connsiteX4928" fmla="*/ 1918513 w 9586368"/>
                <a:gd name="connsiteY4928" fmla="*/ 2871788 h 6479439"/>
                <a:gd name="connsiteX4929" fmla="*/ 1928422 w 9586368"/>
                <a:gd name="connsiteY4929" fmla="*/ 2871788 h 6479439"/>
                <a:gd name="connsiteX4930" fmla="*/ 1932441 w 9586368"/>
                <a:gd name="connsiteY4930" fmla="*/ 2875826 h 6479439"/>
                <a:gd name="connsiteX4931" fmla="*/ 1932441 w 9586368"/>
                <a:gd name="connsiteY4931" fmla="*/ 2885696 h 6479439"/>
                <a:gd name="connsiteX4932" fmla="*/ 1928422 w 9586368"/>
                <a:gd name="connsiteY4932" fmla="*/ 2889735 h 6479439"/>
                <a:gd name="connsiteX4933" fmla="*/ 1918513 w 9586368"/>
                <a:gd name="connsiteY4933" fmla="*/ 2889735 h 6479439"/>
                <a:gd name="connsiteX4934" fmla="*/ 1914493 w 9586368"/>
                <a:gd name="connsiteY4934" fmla="*/ 2885696 h 6479439"/>
                <a:gd name="connsiteX4935" fmla="*/ 1914493 w 9586368"/>
                <a:gd name="connsiteY4935" fmla="*/ 2875826 h 6479439"/>
                <a:gd name="connsiteX4936" fmla="*/ 1679211 w 9586368"/>
                <a:gd name="connsiteY4936" fmla="*/ 2871788 h 6479439"/>
                <a:gd name="connsiteX4937" fmla="*/ 1689121 w 9586368"/>
                <a:gd name="connsiteY4937" fmla="*/ 2871788 h 6479439"/>
                <a:gd name="connsiteX4938" fmla="*/ 1693141 w 9586368"/>
                <a:gd name="connsiteY4938" fmla="*/ 2875826 h 6479439"/>
                <a:gd name="connsiteX4939" fmla="*/ 1693141 w 9586368"/>
                <a:gd name="connsiteY4939" fmla="*/ 2885696 h 6479439"/>
                <a:gd name="connsiteX4940" fmla="*/ 1689121 w 9586368"/>
                <a:gd name="connsiteY4940" fmla="*/ 2889735 h 6479439"/>
                <a:gd name="connsiteX4941" fmla="*/ 1679211 w 9586368"/>
                <a:gd name="connsiteY4941" fmla="*/ 2889735 h 6479439"/>
                <a:gd name="connsiteX4942" fmla="*/ 1675193 w 9586368"/>
                <a:gd name="connsiteY4942" fmla="*/ 2885696 h 6479439"/>
                <a:gd name="connsiteX4943" fmla="*/ 1675193 w 9586368"/>
                <a:gd name="connsiteY4943" fmla="*/ 2875826 h 6479439"/>
                <a:gd name="connsiteX4944" fmla="*/ 1439895 w 9586368"/>
                <a:gd name="connsiteY4944" fmla="*/ 2871788 h 6479439"/>
                <a:gd name="connsiteX4945" fmla="*/ 1449805 w 9586368"/>
                <a:gd name="connsiteY4945" fmla="*/ 2871788 h 6479439"/>
                <a:gd name="connsiteX4946" fmla="*/ 1453824 w 9586368"/>
                <a:gd name="connsiteY4946" fmla="*/ 2875826 h 6479439"/>
                <a:gd name="connsiteX4947" fmla="*/ 1453824 w 9586368"/>
                <a:gd name="connsiteY4947" fmla="*/ 2885696 h 6479439"/>
                <a:gd name="connsiteX4948" fmla="*/ 1449805 w 9586368"/>
                <a:gd name="connsiteY4948" fmla="*/ 2889735 h 6479439"/>
                <a:gd name="connsiteX4949" fmla="*/ 1439895 w 9586368"/>
                <a:gd name="connsiteY4949" fmla="*/ 2889735 h 6479439"/>
                <a:gd name="connsiteX4950" fmla="*/ 1435876 w 9586368"/>
                <a:gd name="connsiteY4950" fmla="*/ 2885696 h 6479439"/>
                <a:gd name="connsiteX4951" fmla="*/ 1435876 w 9586368"/>
                <a:gd name="connsiteY4951" fmla="*/ 2875826 h 6479439"/>
                <a:gd name="connsiteX4952" fmla="*/ 1200579 w 9586368"/>
                <a:gd name="connsiteY4952" fmla="*/ 2871788 h 6479439"/>
                <a:gd name="connsiteX4953" fmla="*/ 1210489 w 9586368"/>
                <a:gd name="connsiteY4953" fmla="*/ 2871788 h 6479439"/>
                <a:gd name="connsiteX4954" fmla="*/ 1214509 w 9586368"/>
                <a:gd name="connsiteY4954" fmla="*/ 2875826 h 6479439"/>
                <a:gd name="connsiteX4955" fmla="*/ 1214509 w 9586368"/>
                <a:gd name="connsiteY4955" fmla="*/ 2885696 h 6479439"/>
                <a:gd name="connsiteX4956" fmla="*/ 1210489 w 9586368"/>
                <a:gd name="connsiteY4956" fmla="*/ 2889735 h 6479439"/>
                <a:gd name="connsiteX4957" fmla="*/ 1200579 w 9586368"/>
                <a:gd name="connsiteY4957" fmla="*/ 2889735 h 6479439"/>
                <a:gd name="connsiteX4958" fmla="*/ 1196560 w 9586368"/>
                <a:gd name="connsiteY4958" fmla="*/ 2885696 h 6479439"/>
                <a:gd name="connsiteX4959" fmla="*/ 1196560 w 9586368"/>
                <a:gd name="connsiteY4959" fmla="*/ 2875826 h 6479439"/>
                <a:gd name="connsiteX4960" fmla="*/ 961267 w 9586368"/>
                <a:gd name="connsiteY4960" fmla="*/ 2871788 h 6479439"/>
                <a:gd name="connsiteX4961" fmla="*/ 971177 w 9586368"/>
                <a:gd name="connsiteY4961" fmla="*/ 2871788 h 6479439"/>
                <a:gd name="connsiteX4962" fmla="*/ 975195 w 9586368"/>
                <a:gd name="connsiteY4962" fmla="*/ 2875826 h 6479439"/>
                <a:gd name="connsiteX4963" fmla="*/ 975195 w 9586368"/>
                <a:gd name="connsiteY4963" fmla="*/ 2885696 h 6479439"/>
                <a:gd name="connsiteX4964" fmla="*/ 971177 w 9586368"/>
                <a:gd name="connsiteY4964" fmla="*/ 2889735 h 6479439"/>
                <a:gd name="connsiteX4965" fmla="*/ 961267 w 9586368"/>
                <a:gd name="connsiteY4965" fmla="*/ 2889735 h 6479439"/>
                <a:gd name="connsiteX4966" fmla="*/ 957247 w 9586368"/>
                <a:gd name="connsiteY4966" fmla="*/ 2885696 h 6479439"/>
                <a:gd name="connsiteX4967" fmla="*/ 957247 w 9586368"/>
                <a:gd name="connsiteY4967" fmla="*/ 2875826 h 6479439"/>
                <a:gd name="connsiteX4968" fmla="*/ 9572438 w 9586368"/>
                <a:gd name="connsiteY4968" fmla="*/ 2871736 h 6479439"/>
                <a:gd name="connsiteX4969" fmla="*/ 9582349 w 9586368"/>
                <a:gd name="connsiteY4969" fmla="*/ 2871736 h 6479439"/>
                <a:gd name="connsiteX4970" fmla="*/ 9586368 w 9586368"/>
                <a:gd name="connsiteY4970" fmla="*/ 2875775 h 6479439"/>
                <a:gd name="connsiteX4971" fmla="*/ 9586368 w 9586368"/>
                <a:gd name="connsiteY4971" fmla="*/ 2885645 h 6479439"/>
                <a:gd name="connsiteX4972" fmla="*/ 9582349 w 9586368"/>
                <a:gd name="connsiteY4972" fmla="*/ 2889684 h 6479439"/>
                <a:gd name="connsiteX4973" fmla="*/ 9572438 w 9586368"/>
                <a:gd name="connsiteY4973" fmla="*/ 2889684 h 6479439"/>
                <a:gd name="connsiteX4974" fmla="*/ 9568419 w 9586368"/>
                <a:gd name="connsiteY4974" fmla="*/ 2885645 h 6479439"/>
                <a:gd name="connsiteX4975" fmla="*/ 9568419 w 9586368"/>
                <a:gd name="connsiteY4975" fmla="*/ 2875775 h 6479439"/>
                <a:gd name="connsiteX4976" fmla="*/ 9333125 w 9586368"/>
                <a:gd name="connsiteY4976" fmla="*/ 2871736 h 6479439"/>
                <a:gd name="connsiteX4977" fmla="*/ 9343036 w 9586368"/>
                <a:gd name="connsiteY4977" fmla="*/ 2871736 h 6479439"/>
                <a:gd name="connsiteX4978" fmla="*/ 9347055 w 9586368"/>
                <a:gd name="connsiteY4978" fmla="*/ 2875775 h 6479439"/>
                <a:gd name="connsiteX4979" fmla="*/ 9347055 w 9586368"/>
                <a:gd name="connsiteY4979" fmla="*/ 2885645 h 6479439"/>
                <a:gd name="connsiteX4980" fmla="*/ 9343036 w 9586368"/>
                <a:gd name="connsiteY4980" fmla="*/ 2889684 h 6479439"/>
                <a:gd name="connsiteX4981" fmla="*/ 9333125 w 9586368"/>
                <a:gd name="connsiteY4981" fmla="*/ 2889684 h 6479439"/>
                <a:gd name="connsiteX4982" fmla="*/ 9329106 w 9586368"/>
                <a:gd name="connsiteY4982" fmla="*/ 2885645 h 6479439"/>
                <a:gd name="connsiteX4983" fmla="*/ 9329106 w 9586368"/>
                <a:gd name="connsiteY4983" fmla="*/ 2875775 h 6479439"/>
                <a:gd name="connsiteX4984" fmla="*/ 9093811 w 9586368"/>
                <a:gd name="connsiteY4984" fmla="*/ 2871736 h 6479439"/>
                <a:gd name="connsiteX4985" fmla="*/ 9103722 w 9586368"/>
                <a:gd name="connsiteY4985" fmla="*/ 2871736 h 6479439"/>
                <a:gd name="connsiteX4986" fmla="*/ 9107741 w 9586368"/>
                <a:gd name="connsiteY4986" fmla="*/ 2875775 h 6479439"/>
                <a:gd name="connsiteX4987" fmla="*/ 9107741 w 9586368"/>
                <a:gd name="connsiteY4987" fmla="*/ 2885645 h 6479439"/>
                <a:gd name="connsiteX4988" fmla="*/ 9103722 w 9586368"/>
                <a:gd name="connsiteY4988" fmla="*/ 2889684 h 6479439"/>
                <a:gd name="connsiteX4989" fmla="*/ 9093811 w 9586368"/>
                <a:gd name="connsiteY4989" fmla="*/ 2889684 h 6479439"/>
                <a:gd name="connsiteX4990" fmla="*/ 9089792 w 9586368"/>
                <a:gd name="connsiteY4990" fmla="*/ 2885645 h 6479439"/>
                <a:gd name="connsiteX4991" fmla="*/ 9089792 w 9586368"/>
                <a:gd name="connsiteY4991" fmla="*/ 2875775 h 6479439"/>
                <a:gd name="connsiteX4992" fmla="*/ 8854496 w 9586368"/>
                <a:gd name="connsiteY4992" fmla="*/ 2871736 h 6479439"/>
                <a:gd name="connsiteX4993" fmla="*/ 8864407 w 9586368"/>
                <a:gd name="connsiteY4993" fmla="*/ 2871736 h 6479439"/>
                <a:gd name="connsiteX4994" fmla="*/ 8868426 w 9586368"/>
                <a:gd name="connsiteY4994" fmla="*/ 2875775 h 6479439"/>
                <a:gd name="connsiteX4995" fmla="*/ 8868426 w 9586368"/>
                <a:gd name="connsiteY4995" fmla="*/ 2885645 h 6479439"/>
                <a:gd name="connsiteX4996" fmla="*/ 8864407 w 9586368"/>
                <a:gd name="connsiteY4996" fmla="*/ 2889684 h 6479439"/>
                <a:gd name="connsiteX4997" fmla="*/ 8854496 w 9586368"/>
                <a:gd name="connsiteY4997" fmla="*/ 2889684 h 6479439"/>
                <a:gd name="connsiteX4998" fmla="*/ 8850477 w 9586368"/>
                <a:gd name="connsiteY4998" fmla="*/ 2885645 h 6479439"/>
                <a:gd name="connsiteX4999" fmla="*/ 8850477 w 9586368"/>
                <a:gd name="connsiteY4999" fmla="*/ 2875775 h 6479439"/>
                <a:gd name="connsiteX5000" fmla="*/ 8615184 w 9586368"/>
                <a:gd name="connsiteY5000" fmla="*/ 2871736 h 6479439"/>
                <a:gd name="connsiteX5001" fmla="*/ 8625095 w 9586368"/>
                <a:gd name="connsiteY5001" fmla="*/ 2871736 h 6479439"/>
                <a:gd name="connsiteX5002" fmla="*/ 8629114 w 9586368"/>
                <a:gd name="connsiteY5002" fmla="*/ 2875775 h 6479439"/>
                <a:gd name="connsiteX5003" fmla="*/ 8629114 w 9586368"/>
                <a:gd name="connsiteY5003" fmla="*/ 2885645 h 6479439"/>
                <a:gd name="connsiteX5004" fmla="*/ 8625095 w 9586368"/>
                <a:gd name="connsiteY5004" fmla="*/ 2889684 h 6479439"/>
                <a:gd name="connsiteX5005" fmla="*/ 8615184 w 9586368"/>
                <a:gd name="connsiteY5005" fmla="*/ 2889684 h 6479439"/>
                <a:gd name="connsiteX5006" fmla="*/ 8611165 w 9586368"/>
                <a:gd name="connsiteY5006" fmla="*/ 2885645 h 6479439"/>
                <a:gd name="connsiteX5007" fmla="*/ 8611165 w 9586368"/>
                <a:gd name="connsiteY5007" fmla="*/ 2875775 h 6479439"/>
                <a:gd name="connsiteX5008" fmla="*/ 8375869 w 9586368"/>
                <a:gd name="connsiteY5008" fmla="*/ 2871736 h 6479439"/>
                <a:gd name="connsiteX5009" fmla="*/ 8385779 w 9586368"/>
                <a:gd name="connsiteY5009" fmla="*/ 2871736 h 6479439"/>
                <a:gd name="connsiteX5010" fmla="*/ 8389799 w 9586368"/>
                <a:gd name="connsiteY5010" fmla="*/ 2875775 h 6479439"/>
                <a:gd name="connsiteX5011" fmla="*/ 8389799 w 9586368"/>
                <a:gd name="connsiteY5011" fmla="*/ 2885645 h 6479439"/>
                <a:gd name="connsiteX5012" fmla="*/ 8385779 w 9586368"/>
                <a:gd name="connsiteY5012" fmla="*/ 2889684 h 6479439"/>
                <a:gd name="connsiteX5013" fmla="*/ 8375869 w 9586368"/>
                <a:gd name="connsiteY5013" fmla="*/ 2889684 h 6479439"/>
                <a:gd name="connsiteX5014" fmla="*/ 8371850 w 9586368"/>
                <a:gd name="connsiteY5014" fmla="*/ 2885645 h 6479439"/>
                <a:gd name="connsiteX5015" fmla="*/ 8371850 w 9586368"/>
                <a:gd name="connsiteY5015" fmla="*/ 2875775 h 6479439"/>
                <a:gd name="connsiteX5016" fmla="*/ 8136553 w 9586368"/>
                <a:gd name="connsiteY5016" fmla="*/ 2871736 h 6479439"/>
                <a:gd name="connsiteX5017" fmla="*/ 8146464 w 9586368"/>
                <a:gd name="connsiteY5017" fmla="*/ 2871736 h 6479439"/>
                <a:gd name="connsiteX5018" fmla="*/ 8150483 w 9586368"/>
                <a:gd name="connsiteY5018" fmla="*/ 2875775 h 6479439"/>
                <a:gd name="connsiteX5019" fmla="*/ 8150483 w 9586368"/>
                <a:gd name="connsiteY5019" fmla="*/ 2885645 h 6479439"/>
                <a:gd name="connsiteX5020" fmla="*/ 8146464 w 9586368"/>
                <a:gd name="connsiteY5020" fmla="*/ 2889684 h 6479439"/>
                <a:gd name="connsiteX5021" fmla="*/ 8136553 w 9586368"/>
                <a:gd name="connsiteY5021" fmla="*/ 2889684 h 6479439"/>
                <a:gd name="connsiteX5022" fmla="*/ 8132534 w 9586368"/>
                <a:gd name="connsiteY5022" fmla="*/ 2885645 h 6479439"/>
                <a:gd name="connsiteX5023" fmla="*/ 8132534 w 9586368"/>
                <a:gd name="connsiteY5023" fmla="*/ 2875775 h 6479439"/>
                <a:gd name="connsiteX5024" fmla="*/ 7897241 w 9586368"/>
                <a:gd name="connsiteY5024" fmla="*/ 2871736 h 6479439"/>
                <a:gd name="connsiteX5025" fmla="*/ 7907151 w 9586368"/>
                <a:gd name="connsiteY5025" fmla="*/ 2871736 h 6479439"/>
                <a:gd name="connsiteX5026" fmla="*/ 7911170 w 9586368"/>
                <a:gd name="connsiteY5026" fmla="*/ 2875775 h 6479439"/>
                <a:gd name="connsiteX5027" fmla="*/ 7911170 w 9586368"/>
                <a:gd name="connsiteY5027" fmla="*/ 2885645 h 6479439"/>
                <a:gd name="connsiteX5028" fmla="*/ 7907151 w 9586368"/>
                <a:gd name="connsiteY5028" fmla="*/ 2889684 h 6479439"/>
                <a:gd name="connsiteX5029" fmla="*/ 7897241 w 9586368"/>
                <a:gd name="connsiteY5029" fmla="*/ 2889684 h 6479439"/>
                <a:gd name="connsiteX5030" fmla="*/ 7893222 w 9586368"/>
                <a:gd name="connsiteY5030" fmla="*/ 2885645 h 6479439"/>
                <a:gd name="connsiteX5031" fmla="*/ 7893222 w 9586368"/>
                <a:gd name="connsiteY5031" fmla="*/ 2875775 h 6479439"/>
                <a:gd name="connsiteX5032" fmla="*/ 7657926 w 9586368"/>
                <a:gd name="connsiteY5032" fmla="*/ 2871736 h 6479439"/>
                <a:gd name="connsiteX5033" fmla="*/ 7667836 w 9586368"/>
                <a:gd name="connsiteY5033" fmla="*/ 2871736 h 6479439"/>
                <a:gd name="connsiteX5034" fmla="*/ 7671855 w 9586368"/>
                <a:gd name="connsiteY5034" fmla="*/ 2875775 h 6479439"/>
                <a:gd name="connsiteX5035" fmla="*/ 7671855 w 9586368"/>
                <a:gd name="connsiteY5035" fmla="*/ 2885645 h 6479439"/>
                <a:gd name="connsiteX5036" fmla="*/ 7667836 w 9586368"/>
                <a:gd name="connsiteY5036" fmla="*/ 2889684 h 6479439"/>
                <a:gd name="connsiteX5037" fmla="*/ 7657926 w 9586368"/>
                <a:gd name="connsiteY5037" fmla="*/ 2889684 h 6479439"/>
                <a:gd name="connsiteX5038" fmla="*/ 7653906 w 9586368"/>
                <a:gd name="connsiteY5038" fmla="*/ 2885645 h 6479439"/>
                <a:gd name="connsiteX5039" fmla="*/ 7653906 w 9586368"/>
                <a:gd name="connsiteY5039" fmla="*/ 2875775 h 6479439"/>
                <a:gd name="connsiteX5040" fmla="*/ 7418611 w 9586368"/>
                <a:gd name="connsiteY5040" fmla="*/ 2871736 h 6479439"/>
                <a:gd name="connsiteX5041" fmla="*/ 7428521 w 9586368"/>
                <a:gd name="connsiteY5041" fmla="*/ 2871736 h 6479439"/>
                <a:gd name="connsiteX5042" fmla="*/ 7432540 w 9586368"/>
                <a:gd name="connsiteY5042" fmla="*/ 2875775 h 6479439"/>
                <a:gd name="connsiteX5043" fmla="*/ 7432540 w 9586368"/>
                <a:gd name="connsiteY5043" fmla="*/ 2885645 h 6479439"/>
                <a:gd name="connsiteX5044" fmla="*/ 7428521 w 9586368"/>
                <a:gd name="connsiteY5044" fmla="*/ 2889684 h 6479439"/>
                <a:gd name="connsiteX5045" fmla="*/ 7418611 w 9586368"/>
                <a:gd name="connsiteY5045" fmla="*/ 2889684 h 6479439"/>
                <a:gd name="connsiteX5046" fmla="*/ 7414592 w 9586368"/>
                <a:gd name="connsiteY5046" fmla="*/ 2885645 h 6479439"/>
                <a:gd name="connsiteX5047" fmla="*/ 7414592 w 9586368"/>
                <a:gd name="connsiteY5047" fmla="*/ 2875775 h 6479439"/>
                <a:gd name="connsiteX5048" fmla="*/ 7179298 w 9586368"/>
                <a:gd name="connsiteY5048" fmla="*/ 2871736 h 6479439"/>
                <a:gd name="connsiteX5049" fmla="*/ 7189209 w 9586368"/>
                <a:gd name="connsiteY5049" fmla="*/ 2871736 h 6479439"/>
                <a:gd name="connsiteX5050" fmla="*/ 7193228 w 9586368"/>
                <a:gd name="connsiteY5050" fmla="*/ 2875775 h 6479439"/>
                <a:gd name="connsiteX5051" fmla="*/ 7193228 w 9586368"/>
                <a:gd name="connsiteY5051" fmla="*/ 2885645 h 6479439"/>
                <a:gd name="connsiteX5052" fmla="*/ 7189209 w 9586368"/>
                <a:gd name="connsiteY5052" fmla="*/ 2889684 h 6479439"/>
                <a:gd name="connsiteX5053" fmla="*/ 7179298 w 9586368"/>
                <a:gd name="connsiteY5053" fmla="*/ 2889684 h 6479439"/>
                <a:gd name="connsiteX5054" fmla="*/ 7175279 w 9586368"/>
                <a:gd name="connsiteY5054" fmla="*/ 2885645 h 6479439"/>
                <a:gd name="connsiteX5055" fmla="*/ 7175279 w 9586368"/>
                <a:gd name="connsiteY5055" fmla="*/ 2875775 h 6479439"/>
                <a:gd name="connsiteX5056" fmla="*/ 6939983 w 9586368"/>
                <a:gd name="connsiteY5056" fmla="*/ 2871736 h 6479439"/>
                <a:gd name="connsiteX5057" fmla="*/ 6949894 w 9586368"/>
                <a:gd name="connsiteY5057" fmla="*/ 2871736 h 6479439"/>
                <a:gd name="connsiteX5058" fmla="*/ 6953913 w 9586368"/>
                <a:gd name="connsiteY5058" fmla="*/ 2875775 h 6479439"/>
                <a:gd name="connsiteX5059" fmla="*/ 6953913 w 9586368"/>
                <a:gd name="connsiteY5059" fmla="*/ 2885645 h 6479439"/>
                <a:gd name="connsiteX5060" fmla="*/ 6949894 w 9586368"/>
                <a:gd name="connsiteY5060" fmla="*/ 2889684 h 6479439"/>
                <a:gd name="connsiteX5061" fmla="*/ 6939983 w 9586368"/>
                <a:gd name="connsiteY5061" fmla="*/ 2889684 h 6479439"/>
                <a:gd name="connsiteX5062" fmla="*/ 6935964 w 9586368"/>
                <a:gd name="connsiteY5062" fmla="*/ 2885645 h 6479439"/>
                <a:gd name="connsiteX5063" fmla="*/ 6935964 w 9586368"/>
                <a:gd name="connsiteY5063" fmla="*/ 2875775 h 6479439"/>
                <a:gd name="connsiteX5064" fmla="*/ 6700670 w 9586368"/>
                <a:gd name="connsiteY5064" fmla="*/ 2871736 h 6479439"/>
                <a:gd name="connsiteX5065" fmla="*/ 6710581 w 9586368"/>
                <a:gd name="connsiteY5065" fmla="*/ 2871736 h 6479439"/>
                <a:gd name="connsiteX5066" fmla="*/ 6714600 w 9586368"/>
                <a:gd name="connsiteY5066" fmla="*/ 2875775 h 6479439"/>
                <a:gd name="connsiteX5067" fmla="*/ 6714600 w 9586368"/>
                <a:gd name="connsiteY5067" fmla="*/ 2885645 h 6479439"/>
                <a:gd name="connsiteX5068" fmla="*/ 6710581 w 9586368"/>
                <a:gd name="connsiteY5068" fmla="*/ 2889684 h 6479439"/>
                <a:gd name="connsiteX5069" fmla="*/ 6700670 w 9586368"/>
                <a:gd name="connsiteY5069" fmla="*/ 2889684 h 6479439"/>
                <a:gd name="connsiteX5070" fmla="*/ 6696651 w 9586368"/>
                <a:gd name="connsiteY5070" fmla="*/ 2885645 h 6479439"/>
                <a:gd name="connsiteX5071" fmla="*/ 6696651 w 9586368"/>
                <a:gd name="connsiteY5071" fmla="*/ 2875775 h 6479439"/>
                <a:gd name="connsiteX5072" fmla="*/ 6461356 w 9586368"/>
                <a:gd name="connsiteY5072" fmla="*/ 2871736 h 6479439"/>
                <a:gd name="connsiteX5073" fmla="*/ 6471266 w 9586368"/>
                <a:gd name="connsiteY5073" fmla="*/ 2871736 h 6479439"/>
                <a:gd name="connsiteX5074" fmla="*/ 6475285 w 9586368"/>
                <a:gd name="connsiteY5074" fmla="*/ 2875775 h 6479439"/>
                <a:gd name="connsiteX5075" fmla="*/ 6475285 w 9586368"/>
                <a:gd name="connsiteY5075" fmla="*/ 2885645 h 6479439"/>
                <a:gd name="connsiteX5076" fmla="*/ 6471266 w 9586368"/>
                <a:gd name="connsiteY5076" fmla="*/ 2889684 h 6479439"/>
                <a:gd name="connsiteX5077" fmla="*/ 6461356 w 9586368"/>
                <a:gd name="connsiteY5077" fmla="*/ 2889684 h 6479439"/>
                <a:gd name="connsiteX5078" fmla="*/ 6457337 w 9586368"/>
                <a:gd name="connsiteY5078" fmla="*/ 2885645 h 6479439"/>
                <a:gd name="connsiteX5079" fmla="*/ 6457337 w 9586368"/>
                <a:gd name="connsiteY5079" fmla="*/ 2875775 h 6479439"/>
                <a:gd name="connsiteX5080" fmla="*/ 6222042 w 9586368"/>
                <a:gd name="connsiteY5080" fmla="*/ 2871736 h 6479439"/>
                <a:gd name="connsiteX5081" fmla="*/ 6231952 w 9586368"/>
                <a:gd name="connsiteY5081" fmla="*/ 2871736 h 6479439"/>
                <a:gd name="connsiteX5082" fmla="*/ 6235971 w 9586368"/>
                <a:gd name="connsiteY5082" fmla="*/ 2875775 h 6479439"/>
                <a:gd name="connsiteX5083" fmla="*/ 6235971 w 9586368"/>
                <a:gd name="connsiteY5083" fmla="*/ 2885645 h 6479439"/>
                <a:gd name="connsiteX5084" fmla="*/ 6231952 w 9586368"/>
                <a:gd name="connsiteY5084" fmla="*/ 2889684 h 6479439"/>
                <a:gd name="connsiteX5085" fmla="*/ 6222042 w 9586368"/>
                <a:gd name="connsiteY5085" fmla="*/ 2889684 h 6479439"/>
                <a:gd name="connsiteX5086" fmla="*/ 6218023 w 9586368"/>
                <a:gd name="connsiteY5086" fmla="*/ 2885645 h 6479439"/>
                <a:gd name="connsiteX5087" fmla="*/ 6218023 w 9586368"/>
                <a:gd name="connsiteY5087" fmla="*/ 2875775 h 6479439"/>
                <a:gd name="connsiteX5088" fmla="*/ 5982729 w 9586368"/>
                <a:gd name="connsiteY5088" fmla="*/ 2871736 h 6479439"/>
                <a:gd name="connsiteX5089" fmla="*/ 5992639 w 9586368"/>
                <a:gd name="connsiteY5089" fmla="*/ 2871736 h 6479439"/>
                <a:gd name="connsiteX5090" fmla="*/ 5996658 w 9586368"/>
                <a:gd name="connsiteY5090" fmla="*/ 2875775 h 6479439"/>
                <a:gd name="connsiteX5091" fmla="*/ 5996658 w 9586368"/>
                <a:gd name="connsiteY5091" fmla="*/ 2885645 h 6479439"/>
                <a:gd name="connsiteX5092" fmla="*/ 5992639 w 9586368"/>
                <a:gd name="connsiteY5092" fmla="*/ 2889684 h 6479439"/>
                <a:gd name="connsiteX5093" fmla="*/ 5982729 w 9586368"/>
                <a:gd name="connsiteY5093" fmla="*/ 2889684 h 6479439"/>
                <a:gd name="connsiteX5094" fmla="*/ 5978710 w 9586368"/>
                <a:gd name="connsiteY5094" fmla="*/ 2885645 h 6479439"/>
                <a:gd name="connsiteX5095" fmla="*/ 5978710 w 9586368"/>
                <a:gd name="connsiteY5095" fmla="*/ 2875775 h 6479439"/>
                <a:gd name="connsiteX5096" fmla="*/ 5743412 w 9586368"/>
                <a:gd name="connsiteY5096" fmla="*/ 2871736 h 6479439"/>
                <a:gd name="connsiteX5097" fmla="*/ 5753323 w 9586368"/>
                <a:gd name="connsiteY5097" fmla="*/ 2871736 h 6479439"/>
                <a:gd name="connsiteX5098" fmla="*/ 5757342 w 9586368"/>
                <a:gd name="connsiteY5098" fmla="*/ 2875775 h 6479439"/>
                <a:gd name="connsiteX5099" fmla="*/ 5757342 w 9586368"/>
                <a:gd name="connsiteY5099" fmla="*/ 2885645 h 6479439"/>
                <a:gd name="connsiteX5100" fmla="*/ 5753323 w 9586368"/>
                <a:gd name="connsiteY5100" fmla="*/ 2889684 h 6479439"/>
                <a:gd name="connsiteX5101" fmla="*/ 5743412 w 9586368"/>
                <a:gd name="connsiteY5101" fmla="*/ 2889684 h 6479439"/>
                <a:gd name="connsiteX5102" fmla="*/ 5739393 w 9586368"/>
                <a:gd name="connsiteY5102" fmla="*/ 2885645 h 6479439"/>
                <a:gd name="connsiteX5103" fmla="*/ 5739393 w 9586368"/>
                <a:gd name="connsiteY5103" fmla="*/ 2875775 h 6479439"/>
                <a:gd name="connsiteX5104" fmla="*/ 5504099 w 9586368"/>
                <a:gd name="connsiteY5104" fmla="*/ 2871736 h 6479439"/>
                <a:gd name="connsiteX5105" fmla="*/ 5514010 w 9586368"/>
                <a:gd name="connsiteY5105" fmla="*/ 2871736 h 6479439"/>
                <a:gd name="connsiteX5106" fmla="*/ 5518029 w 9586368"/>
                <a:gd name="connsiteY5106" fmla="*/ 2875775 h 6479439"/>
                <a:gd name="connsiteX5107" fmla="*/ 5518029 w 9586368"/>
                <a:gd name="connsiteY5107" fmla="*/ 2885645 h 6479439"/>
                <a:gd name="connsiteX5108" fmla="*/ 5514010 w 9586368"/>
                <a:gd name="connsiteY5108" fmla="*/ 2889684 h 6479439"/>
                <a:gd name="connsiteX5109" fmla="*/ 5504099 w 9586368"/>
                <a:gd name="connsiteY5109" fmla="*/ 2889684 h 6479439"/>
                <a:gd name="connsiteX5110" fmla="*/ 5500080 w 9586368"/>
                <a:gd name="connsiteY5110" fmla="*/ 2885645 h 6479439"/>
                <a:gd name="connsiteX5111" fmla="*/ 5500080 w 9586368"/>
                <a:gd name="connsiteY5111" fmla="*/ 2875775 h 6479439"/>
                <a:gd name="connsiteX5112" fmla="*/ 5264784 w 9586368"/>
                <a:gd name="connsiteY5112" fmla="*/ 2871736 h 6479439"/>
                <a:gd name="connsiteX5113" fmla="*/ 5274694 w 9586368"/>
                <a:gd name="connsiteY5113" fmla="*/ 2871736 h 6479439"/>
                <a:gd name="connsiteX5114" fmla="*/ 5278713 w 9586368"/>
                <a:gd name="connsiteY5114" fmla="*/ 2875775 h 6479439"/>
                <a:gd name="connsiteX5115" fmla="*/ 5278713 w 9586368"/>
                <a:gd name="connsiteY5115" fmla="*/ 2885645 h 6479439"/>
                <a:gd name="connsiteX5116" fmla="*/ 5274694 w 9586368"/>
                <a:gd name="connsiteY5116" fmla="*/ 2889684 h 6479439"/>
                <a:gd name="connsiteX5117" fmla="*/ 5264784 w 9586368"/>
                <a:gd name="connsiteY5117" fmla="*/ 2889684 h 6479439"/>
                <a:gd name="connsiteX5118" fmla="*/ 5260765 w 9586368"/>
                <a:gd name="connsiteY5118" fmla="*/ 2885645 h 6479439"/>
                <a:gd name="connsiteX5119" fmla="*/ 5260765 w 9586368"/>
                <a:gd name="connsiteY5119" fmla="*/ 2875775 h 6479439"/>
                <a:gd name="connsiteX5120" fmla="*/ 5025470 w 9586368"/>
                <a:gd name="connsiteY5120" fmla="*/ 2871736 h 6479439"/>
                <a:gd name="connsiteX5121" fmla="*/ 5035381 w 9586368"/>
                <a:gd name="connsiteY5121" fmla="*/ 2871736 h 6479439"/>
                <a:gd name="connsiteX5122" fmla="*/ 5039400 w 9586368"/>
                <a:gd name="connsiteY5122" fmla="*/ 2875775 h 6479439"/>
                <a:gd name="connsiteX5123" fmla="*/ 5039400 w 9586368"/>
                <a:gd name="connsiteY5123" fmla="*/ 2885645 h 6479439"/>
                <a:gd name="connsiteX5124" fmla="*/ 5035381 w 9586368"/>
                <a:gd name="connsiteY5124" fmla="*/ 2889684 h 6479439"/>
                <a:gd name="connsiteX5125" fmla="*/ 5025470 w 9586368"/>
                <a:gd name="connsiteY5125" fmla="*/ 2889684 h 6479439"/>
                <a:gd name="connsiteX5126" fmla="*/ 5021451 w 9586368"/>
                <a:gd name="connsiteY5126" fmla="*/ 2885645 h 6479439"/>
                <a:gd name="connsiteX5127" fmla="*/ 5021451 w 9586368"/>
                <a:gd name="connsiteY5127" fmla="*/ 2875775 h 6479439"/>
                <a:gd name="connsiteX5128" fmla="*/ 4786241 w 9586368"/>
                <a:gd name="connsiteY5128" fmla="*/ 2871736 h 6479439"/>
                <a:gd name="connsiteX5129" fmla="*/ 4796152 w 9586368"/>
                <a:gd name="connsiteY5129" fmla="*/ 2871736 h 6479439"/>
                <a:gd name="connsiteX5130" fmla="*/ 4800171 w 9586368"/>
                <a:gd name="connsiteY5130" fmla="*/ 2875775 h 6479439"/>
                <a:gd name="connsiteX5131" fmla="*/ 4800171 w 9586368"/>
                <a:gd name="connsiteY5131" fmla="*/ 2885645 h 6479439"/>
                <a:gd name="connsiteX5132" fmla="*/ 4796152 w 9586368"/>
                <a:gd name="connsiteY5132" fmla="*/ 2889684 h 6479439"/>
                <a:gd name="connsiteX5133" fmla="*/ 4786241 w 9586368"/>
                <a:gd name="connsiteY5133" fmla="*/ 2889684 h 6479439"/>
                <a:gd name="connsiteX5134" fmla="*/ 4782224 w 9586368"/>
                <a:gd name="connsiteY5134" fmla="*/ 2885645 h 6479439"/>
                <a:gd name="connsiteX5135" fmla="*/ 4782224 w 9586368"/>
                <a:gd name="connsiteY5135" fmla="*/ 2875775 h 6479439"/>
                <a:gd name="connsiteX5136" fmla="*/ 4546929 w 9586368"/>
                <a:gd name="connsiteY5136" fmla="*/ 2871736 h 6479439"/>
                <a:gd name="connsiteX5137" fmla="*/ 4556840 w 9586368"/>
                <a:gd name="connsiteY5137" fmla="*/ 2871736 h 6479439"/>
                <a:gd name="connsiteX5138" fmla="*/ 4560859 w 9586368"/>
                <a:gd name="connsiteY5138" fmla="*/ 2875775 h 6479439"/>
                <a:gd name="connsiteX5139" fmla="*/ 4560859 w 9586368"/>
                <a:gd name="connsiteY5139" fmla="*/ 2885645 h 6479439"/>
                <a:gd name="connsiteX5140" fmla="*/ 4556840 w 9586368"/>
                <a:gd name="connsiteY5140" fmla="*/ 2889684 h 6479439"/>
                <a:gd name="connsiteX5141" fmla="*/ 4546929 w 9586368"/>
                <a:gd name="connsiteY5141" fmla="*/ 2889684 h 6479439"/>
                <a:gd name="connsiteX5142" fmla="*/ 4542910 w 9586368"/>
                <a:gd name="connsiteY5142" fmla="*/ 2885645 h 6479439"/>
                <a:gd name="connsiteX5143" fmla="*/ 4542910 w 9586368"/>
                <a:gd name="connsiteY5143" fmla="*/ 2875775 h 6479439"/>
                <a:gd name="connsiteX5144" fmla="*/ 4307612 w 9586368"/>
                <a:gd name="connsiteY5144" fmla="*/ 2871736 h 6479439"/>
                <a:gd name="connsiteX5145" fmla="*/ 4317523 w 9586368"/>
                <a:gd name="connsiteY5145" fmla="*/ 2871736 h 6479439"/>
                <a:gd name="connsiteX5146" fmla="*/ 4321543 w 9586368"/>
                <a:gd name="connsiteY5146" fmla="*/ 2875775 h 6479439"/>
                <a:gd name="connsiteX5147" fmla="*/ 4321543 w 9586368"/>
                <a:gd name="connsiteY5147" fmla="*/ 2885645 h 6479439"/>
                <a:gd name="connsiteX5148" fmla="*/ 4317523 w 9586368"/>
                <a:gd name="connsiteY5148" fmla="*/ 2889684 h 6479439"/>
                <a:gd name="connsiteX5149" fmla="*/ 4307612 w 9586368"/>
                <a:gd name="connsiteY5149" fmla="*/ 2889684 h 6479439"/>
                <a:gd name="connsiteX5150" fmla="*/ 4303595 w 9586368"/>
                <a:gd name="connsiteY5150" fmla="*/ 2885645 h 6479439"/>
                <a:gd name="connsiteX5151" fmla="*/ 4303595 w 9586368"/>
                <a:gd name="connsiteY5151" fmla="*/ 2875775 h 6479439"/>
                <a:gd name="connsiteX5152" fmla="*/ 4068297 w 9586368"/>
                <a:gd name="connsiteY5152" fmla="*/ 2871736 h 6479439"/>
                <a:gd name="connsiteX5153" fmla="*/ 4078210 w 9586368"/>
                <a:gd name="connsiteY5153" fmla="*/ 2871736 h 6479439"/>
                <a:gd name="connsiteX5154" fmla="*/ 4082229 w 9586368"/>
                <a:gd name="connsiteY5154" fmla="*/ 2875775 h 6479439"/>
                <a:gd name="connsiteX5155" fmla="*/ 4082229 w 9586368"/>
                <a:gd name="connsiteY5155" fmla="*/ 2885645 h 6479439"/>
                <a:gd name="connsiteX5156" fmla="*/ 4078210 w 9586368"/>
                <a:gd name="connsiteY5156" fmla="*/ 2889684 h 6479439"/>
                <a:gd name="connsiteX5157" fmla="*/ 4068297 w 9586368"/>
                <a:gd name="connsiteY5157" fmla="*/ 2889684 h 6479439"/>
                <a:gd name="connsiteX5158" fmla="*/ 4064278 w 9586368"/>
                <a:gd name="connsiteY5158" fmla="*/ 2885645 h 6479439"/>
                <a:gd name="connsiteX5159" fmla="*/ 4064278 w 9586368"/>
                <a:gd name="connsiteY5159" fmla="*/ 2875775 h 6479439"/>
                <a:gd name="connsiteX5160" fmla="*/ 3828990 w 9586368"/>
                <a:gd name="connsiteY5160" fmla="*/ 2871736 h 6479439"/>
                <a:gd name="connsiteX5161" fmla="*/ 3838899 w 9586368"/>
                <a:gd name="connsiteY5161" fmla="*/ 2871736 h 6479439"/>
                <a:gd name="connsiteX5162" fmla="*/ 3842917 w 9586368"/>
                <a:gd name="connsiteY5162" fmla="*/ 2875775 h 6479439"/>
                <a:gd name="connsiteX5163" fmla="*/ 3842917 w 9586368"/>
                <a:gd name="connsiteY5163" fmla="*/ 2885645 h 6479439"/>
                <a:gd name="connsiteX5164" fmla="*/ 3838899 w 9586368"/>
                <a:gd name="connsiteY5164" fmla="*/ 2889684 h 6479439"/>
                <a:gd name="connsiteX5165" fmla="*/ 3828990 w 9586368"/>
                <a:gd name="connsiteY5165" fmla="*/ 2889684 h 6479439"/>
                <a:gd name="connsiteX5166" fmla="*/ 3824971 w 9586368"/>
                <a:gd name="connsiteY5166" fmla="*/ 2885645 h 6479439"/>
                <a:gd name="connsiteX5167" fmla="*/ 3824971 w 9586368"/>
                <a:gd name="connsiteY5167" fmla="*/ 2875775 h 6479439"/>
                <a:gd name="connsiteX5168" fmla="*/ 3589676 w 9586368"/>
                <a:gd name="connsiteY5168" fmla="*/ 2871736 h 6479439"/>
                <a:gd name="connsiteX5169" fmla="*/ 3599585 w 9586368"/>
                <a:gd name="connsiteY5169" fmla="*/ 2871736 h 6479439"/>
                <a:gd name="connsiteX5170" fmla="*/ 3603604 w 9586368"/>
                <a:gd name="connsiteY5170" fmla="*/ 2875775 h 6479439"/>
                <a:gd name="connsiteX5171" fmla="*/ 3603604 w 9586368"/>
                <a:gd name="connsiteY5171" fmla="*/ 2885645 h 6479439"/>
                <a:gd name="connsiteX5172" fmla="*/ 3599585 w 9586368"/>
                <a:gd name="connsiteY5172" fmla="*/ 2889684 h 6479439"/>
                <a:gd name="connsiteX5173" fmla="*/ 3589676 w 9586368"/>
                <a:gd name="connsiteY5173" fmla="*/ 2889684 h 6479439"/>
                <a:gd name="connsiteX5174" fmla="*/ 3585657 w 9586368"/>
                <a:gd name="connsiteY5174" fmla="*/ 2885645 h 6479439"/>
                <a:gd name="connsiteX5175" fmla="*/ 3585657 w 9586368"/>
                <a:gd name="connsiteY5175" fmla="*/ 2875775 h 6479439"/>
                <a:gd name="connsiteX5176" fmla="*/ 3350359 w 9586368"/>
                <a:gd name="connsiteY5176" fmla="*/ 2871736 h 6479439"/>
                <a:gd name="connsiteX5177" fmla="*/ 3360268 w 9586368"/>
                <a:gd name="connsiteY5177" fmla="*/ 2871736 h 6479439"/>
                <a:gd name="connsiteX5178" fmla="*/ 3364287 w 9586368"/>
                <a:gd name="connsiteY5178" fmla="*/ 2875775 h 6479439"/>
                <a:gd name="connsiteX5179" fmla="*/ 3364287 w 9586368"/>
                <a:gd name="connsiteY5179" fmla="*/ 2885645 h 6479439"/>
                <a:gd name="connsiteX5180" fmla="*/ 3360268 w 9586368"/>
                <a:gd name="connsiteY5180" fmla="*/ 2889684 h 6479439"/>
                <a:gd name="connsiteX5181" fmla="*/ 3350359 w 9586368"/>
                <a:gd name="connsiteY5181" fmla="*/ 2889684 h 6479439"/>
                <a:gd name="connsiteX5182" fmla="*/ 3346340 w 9586368"/>
                <a:gd name="connsiteY5182" fmla="*/ 2885645 h 6479439"/>
                <a:gd name="connsiteX5183" fmla="*/ 3346340 w 9586368"/>
                <a:gd name="connsiteY5183" fmla="*/ 2875775 h 6479439"/>
                <a:gd name="connsiteX5184" fmla="*/ 3111048 w 9586368"/>
                <a:gd name="connsiteY5184" fmla="*/ 2871736 h 6479439"/>
                <a:gd name="connsiteX5185" fmla="*/ 3120959 w 9586368"/>
                <a:gd name="connsiteY5185" fmla="*/ 2871736 h 6479439"/>
                <a:gd name="connsiteX5186" fmla="*/ 3124977 w 9586368"/>
                <a:gd name="connsiteY5186" fmla="*/ 2875775 h 6479439"/>
                <a:gd name="connsiteX5187" fmla="*/ 3124977 w 9586368"/>
                <a:gd name="connsiteY5187" fmla="*/ 2885645 h 6479439"/>
                <a:gd name="connsiteX5188" fmla="*/ 3120959 w 9586368"/>
                <a:gd name="connsiteY5188" fmla="*/ 2889684 h 6479439"/>
                <a:gd name="connsiteX5189" fmla="*/ 3111048 w 9586368"/>
                <a:gd name="connsiteY5189" fmla="*/ 2889684 h 6479439"/>
                <a:gd name="connsiteX5190" fmla="*/ 3107029 w 9586368"/>
                <a:gd name="connsiteY5190" fmla="*/ 2885645 h 6479439"/>
                <a:gd name="connsiteX5191" fmla="*/ 3107029 w 9586368"/>
                <a:gd name="connsiteY5191" fmla="*/ 2875775 h 6479439"/>
                <a:gd name="connsiteX5192" fmla="*/ 2871737 w 9586368"/>
                <a:gd name="connsiteY5192" fmla="*/ 2871736 h 6479439"/>
                <a:gd name="connsiteX5193" fmla="*/ 2881646 w 9586368"/>
                <a:gd name="connsiteY5193" fmla="*/ 2871736 h 6479439"/>
                <a:gd name="connsiteX5194" fmla="*/ 2885666 w 9586368"/>
                <a:gd name="connsiteY5194" fmla="*/ 2875775 h 6479439"/>
                <a:gd name="connsiteX5195" fmla="*/ 2885666 w 9586368"/>
                <a:gd name="connsiteY5195" fmla="*/ 2885645 h 6479439"/>
                <a:gd name="connsiteX5196" fmla="*/ 2881646 w 9586368"/>
                <a:gd name="connsiteY5196" fmla="*/ 2889684 h 6479439"/>
                <a:gd name="connsiteX5197" fmla="*/ 2871737 w 9586368"/>
                <a:gd name="connsiteY5197" fmla="*/ 2889684 h 6479439"/>
                <a:gd name="connsiteX5198" fmla="*/ 2867717 w 9586368"/>
                <a:gd name="connsiteY5198" fmla="*/ 2885645 h 6479439"/>
                <a:gd name="connsiteX5199" fmla="*/ 2867717 w 9586368"/>
                <a:gd name="connsiteY5199" fmla="*/ 2875775 h 6479439"/>
                <a:gd name="connsiteX5200" fmla="*/ 2632423 w 9586368"/>
                <a:gd name="connsiteY5200" fmla="*/ 2871736 h 6479439"/>
                <a:gd name="connsiteX5201" fmla="*/ 2642334 w 9586368"/>
                <a:gd name="connsiteY5201" fmla="*/ 2871736 h 6479439"/>
                <a:gd name="connsiteX5202" fmla="*/ 2646352 w 9586368"/>
                <a:gd name="connsiteY5202" fmla="*/ 2875775 h 6479439"/>
                <a:gd name="connsiteX5203" fmla="*/ 2646352 w 9586368"/>
                <a:gd name="connsiteY5203" fmla="*/ 2885645 h 6479439"/>
                <a:gd name="connsiteX5204" fmla="*/ 2642334 w 9586368"/>
                <a:gd name="connsiteY5204" fmla="*/ 2889684 h 6479439"/>
                <a:gd name="connsiteX5205" fmla="*/ 2632423 w 9586368"/>
                <a:gd name="connsiteY5205" fmla="*/ 2889684 h 6479439"/>
                <a:gd name="connsiteX5206" fmla="*/ 2628404 w 9586368"/>
                <a:gd name="connsiteY5206" fmla="*/ 2885645 h 6479439"/>
                <a:gd name="connsiteX5207" fmla="*/ 2628404 w 9586368"/>
                <a:gd name="connsiteY5207" fmla="*/ 2875775 h 6479439"/>
                <a:gd name="connsiteX5208" fmla="*/ 2393104 w 9586368"/>
                <a:gd name="connsiteY5208" fmla="*/ 2871736 h 6479439"/>
                <a:gd name="connsiteX5209" fmla="*/ 2403015 w 9586368"/>
                <a:gd name="connsiteY5209" fmla="*/ 2871736 h 6479439"/>
                <a:gd name="connsiteX5210" fmla="*/ 2407034 w 9586368"/>
                <a:gd name="connsiteY5210" fmla="*/ 2875775 h 6479439"/>
                <a:gd name="connsiteX5211" fmla="*/ 2407034 w 9586368"/>
                <a:gd name="connsiteY5211" fmla="*/ 2885645 h 6479439"/>
                <a:gd name="connsiteX5212" fmla="*/ 2403015 w 9586368"/>
                <a:gd name="connsiteY5212" fmla="*/ 2889684 h 6479439"/>
                <a:gd name="connsiteX5213" fmla="*/ 2393104 w 9586368"/>
                <a:gd name="connsiteY5213" fmla="*/ 2889684 h 6479439"/>
                <a:gd name="connsiteX5214" fmla="*/ 2389087 w 9586368"/>
                <a:gd name="connsiteY5214" fmla="*/ 2885645 h 6479439"/>
                <a:gd name="connsiteX5215" fmla="*/ 2389087 w 9586368"/>
                <a:gd name="connsiteY5215" fmla="*/ 2875775 h 6479439"/>
                <a:gd name="connsiteX5216" fmla="*/ 721969 w 9586368"/>
                <a:gd name="connsiteY5216" fmla="*/ 2871736 h 6479439"/>
                <a:gd name="connsiteX5217" fmla="*/ 731879 w 9586368"/>
                <a:gd name="connsiteY5217" fmla="*/ 2871736 h 6479439"/>
                <a:gd name="connsiteX5218" fmla="*/ 735898 w 9586368"/>
                <a:gd name="connsiteY5218" fmla="*/ 2875775 h 6479439"/>
                <a:gd name="connsiteX5219" fmla="*/ 735898 w 9586368"/>
                <a:gd name="connsiteY5219" fmla="*/ 2885645 h 6479439"/>
                <a:gd name="connsiteX5220" fmla="*/ 731879 w 9586368"/>
                <a:gd name="connsiteY5220" fmla="*/ 2889684 h 6479439"/>
                <a:gd name="connsiteX5221" fmla="*/ 721969 w 9586368"/>
                <a:gd name="connsiteY5221" fmla="*/ 2889684 h 6479439"/>
                <a:gd name="connsiteX5222" fmla="*/ 717950 w 9586368"/>
                <a:gd name="connsiteY5222" fmla="*/ 2885645 h 6479439"/>
                <a:gd name="connsiteX5223" fmla="*/ 717950 w 9586368"/>
                <a:gd name="connsiteY5223" fmla="*/ 2875775 h 6479439"/>
                <a:gd name="connsiteX5224" fmla="*/ 482656 w 9586368"/>
                <a:gd name="connsiteY5224" fmla="*/ 2871736 h 6479439"/>
                <a:gd name="connsiteX5225" fmla="*/ 492567 w 9586368"/>
                <a:gd name="connsiteY5225" fmla="*/ 2871736 h 6479439"/>
                <a:gd name="connsiteX5226" fmla="*/ 496586 w 9586368"/>
                <a:gd name="connsiteY5226" fmla="*/ 2875775 h 6479439"/>
                <a:gd name="connsiteX5227" fmla="*/ 496586 w 9586368"/>
                <a:gd name="connsiteY5227" fmla="*/ 2885645 h 6479439"/>
                <a:gd name="connsiteX5228" fmla="*/ 492567 w 9586368"/>
                <a:gd name="connsiteY5228" fmla="*/ 2889684 h 6479439"/>
                <a:gd name="connsiteX5229" fmla="*/ 482656 w 9586368"/>
                <a:gd name="connsiteY5229" fmla="*/ 2889684 h 6479439"/>
                <a:gd name="connsiteX5230" fmla="*/ 478637 w 9586368"/>
                <a:gd name="connsiteY5230" fmla="*/ 2885645 h 6479439"/>
                <a:gd name="connsiteX5231" fmla="*/ 478637 w 9586368"/>
                <a:gd name="connsiteY5231" fmla="*/ 2875775 h 6479439"/>
                <a:gd name="connsiteX5232" fmla="*/ 243343 w 9586368"/>
                <a:gd name="connsiteY5232" fmla="*/ 2871736 h 6479439"/>
                <a:gd name="connsiteX5233" fmla="*/ 253253 w 9586368"/>
                <a:gd name="connsiteY5233" fmla="*/ 2871736 h 6479439"/>
                <a:gd name="connsiteX5234" fmla="*/ 257272 w 9586368"/>
                <a:gd name="connsiteY5234" fmla="*/ 2875775 h 6479439"/>
                <a:gd name="connsiteX5235" fmla="*/ 257272 w 9586368"/>
                <a:gd name="connsiteY5235" fmla="*/ 2885645 h 6479439"/>
                <a:gd name="connsiteX5236" fmla="*/ 253253 w 9586368"/>
                <a:gd name="connsiteY5236" fmla="*/ 2889684 h 6479439"/>
                <a:gd name="connsiteX5237" fmla="*/ 243343 w 9586368"/>
                <a:gd name="connsiteY5237" fmla="*/ 2889684 h 6479439"/>
                <a:gd name="connsiteX5238" fmla="*/ 239324 w 9586368"/>
                <a:gd name="connsiteY5238" fmla="*/ 2885645 h 6479439"/>
                <a:gd name="connsiteX5239" fmla="*/ 239324 w 9586368"/>
                <a:gd name="connsiteY5239" fmla="*/ 2875775 h 6479439"/>
                <a:gd name="connsiteX5240" fmla="*/ 4030 w 9586368"/>
                <a:gd name="connsiteY5240" fmla="*/ 2871736 h 6479439"/>
                <a:gd name="connsiteX5241" fmla="*/ 13940 w 9586368"/>
                <a:gd name="connsiteY5241" fmla="*/ 2871736 h 6479439"/>
                <a:gd name="connsiteX5242" fmla="*/ 17959 w 9586368"/>
                <a:gd name="connsiteY5242" fmla="*/ 2875775 h 6479439"/>
                <a:gd name="connsiteX5243" fmla="*/ 17959 w 9586368"/>
                <a:gd name="connsiteY5243" fmla="*/ 2885645 h 6479439"/>
                <a:gd name="connsiteX5244" fmla="*/ 13940 w 9586368"/>
                <a:gd name="connsiteY5244" fmla="*/ 2889684 h 6479439"/>
                <a:gd name="connsiteX5245" fmla="*/ 4030 w 9586368"/>
                <a:gd name="connsiteY5245" fmla="*/ 2889684 h 6479439"/>
                <a:gd name="connsiteX5246" fmla="*/ 11 w 9586368"/>
                <a:gd name="connsiteY5246" fmla="*/ 2885645 h 6479439"/>
                <a:gd name="connsiteX5247" fmla="*/ 11 w 9586368"/>
                <a:gd name="connsiteY5247" fmla="*/ 2875775 h 6479439"/>
                <a:gd name="connsiteX5248" fmla="*/ 9572438 w 9586368"/>
                <a:gd name="connsiteY5248" fmla="*/ 2632457 h 6479439"/>
                <a:gd name="connsiteX5249" fmla="*/ 9582349 w 9586368"/>
                <a:gd name="connsiteY5249" fmla="*/ 2632457 h 6479439"/>
                <a:gd name="connsiteX5250" fmla="*/ 9586368 w 9586368"/>
                <a:gd name="connsiteY5250" fmla="*/ 2636496 h 6479439"/>
                <a:gd name="connsiteX5251" fmla="*/ 9586368 w 9586368"/>
                <a:gd name="connsiteY5251" fmla="*/ 2646366 h 6479439"/>
                <a:gd name="connsiteX5252" fmla="*/ 9582349 w 9586368"/>
                <a:gd name="connsiteY5252" fmla="*/ 2650405 h 6479439"/>
                <a:gd name="connsiteX5253" fmla="*/ 9572438 w 9586368"/>
                <a:gd name="connsiteY5253" fmla="*/ 2650405 h 6479439"/>
                <a:gd name="connsiteX5254" fmla="*/ 9568419 w 9586368"/>
                <a:gd name="connsiteY5254" fmla="*/ 2646366 h 6479439"/>
                <a:gd name="connsiteX5255" fmla="*/ 9568419 w 9586368"/>
                <a:gd name="connsiteY5255" fmla="*/ 2636496 h 6479439"/>
                <a:gd name="connsiteX5256" fmla="*/ 9333125 w 9586368"/>
                <a:gd name="connsiteY5256" fmla="*/ 2632457 h 6479439"/>
                <a:gd name="connsiteX5257" fmla="*/ 9343036 w 9586368"/>
                <a:gd name="connsiteY5257" fmla="*/ 2632457 h 6479439"/>
                <a:gd name="connsiteX5258" fmla="*/ 9347055 w 9586368"/>
                <a:gd name="connsiteY5258" fmla="*/ 2636496 h 6479439"/>
                <a:gd name="connsiteX5259" fmla="*/ 9347055 w 9586368"/>
                <a:gd name="connsiteY5259" fmla="*/ 2646366 h 6479439"/>
                <a:gd name="connsiteX5260" fmla="*/ 9343036 w 9586368"/>
                <a:gd name="connsiteY5260" fmla="*/ 2650405 h 6479439"/>
                <a:gd name="connsiteX5261" fmla="*/ 9333125 w 9586368"/>
                <a:gd name="connsiteY5261" fmla="*/ 2650405 h 6479439"/>
                <a:gd name="connsiteX5262" fmla="*/ 9329106 w 9586368"/>
                <a:gd name="connsiteY5262" fmla="*/ 2646366 h 6479439"/>
                <a:gd name="connsiteX5263" fmla="*/ 9329106 w 9586368"/>
                <a:gd name="connsiteY5263" fmla="*/ 2636496 h 6479439"/>
                <a:gd name="connsiteX5264" fmla="*/ 9093811 w 9586368"/>
                <a:gd name="connsiteY5264" fmla="*/ 2632457 h 6479439"/>
                <a:gd name="connsiteX5265" fmla="*/ 9103722 w 9586368"/>
                <a:gd name="connsiteY5265" fmla="*/ 2632457 h 6479439"/>
                <a:gd name="connsiteX5266" fmla="*/ 9107741 w 9586368"/>
                <a:gd name="connsiteY5266" fmla="*/ 2636496 h 6479439"/>
                <a:gd name="connsiteX5267" fmla="*/ 9107741 w 9586368"/>
                <a:gd name="connsiteY5267" fmla="*/ 2646366 h 6479439"/>
                <a:gd name="connsiteX5268" fmla="*/ 9103722 w 9586368"/>
                <a:gd name="connsiteY5268" fmla="*/ 2650405 h 6479439"/>
                <a:gd name="connsiteX5269" fmla="*/ 9093811 w 9586368"/>
                <a:gd name="connsiteY5269" fmla="*/ 2650405 h 6479439"/>
                <a:gd name="connsiteX5270" fmla="*/ 9089792 w 9586368"/>
                <a:gd name="connsiteY5270" fmla="*/ 2646366 h 6479439"/>
                <a:gd name="connsiteX5271" fmla="*/ 9089792 w 9586368"/>
                <a:gd name="connsiteY5271" fmla="*/ 2636496 h 6479439"/>
                <a:gd name="connsiteX5272" fmla="*/ 8854496 w 9586368"/>
                <a:gd name="connsiteY5272" fmla="*/ 2632457 h 6479439"/>
                <a:gd name="connsiteX5273" fmla="*/ 8864407 w 9586368"/>
                <a:gd name="connsiteY5273" fmla="*/ 2632457 h 6479439"/>
                <a:gd name="connsiteX5274" fmla="*/ 8868426 w 9586368"/>
                <a:gd name="connsiteY5274" fmla="*/ 2636496 h 6479439"/>
                <a:gd name="connsiteX5275" fmla="*/ 8868426 w 9586368"/>
                <a:gd name="connsiteY5275" fmla="*/ 2646366 h 6479439"/>
                <a:gd name="connsiteX5276" fmla="*/ 8864407 w 9586368"/>
                <a:gd name="connsiteY5276" fmla="*/ 2650405 h 6479439"/>
                <a:gd name="connsiteX5277" fmla="*/ 8854496 w 9586368"/>
                <a:gd name="connsiteY5277" fmla="*/ 2650405 h 6479439"/>
                <a:gd name="connsiteX5278" fmla="*/ 8850477 w 9586368"/>
                <a:gd name="connsiteY5278" fmla="*/ 2646366 h 6479439"/>
                <a:gd name="connsiteX5279" fmla="*/ 8850477 w 9586368"/>
                <a:gd name="connsiteY5279" fmla="*/ 2636496 h 6479439"/>
                <a:gd name="connsiteX5280" fmla="*/ 8615184 w 9586368"/>
                <a:gd name="connsiteY5280" fmla="*/ 2632457 h 6479439"/>
                <a:gd name="connsiteX5281" fmla="*/ 8625095 w 9586368"/>
                <a:gd name="connsiteY5281" fmla="*/ 2632457 h 6479439"/>
                <a:gd name="connsiteX5282" fmla="*/ 8629114 w 9586368"/>
                <a:gd name="connsiteY5282" fmla="*/ 2636496 h 6479439"/>
                <a:gd name="connsiteX5283" fmla="*/ 8629114 w 9586368"/>
                <a:gd name="connsiteY5283" fmla="*/ 2646366 h 6479439"/>
                <a:gd name="connsiteX5284" fmla="*/ 8625095 w 9586368"/>
                <a:gd name="connsiteY5284" fmla="*/ 2650405 h 6479439"/>
                <a:gd name="connsiteX5285" fmla="*/ 8615184 w 9586368"/>
                <a:gd name="connsiteY5285" fmla="*/ 2650405 h 6479439"/>
                <a:gd name="connsiteX5286" fmla="*/ 8611165 w 9586368"/>
                <a:gd name="connsiteY5286" fmla="*/ 2646366 h 6479439"/>
                <a:gd name="connsiteX5287" fmla="*/ 8611165 w 9586368"/>
                <a:gd name="connsiteY5287" fmla="*/ 2636496 h 6479439"/>
                <a:gd name="connsiteX5288" fmla="*/ 8375869 w 9586368"/>
                <a:gd name="connsiteY5288" fmla="*/ 2632457 h 6479439"/>
                <a:gd name="connsiteX5289" fmla="*/ 8385779 w 9586368"/>
                <a:gd name="connsiteY5289" fmla="*/ 2632457 h 6479439"/>
                <a:gd name="connsiteX5290" fmla="*/ 8389799 w 9586368"/>
                <a:gd name="connsiteY5290" fmla="*/ 2636496 h 6479439"/>
                <a:gd name="connsiteX5291" fmla="*/ 8389799 w 9586368"/>
                <a:gd name="connsiteY5291" fmla="*/ 2646366 h 6479439"/>
                <a:gd name="connsiteX5292" fmla="*/ 8385779 w 9586368"/>
                <a:gd name="connsiteY5292" fmla="*/ 2650405 h 6479439"/>
                <a:gd name="connsiteX5293" fmla="*/ 8375869 w 9586368"/>
                <a:gd name="connsiteY5293" fmla="*/ 2650405 h 6479439"/>
                <a:gd name="connsiteX5294" fmla="*/ 8371850 w 9586368"/>
                <a:gd name="connsiteY5294" fmla="*/ 2646366 h 6479439"/>
                <a:gd name="connsiteX5295" fmla="*/ 8371850 w 9586368"/>
                <a:gd name="connsiteY5295" fmla="*/ 2636496 h 6479439"/>
                <a:gd name="connsiteX5296" fmla="*/ 8136553 w 9586368"/>
                <a:gd name="connsiteY5296" fmla="*/ 2632457 h 6479439"/>
                <a:gd name="connsiteX5297" fmla="*/ 8146464 w 9586368"/>
                <a:gd name="connsiteY5297" fmla="*/ 2632457 h 6479439"/>
                <a:gd name="connsiteX5298" fmla="*/ 8150483 w 9586368"/>
                <a:gd name="connsiteY5298" fmla="*/ 2636496 h 6479439"/>
                <a:gd name="connsiteX5299" fmla="*/ 8150483 w 9586368"/>
                <a:gd name="connsiteY5299" fmla="*/ 2646366 h 6479439"/>
                <a:gd name="connsiteX5300" fmla="*/ 8146464 w 9586368"/>
                <a:gd name="connsiteY5300" fmla="*/ 2650405 h 6479439"/>
                <a:gd name="connsiteX5301" fmla="*/ 8136553 w 9586368"/>
                <a:gd name="connsiteY5301" fmla="*/ 2650405 h 6479439"/>
                <a:gd name="connsiteX5302" fmla="*/ 8132534 w 9586368"/>
                <a:gd name="connsiteY5302" fmla="*/ 2646366 h 6479439"/>
                <a:gd name="connsiteX5303" fmla="*/ 8132534 w 9586368"/>
                <a:gd name="connsiteY5303" fmla="*/ 2636496 h 6479439"/>
                <a:gd name="connsiteX5304" fmla="*/ 7897241 w 9586368"/>
                <a:gd name="connsiteY5304" fmla="*/ 2632457 h 6479439"/>
                <a:gd name="connsiteX5305" fmla="*/ 7907151 w 9586368"/>
                <a:gd name="connsiteY5305" fmla="*/ 2632457 h 6479439"/>
                <a:gd name="connsiteX5306" fmla="*/ 7911170 w 9586368"/>
                <a:gd name="connsiteY5306" fmla="*/ 2636496 h 6479439"/>
                <a:gd name="connsiteX5307" fmla="*/ 7911170 w 9586368"/>
                <a:gd name="connsiteY5307" fmla="*/ 2646366 h 6479439"/>
                <a:gd name="connsiteX5308" fmla="*/ 7907151 w 9586368"/>
                <a:gd name="connsiteY5308" fmla="*/ 2650405 h 6479439"/>
                <a:gd name="connsiteX5309" fmla="*/ 7897241 w 9586368"/>
                <a:gd name="connsiteY5309" fmla="*/ 2650405 h 6479439"/>
                <a:gd name="connsiteX5310" fmla="*/ 7893222 w 9586368"/>
                <a:gd name="connsiteY5310" fmla="*/ 2646366 h 6479439"/>
                <a:gd name="connsiteX5311" fmla="*/ 7893222 w 9586368"/>
                <a:gd name="connsiteY5311" fmla="*/ 2636496 h 6479439"/>
                <a:gd name="connsiteX5312" fmla="*/ 7657926 w 9586368"/>
                <a:gd name="connsiteY5312" fmla="*/ 2632457 h 6479439"/>
                <a:gd name="connsiteX5313" fmla="*/ 7667836 w 9586368"/>
                <a:gd name="connsiteY5313" fmla="*/ 2632457 h 6479439"/>
                <a:gd name="connsiteX5314" fmla="*/ 7671855 w 9586368"/>
                <a:gd name="connsiteY5314" fmla="*/ 2636496 h 6479439"/>
                <a:gd name="connsiteX5315" fmla="*/ 7671855 w 9586368"/>
                <a:gd name="connsiteY5315" fmla="*/ 2646366 h 6479439"/>
                <a:gd name="connsiteX5316" fmla="*/ 7667836 w 9586368"/>
                <a:gd name="connsiteY5316" fmla="*/ 2650405 h 6479439"/>
                <a:gd name="connsiteX5317" fmla="*/ 7657926 w 9586368"/>
                <a:gd name="connsiteY5317" fmla="*/ 2650405 h 6479439"/>
                <a:gd name="connsiteX5318" fmla="*/ 7653906 w 9586368"/>
                <a:gd name="connsiteY5318" fmla="*/ 2646366 h 6479439"/>
                <a:gd name="connsiteX5319" fmla="*/ 7653906 w 9586368"/>
                <a:gd name="connsiteY5319" fmla="*/ 2636496 h 6479439"/>
                <a:gd name="connsiteX5320" fmla="*/ 7418611 w 9586368"/>
                <a:gd name="connsiteY5320" fmla="*/ 2632457 h 6479439"/>
                <a:gd name="connsiteX5321" fmla="*/ 7428521 w 9586368"/>
                <a:gd name="connsiteY5321" fmla="*/ 2632457 h 6479439"/>
                <a:gd name="connsiteX5322" fmla="*/ 7432540 w 9586368"/>
                <a:gd name="connsiteY5322" fmla="*/ 2636496 h 6479439"/>
                <a:gd name="connsiteX5323" fmla="*/ 7432540 w 9586368"/>
                <a:gd name="connsiteY5323" fmla="*/ 2646366 h 6479439"/>
                <a:gd name="connsiteX5324" fmla="*/ 7428521 w 9586368"/>
                <a:gd name="connsiteY5324" fmla="*/ 2650405 h 6479439"/>
                <a:gd name="connsiteX5325" fmla="*/ 7418611 w 9586368"/>
                <a:gd name="connsiteY5325" fmla="*/ 2650405 h 6479439"/>
                <a:gd name="connsiteX5326" fmla="*/ 7414592 w 9586368"/>
                <a:gd name="connsiteY5326" fmla="*/ 2646366 h 6479439"/>
                <a:gd name="connsiteX5327" fmla="*/ 7414592 w 9586368"/>
                <a:gd name="connsiteY5327" fmla="*/ 2636496 h 6479439"/>
                <a:gd name="connsiteX5328" fmla="*/ 7179298 w 9586368"/>
                <a:gd name="connsiteY5328" fmla="*/ 2632457 h 6479439"/>
                <a:gd name="connsiteX5329" fmla="*/ 7189209 w 9586368"/>
                <a:gd name="connsiteY5329" fmla="*/ 2632457 h 6479439"/>
                <a:gd name="connsiteX5330" fmla="*/ 7193228 w 9586368"/>
                <a:gd name="connsiteY5330" fmla="*/ 2636496 h 6479439"/>
                <a:gd name="connsiteX5331" fmla="*/ 7193228 w 9586368"/>
                <a:gd name="connsiteY5331" fmla="*/ 2646366 h 6479439"/>
                <a:gd name="connsiteX5332" fmla="*/ 7189209 w 9586368"/>
                <a:gd name="connsiteY5332" fmla="*/ 2650405 h 6479439"/>
                <a:gd name="connsiteX5333" fmla="*/ 7179298 w 9586368"/>
                <a:gd name="connsiteY5333" fmla="*/ 2650405 h 6479439"/>
                <a:gd name="connsiteX5334" fmla="*/ 7175279 w 9586368"/>
                <a:gd name="connsiteY5334" fmla="*/ 2646366 h 6479439"/>
                <a:gd name="connsiteX5335" fmla="*/ 7175279 w 9586368"/>
                <a:gd name="connsiteY5335" fmla="*/ 2636496 h 6479439"/>
                <a:gd name="connsiteX5336" fmla="*/ 6939983 w 9586368"/>
                <a:gd name="connsiteY5336" fmla="*/ 2632457 h 6479439"/>
                <a:gd name="connsiteX5337" fmla="*/ 6949894 w 9586368"/>
                <a:gd name="connsiteY5337" fmla="*/ 2632457 h 6479439"/>
                <a:gd name="connsiteX5338" fmla="*/ 6953913 w 9586368"/>
                <a:gd name="connsiteY5338" fmla="*/ 2636496 h 6479439"/>
                <a:gd name="connsiteX5339" fmla="*/ 6953913 w 9586368"/>
                <a:gd name="connsiteY5339" fmla="*/ 2646366 h 6479439"/>
                <a:gd name="connsiteX5340" fmla="*/ 6949894 w 9586368"/>
                <a:gd name="connsiteY5340" fmla="*/ 2650405 h 6479439"/>
                <a:gd name="connsiteX5341" fmla="*/ 6939983 w 9586368"/>
                <a:gd name="connsiteY5341" fmla="*/ 2650405 h 6479439"/>
                <a:gd name="connsiteX5342" fmla="*/ 6935964 w 9586368"/>
                <a:gd name="connsiteY5342" fmla="*/ 2646366 h 6479439"/>
                <a:gd name="connsiteX5343" fmla="*/ 6935964 w 9586368"/>
                <a:gd name="connsiteY5343" fmla="*/ 2636496 h 6479439"/>
                <a:gd name="connsiteX5344" fmla="*/ 6700670 w 9586368"/>
                <a:gd name="connsiteY5344" fmla="*/ 2632457 h 6479439"/>
                <a:gd name="connsiteX5345" fmla="*/ 6710581 w 9586368"/>
                <a:gd name="connsiteY5345" fmla="*/ 2632457 h 6479439"/>
                <a:gd name="connsiteX5346" fmla="*/ 6714600 w 9586368"/>
                <a:gd name="connsiteY5346" fmla="*/ 2636496 h 6479439"/>
                <a:gd name="connsiteX5347" fmla="*/ 6714600 w 9586368"/>
                <a:gd name="connsiteY5347" fmla="*/ 2646366 h 6479439"/>
                <a:gd name="connsiteX5348" fmla="*/ 6710581 w 9586368"/>
                <a:gd name="connsiteY5348" fmla="*/ 2650405 h 6479439"/>
                <a:gd name="connsiteX5349" fmla="*/ 6700670 w 9586368"/>
                <a:gd name="connsiteY5349" fmla="*/ 2650405 h 6479439"/>
                <a:gd name="connsiteX5350" fmla="*/ 6696651 w 9586368"/>
                <a:gd name="connsiteY5350" fmla="*/ 2646366 h 6479439"/>
                <a:gd name="connsiteX5351" fmla="*/ 6696651 w 9586368"/>
                <a:gd name="connsiteY5351" fmla="*/ 2636496 h 6479439"/>
                <a:gd name="connsiteX5352" fmla="*/ 6461356 w 9586368"/>
                <a:gd name="connsiteY5352" fmla="*/ 2632457 h 6479439"/>
                <a:gd name="connsiteX5353" fmla="*/ 6471266 w 9586368"/>
                <a:gd name="connsiteY5353" fmla="*/ 2632457 h 6479439"/>
                <a:gd name="connsiteX5354" fmla="*/ 6475285 w 9586368"/>
                <a:gd name="connsiteY5354" fmla="*/ 2636496 h 6479439"/>
                <a:gd name="connsiteX5355" fmla="*/ 6475285 w 9586368"/>
                <a:gd name="connsiteY5355" fmla="*/ 2646366 h 6479439"/>
                <a:gd name="connsiteX5356" fmla="*/ 6471266 w 9586368"/>
                <a:gd name="connsiteY5356" fmla="*/ 2650405 h 6479439"/>
                <a:gd name="connsiteX5357" fmla="*/ 6461356 w 9586368"/>
                <a:gd name="connsiteY5357" fmla="*/ 2650405 h 6479439"/>
                <a:gd name="connsiteX5358" fmla="*/ 6457337 w 9586368"/>
                <a:gd name="connsiteY5358" fmla="*/ 2646366 h 6479439"/>
                <a:gd name="connsiteX5359" fmla="*/ 6457337 w 9586368"/>
                <a:gd name="connsiteY5359" fmla="*/ 2636496 h 6479439"/>
                <a:gd name="connsiteX5360" fmla="*/ 6222042 w 9586368"/>
                <a:gd name="connsiteY5360" fmla="*/ 2632457 h 6479439"/>
                <a:gd name="connsiteX5361" fmla="*/ 6231952 w 9586368"/>
                <a:gd name="connsiteY5361" fmla="*/ 2632457 h 6479439"/>
                <a:gd name="connsiteX5362" fmla="*/ 6235971 w 9586368"/>
                <a:gd name="connsiteY5362" fmla="*/ 2636496 h 6479439"/>
                <a:gd name="connsiteX5363" fmla="*/ 6235971 w 9586368"/>
                <a:gd name="connsiteY5363" fmla="*/ 2646366 h 6479439"/>
                <a:gd name="connsiteX5364" fmla="*/ 6231952 w 9586368"/>
                <a:gd name="connsiteY5364" fmla="*/ 2650405 h 6479439"/>
                <a:gd name="connsiteX5365" fmla="*/ 6222042 w 9586368"/>
                <a:gd name="connsiteY5365" fmla="*/ 2650405 h 6479439"/>
                <a:gd name="connsiteX5366" fmla="*/ 6218023 w 9586368"/>
                <a:gd name="connsiteY5366" fmla="*/ 2646366 h 6479439"/>
                <a:gd name="connsiteX5367" fmla="*/ 6218023 w 9586368"/>
                <a:gd name="connsiteY5367" fmla="*/ 2636496 h 6479439"/>
                <a:gd name="connsiteX5368" fmla="*/ 5982729 w 9586368"/>
                <a:gd name="connsiteY5368" fmla="*/ 2632457 h 6479439"/>
                <a:gd name="connsiteX5369" fmla="*/ 5992639 w 9586368"/>
                <a:gd name="connsiteY5369" fmla="*/ 2632457 h 6479439"/>
                <a:gd name="connsiteX5370" fmla="*/ 5996658 w 9586368"/>
                <a:gd name="connsiteY5370" fmla="*/ 2636496 h 6479439"/>
                <a:gd name="connsiteX5371" fmla="*/ 5996658 w 9586368"/>
                <a:gd name="connsiteY5371" fmla="*/ 2646366 h 6479439"/>
                <a:gd name="connsiteX5372" fmla="*/ 5992639 w 9586368"/>
                <a:gd name="connsiteY5372" fmla="*/ 2650405 h 6479439"/>
                <a:gd name="connsiteX5373" fmla="*/ 5982729 w 9586368"/>
                <a:gd name="connsiteY5373" fmla="*/ 2650405 h 6479439"/>
                <a:gd name="connsiteX5374" fmla="*/ 5978710 w 9586368"/>
                <a:gd name="connsiteY5374" fmla="*/ 2646366 h 6479439"/>
                <a:gd name="connsiteX5375" fmla="*/ 5978710 w 9586368"/>
                <a:gd name="connsiteY5375" fmla="*/ 2636496 h 6479439"/>
                <a:gd name="connsiteX5376" fmla="*/ 5743412 w 9586368"/>
                <a:gd name="connsiteY5376" fmla="*/ 2632457 h 6479439"/>
                <a:gd name="connsiteX5377" fmla="*/ 5753323 w 9586368"/>
                <a:gd name="connsiteY5377" fmla="*/ 2632457 h 6479439"/>
                <a:gd name="connsiteX5378" fmla="*/ 5757342 w 9586368"/>
                <a:gd name="connsiteY5378" fmla="*/ 2636496 h 6479439"/>
                <a:gd name="connsiteX5379" fmla="*/ 5757342 w 9586368"/>
                <a:gd name="connsiteY5379" fmla="*/ 2646366 h 6479439"/>
                <a:gd name="connsiteX5380" fmla="*/ 5753323 w 9586368"/>
                <a:gd name="connsiteY5380" fmla="*/ 2650405 h 6479439"/>
                <a:gd name="connsiteX5381" fmla="*/ 5743412 w 9586368"/>
                <a:gd name="connsiteY5381" fmla="*/ 2650405 h 6479439"/>
                <a:gd name="connsiteX5382" fmla="*/ 5739393 w 9586368"/>
                <a:gd name="connsiteY5382" fmla="*/ 2646366 h 6479439"/>
                <a:gd name="connsiteX5383" fmla="*/ 5739393 w 9586368"/>
                <a:gd name="connsiteY5383" fmla="*/ 2636496 h 6479439"/>
                <a:gd name="connsiteX5384" fmla="*/ 5504099 w 9586368"/>
                <a:gd name="connsiteY5384" fmla="*/ 2632457 h 6479439"/>
                <a:gd name="connsiteX5385" fmla="*/ 5514010 w 9586368"/>
                <a:gd name="connsiteY5385" fmla="*/ 2632457 h 6479439"/>
                <a:gd name="connsiteX5386" fmla="*/ 5518029 w 9586368"/>
                <a:gd name="connsiteY5386" fmla="*/ 2636496 h 6479439"/>
                <a:gd name="connsiteX5387" fmla="*/ 5518029 w 9586368"/>
                <a:gd name="connsiteY5387" fmla="*/ 2646366 h 6479439"/>
                <a:gd name="connsiteX5388" fmla="*/ 5514010 w 9586368"/>
                <a:gd name="connsiteY5388" fmla="*/ 2650405 h 6479439"/>
                <a:gd name="connsiteX5389" fmla="*/ 5504099 w 9586368"/>
                <a:gd name="connsiteY5389" fmla="*/ 2650405 h 6479439"/>
                <a:gd name="connsiteX5390" fmla="*/ 5500080 w 9586368"/>
                <a:gd name="connsiteY5390" fmla="*/ 2646366 h 6479439"/>
                <a:gd name="connsiteX5391" fmla="*/ 5500080 w 9586368"/>
                <a:gd name="connsiteY5391" fmla="*/ 2636496 h 6479439"/>
                <a:gd name="connsiteX5392" fmla="*/ 5264784 w 9586368"/>
                <a:gd name="connsiteY5392" fmla="*/ 2632457 h 6479439"/>
                <a:gd name="connsiteX5393" fmla="*/ 5274694 w 9586368"/>
                <a:gd name="connsiteY5393" fmla="*/ 2632457 h 6479439"/>
                <a:gd name="connsiteX5394" fmla="*/ 5278713 w 9586368"/>
                <a:gd name="connsiteY5394" fmla="*/ 2636496 h 6479439"/>
                <a:gd name="connsiteX5395" fmla="*/ 5278713 w 9586368"/>
                <a:gd name="connsiteY5395" fmla="*/ 2646366 h 6479439"/>
                <a:gd name="connsiteX5396" fmla="*/ 5274694 w 9586368"/>
                <a:gd name="connsiteY5396" fmla="*/ 2650405 h 6479439"/>
                <a:gd name="connsiteX5397" fmla="*/ 5264784 w 9586368"/>
                <a:gd name="connsiteY5397" fmla="*/ 2650405 h 6479439"/>
                <a:gd name="connsiteX5398" fmla="*/ 5260765 w 9586368"/>
                <a:gd name="connsiteY5398" fmla="*/ 2646366 h 6479439"/>
                <a:gd name="connsiteX5399" fmla="*/ 5260765 w 9586368"/>
                <a:gd name="connsiteY5399" fmla="*/ 2636496 h 6479439"/>
                <a:gd name="connsiteX5400" fmla="*/ 5025470 w 9586368"/>
                <a:gd name="connsiteY5400" fmla="*/ 2632457 h 6479439"/>
                <a:gd name="connsiteX5401" fmla="*/ 5035381 w 9586368"/>
                <a:gd name="connsiteY5401" fmla="*/ 2632457 h 6479439"/>
                <a:gd name="connsiteX5402" fmla="*/ 5039400 w 9586368"/>
                <a:gd name="connsiteY5402" fmla="*/ 2636496 h 6479439"/>
                <a:gd name="connsiteX5403" fmla="*/ 5039400 w 9586368"/>
                <a:gd name="connsiteY5403" fmla="*/ 2646366 h 6479439"/>
                <a:gd name="connsiteX5404" fmla="*/ 5035381 w 9586368"/>
                <a:gd name="connsiteY5404" fmla="*/ 2650405 h 6479439"/>
                <a:gd name="connsiteX5405" fmla="*/ 5025470 w 9586368"/>
                <a:gd name="connsiteY5405" fmla="*/ 2650405 h 6479439"/>
                <a:gd name="connsiteX5406" fmla="*/ 5021451 w 9586368"/>
                <a:gd name="connsiteY5406" fmla="*/ 2646366 h 6479439"/>
                <a:gd name="connsiteX5407" fmla="*/ 5021451 w 9586368"/>
                <a:gd name="connsiteY5407" fmla="*/ 2636496 h 6479439"/>
                <a:gd name="connsiteX5408" fmla="*/ 4786241 w 9586368"/>
                <a:gd name="connsiteY5408" fmla="*/ 2632457 h 6479439"/>
                <a:gd name="connsiteX5409" fmla="*/ 4796152 w 9586368"/>
                <a:gd name="connsiteY5409" fmla="*/ 2632457 h 6479439"/>
                <a:gd name="connsiteX5410" fmla="*/ 4800171 w 9586368"/>
                <a:gd name="connsiteY5410" fmla="*/ 2636496 h 6479439"/>
                <a:gd name="connsiteX5411" fmla="*/ 4800171 w 9586368"/>
                <a:gd name="connsiteY5411" fmla="*/ 2646366 h 6479439"/>
                <a:gd name="connsiteX5412" fmla="*/ 4796152 w 9586368"/>
                <a:gd name="connsiteY5412" fmla="*/ 2650405 h 6479439"/>
                <a:gd name="connsiteX5413" fmla="*/ 4786241 w 9586368"/>
                <a:gd name="connsiteY5413" fmla="*/ 2650405 h 6479439"/>
                <a:gd name="connsiteX5414" fmla="*/ 4782224 w 9586368"/>
                <a:gd name="connsiteY5414" fmla="*/ 2646366 h 6479439"/>
                <a:gd name="connsiteX5415" fmla="*/ 4782224 w 9586368"/>
                <a:gd name="connsiteY5415" fmla="*/ 2636496 h 6479439"/>
                <a:gd name="connsiteX5416" fmla="*/ 4546929 w 9586368"/>
                <a:gd name="connsiteY5416" fmla="*/ 2632457 h 6479439"/>
                <a:gd name="connsiteX5417" fmla="*/ 4556840 w 9586368"/>
                <a:gd name="connsiteY5417" fmla="*/ 2632457 h 6479439"/>
                <a:gd name="connsiteX5418" fmla="*/ 4560859 w 9586368"/>
                <a:gd name="connsiteY5418" fmla="*/ 2636496 h 6479439"/>
                <a:gd name="connsiteX5419" fmla="*/ 4560859 w 9586368"/>
                <a:gd name="connsiteY5419" fmla="*/ 2646366 h 6479439"/>
                <a:gd name="connsiteX5420" fmla="*/ 4556840 w 9586368"/>
                <a:gd name="connsiteY5420" fmla="*/ 2650405 h 6479439"/>
                <a:gd name="connsiteX5421" fmla="*/ 4546929 w 9586368"/>
                <a:gd name="connsiteY5421" fmla="*/ 2650405 h 6479439"/>
                <a:gd name="connsiteX5422" fmla="*/ 4542910 w 9586368"/>
                <a:gd name="connsiteY5422" fmla="*/ 2646366 h 6479439"/>
                <a:gd name="connsiteX5423" fmla="*/ 4542910 w 9586368"/>
                <a:gd name="connsiteY5423" fmla="*/ 2636496 h 6479439"/>
                <a:gd name="connsiteX5424" fmla="*/ 4307612 w 9586368"/>
                <a:gd name="connsiteY5424" fmla="*/ 2632457 h 6479439"/>
                <a:gd name="connsiteX5425" fmla="*/ 4317523 w 9586368"/>
                <a:gd name="connsiteY5425" fmla="*/ 2632457 h 6479439"/>
                <a:gd name="connsiteX5426" fmla="*/ 4321543 w 9586368"/>
                <a:gd name="connsiteY5426" fmla="*/ 2636496 h 6479439"/>
                <a:gd name="connsiteX5427" fmla="*/ 4321543 w 9586368"/>
                <a:gd name="connsiteY5427" fmla="*/ 2646366 h 6479439"/>
                <a:gd name="connsiteX5428" fmla="*/ 4317523 w 9586368"/>
                <a:gd name="connsiteY5428" fmla="*/ 2650405 h 6479439"/>
                <a:gd name="connsiteX5429" fmla="*/ 4307612 w 9586368"/>
                <a:gd name="connsiteY5429" fmla="*/ 2650405 h 6479439"/>
                <a:gd name="connsiteX5430" fmla="*/ 4303595 w 9586368"/>
                <a:gd name="connsiteY5430" fmla="*/ 2646366 h 6479439"/>
                <a:gd name="connsiteX5431" fmla="*/ 4303595 w 9586368"/>
                <a:gd name="connsiteY5431" fmla="*/ 2636496 h 6479439"/>
                <a:gd name="connsiteX5432" fmla="*/ 4068297 w 9586368"/>
                <a:gd name="connsiteY5432" fmla="*/ 2632457 h 6479439"/>
                <a:gd name="connsiteX5433" fmla="*/ 4078210 w 9586368"/>
                <a:gd name="connsiteY5433" fmla="*/ 2632457 h 6479439"/>
                <a:gd name="connsiteX5434" fmla="*/ 4082229 w 9586368"/>
                <a:gd name="connsiteY5434" fmla="*/ 2636496 h 6479439"/>
                <a:gd name="connsiteX5435" fmla="*/ 4082229 w 9586368"/>
                <a:gd name="connsiteY5435" fmla="*/ 2646366 h 6479439"/>
                <a:gd name="connsiteX5436" fmla="*/ 4078210 w 9586368"/>
                <a:gd name="connsiteY5436" fmla="*/ 2650405 h 6479439"/>
                <a:gd name="connsiteX5437" fmla="*/ 4068297 w 9586368"/>
                <a:gd name="connsiteY5437" fmla="*/ 2650405 h 6479439"/>
                <a:gd name="connsiteX5438" fmla="*/ 4064278 w 9586368"/>
                <a:gd name="connsiteY5438" fmla="*/ 2646366 h 6479439"/>
                <a:gd name="connsiteX5439" fmla="*/ 4064278 w 9586368"/>
                <a:gd name="connsiteY5439" fmla="*/ 2636496 h 6479439"/>
                <a:gd name="connsiteX5440" fmla="*/ 3828990 w 9586368"/>
                <a:gd name="connsiteY5440" fmla="*/ 2632457 h 6479439"/>
                <a:gd name="connsiteX5441" fmla="*/ 3838899 w 9586368"/>
                <a:gd name="connsiteY5441" fmla="*/ 2632457 h 6479439"/>
                <a:gd name="connsiteX5442" fmla="*/ 3842917 w 9586368"/>
                <a:gd name="connsiteY5442" fmla="*/ 2636496 h 6479439"/>
                <a:gd name="connsiteX5443" fmla="*/ 3842917 w 9586368"/>
                <a:gd name="connsiteY5443" fmla="*/ 2646366 h 6479439"/>
                <a:gd name="connsiteX5444" fmla="*/ 3838899 w 9586368"/>
                <a:gd name="connsiteY5444" fmla="*/ 2650405 h 6479439"/>
                <a:gd name="connsiteX5445" fmla="*/ 3828990 w 9586368"/>
                <a:gd name="connsiteY5445" fmla="*/ 2650405 h 6479439"/>
                <a:gd name="connsiteX5446" fmla="*/ 3824971 w 9586368"/>
                <a:gd name="connsiteY5446" fmla="*/ 2646366 h 6479439"/>
                <a:gd name="connsiteX5447" fmla="*/ 3824971 w 9586368"/>
                <a:gd name="connsiteY5447" fmla="*/ 2636496 h 6479439"/>
                <a:gd name="connsiteX5448" fmla="*/ 3589676 w 9586368"/>
                <a:gd name="connsiteY5448" fmla="*/ 2632457 h 6479439"/>
                <a:gd name="connsiteX5449" fmla="*/ 3599585 w 9586368"/>
                <a:gd name="connsiteY5449" fmla="*/ 2632457 h 6479439"/>
                <a:gd name="connsiteX5450" fmla="*/ 3603604 w 9586368"/>
                <a:gd name="connsiteY5450" fmla="*/ 2636496 h 6479439"/>
                <a:gd name="connsiteX5451" fmla="*/ 3603604 w 9586368"/>
                <a:gd name="connsiteY5451" fmla="*/ 2646366 h 6479439"/>
                <a:gd name="connsiteX5452" fmla="*/ 3599585 w 9586368"/>
                <a:gd name="connsiteY5452" fmla="*/ 2650405 h 6479439"/>
                <a:gd name="connsiteX5453" fmla="*/ 3589676 w 9586368"/>
                <a:gd name="connsiteY5453" fmla="*/ 2650405 h 6479439"/>
                <a:gd name="connsiteX5454" fmla="*/ 3585657 w 9586368"/>
                <a:gd name="connsiteY5454" fmla="*/ 2646366 h 6479439"/>
                <a:gd name="connsiteX5455" fmla="*/ 3585657 w 9586368"/>
                <a:gd name="connsiteY5455" fmla="*/ 2636496 h 6479439"/>
                <a:gd name="connsiteX5456" fmla="*/ 3350359 w 9586368"/>
                <a:gd name="connsiteY5456" fmla="*/ 2632457 h 6479439"/>
                <a:gd name="connsiteX5457" fmla="*/ 3360268 w 9586368"/>
                <a:gd name="connsiteY5457" fmla="*/ 2632457 h 6479439"/>
                <a:gd name="connsiteX5458" fmla="*/ 3364287 w 9586368"/>
                <a:gd name="connsiteY5458" fmla="*/ 2636496 h 6479439"/>
                <a:gd name="connsiteX5459" fmla="*/ 3364287 w 9586368"/>
                <a:gd name="connsiteY5459" fmla="*/ 2646366 h 6479439"/>
                <a:gd name="connsiteX5460" fmla="*/ 3360268 w 9586368"/>
                <a:gd name="connsiteY5460" fmla="*/ 2650405 h 6479439"/>
                <a:gd name="connsiteX5461" fmla="*/ 3350359 w 9586368"/>
                <a:gd name="connsiteY5461" fmla="*/ 2650405 h 6479439"/>
                <a:gd name="connsiteX5462" fmla="*/ 3346340 w 9586368"/>
                <a:gd name="connsiteY5462" fmla="*/ 2646366 h 6479439"/>
                <a:gd name="connsiteX5463" fmla="*/ 3346340 w 9586368"/>
                <a:gd name="connsiteY5463" fmla="*/ 2636496 h 6479439"/>
                <a:gd name="connsiteX5464" fmla="*/ 3111048 w 9586368"/>
                <a:gd name="connsiteY5464" fmla="*/ 2632457 h 6479439"/>
                <a:gd name="connsiteX5465" fmla="*/ 3120959 w 9586368"/>
                <a:gd name="connsiteY5465" fmla="*/ 2632457 h 6479439"/>
                <a:gd name="connsiteX5466" fmla="*/ 3124977 w 9586368"/>
                <a:gd name="connsiteY5466" fmla="*/ 2636496 h 6479439"/>
                <a:gd name="connsiteX5467" fmla="*/ 3124977 w 9586368"/>
                <a:gd name="connsiteY5467" fmla="*/ 2646366 h 6479439"/>
                <a:gd name="connsiteX5468" fmla="*/ 3120959 w 9586368"/>
                <a:gd name="connsiteY5468" fmla="*/ 2650405 h 6479439"/>
                <a:gd name="connsiteX5469" fmla="*/ 3111048 w 9586368"/>
                <a:gd name="connsiteY5469" fmla="*/ 2650405 h 6479439"/>
                <a:gd name="connsiteX5470" fmla="*/ 3107029 w 9586368"/>
                <a:gd name="connsiteY5470" fmla="*/ 2646366 h 6479439"/>
                <a:gd name="connsiteX5471" fmla="*/ 3107029 w 9586368"/>
                <a:gd name="connsiteY5471" fmla="*/ 2636496 h 6479439"/>
                <a:gd name="connsiteX5472" fmla="*/ 2871737 w 9586368"/>
                <a:gd name="connsiteY5472" fmla="*/ 2632457 h 6479439"/>
                <a:gd name="connsiteX5473" fmla="*/ 2881646 w 9586368"/>
                <a:gd name="connsiteY5473" fmla="*/ 2632457 h 6479439"/>
                <a:gd name="connsiteX5474" fmla="*/ 2885666 w 9586368"/>
                <a:gd name="connsiteY5474" fmla="*/ 2636496 h 6479439"/>
                <a:gd name="connsiteX5475" fmla="*/ 2885666 w 9586368"/>
                <a:gd name="connsiteY5475" fmla="*/ 2646366 h 6479439"/>
                <a:gd name="connsiteX5476" fmla="*/ 2881646 w 9586368"/>
                <a:gd name="connsiteY5476" fmla="*/ 2650405 h 6479439"/>
                <a:gd name="connsiteX5477" fmla="*/ 2871737 w 9586368"/>
                <a:gd name="connsiteY5477" fmla="*/ 2650405 h 6479439"/>
                <a:gd name="connsiteX5478" fmla="*/ 2867717 w 9586368"/>
                <a:gd name="connsiteY5478" fmla="*/ 2646366 h 6479439"/>
                <a:gd name="connsiteX5479" fmla="*/ 2867717 w 9586368"/>
                <a:gd name="connsiteY5479" fmla="*/ 2636496 h 6479439"/>
                <a:gd name="connsiteX5480" fmla="*/ 2632423 w 9586368"/>
                <a:gd name="connsiteY5480" fmla="*/ 2632457 h 6479439"/>
                <a:gd name="connsiteX5481" fmla="*/ 2642334 w 9586368"/>
                <a:gd name="connsiteY5481" fmla="*/ 2632457 h 6479439"/>
                <a:gd name="connsiteX5482" fmla="*/ 2646352 w 9586368"/>
                <a:gd name="connsiteY5482" fmla="*/ 2636496 h 6479439"/>
                <a:gd name="connsiteX5483" fmla="*/ 2646352 w 9586368"/>
                <a:gd name="connsiteY5483" fmla="*/ 2646366 h 6479439"/>
                <a:gd name="connsiteX5484" fmla="*/ 2642334 w 9586368"/>
                <a:gd name="connsiteY5484" fmla="*/ 2650405 h 6479439"/>
                <a:gd name="connsiteX5485" fmla="*/ 2632423 w 9586368"/>
                <a:gd name="connsiteY5485" fmla="*/ 2650405 h 6479439"/>
                <a:gd name="connsiteX5486" fmla="*/ 2628404 w 9586368"/>
                <a:gd name="connsiteY5486" fmla="*/ 2646366 h 6479439"/>
                <a:gd name="connsiteX5487" fmla="*/ 2628404 w 9586368"/>
                <a:gd name="connsiteY5487" fmla="*/ 2636496 h 6479439"/>
                <a:gd name="connsiteX5488" fmla="*/ 2393104 w 9586368"/>
                <a:gd name="connsiteY5488" fmla="*/ 2632457 h 6479439"/>
                <a:gd name="connsiteX5489" fmla="*/ 2403015 w 9586368"/>
                <a:gd name="connsiteY5489" fmla="*/ 2632457 h 6479439"/>
                <a:gd name="connsiteX5490" fmla="*/ 2407034 w 9586368"/>
                <a:gd name="connsiteY5490" fmla="*/ 2636496 h 6479439"/>
                <a:gd name="connsiteX5491" fmla="*/ 2407034 w 9586368"/>
                <a:gd name="connsiteY5491" fmla="*/ 2646366 h 6479439"/>
                <a:gd name="connsiteX5492" fmla="*/ 2403015 w 9586368"/>
                <a:gd name="connsiteY5492" fmla="*/ 2650405 h 6479439"/>
                <a:gd name="connsiteX5493" fmla="*/ 2393104 w 9586368"/>
                <a:gd name="connsiteY5493" fmla="*/ 2650405 h 6479439"/>
                <a:gd name="connsiteX5494" fmla="*/ 2389087 w 9586368"/>
                <a:gd name="connsiteY5494" fmla="*/ 2646366 h 6479439"/>
                <a:gd name="connsiteX5495" fmla="*/ 2389087 w 9586368"/>
                <a:gd name="connsiteY5495" fmla="*/ 2636496 h 6479439"/>
                <a:gd name="connsiteX5496" fmla="*/ 2157821 w 9586368"/>
                <a:gd name="connsiteY5496" fmla="*/ 2632457 h 6479439"/>
                <a:gd name="connsiteX5497" fmla="*/ 2167732 w 9586368"/>
                <a:gd name="connsiteY5497" fmla="*/ 2632457 h 6479439"/>
                <a:gd name="connsiteX5498" fmla="*/ 2171750 w 9586368"/>
                <a:gd name="connsiteY5498" fmla="*/ 2636496 h 6479439"/>
                <a:gd name="connsiteX5499" fmla="*/ 2171750 w 9586368"/>
                <a:gd name="connsiteY5499" fmla="*/ 2646366 h 6479439"/>
                <a:gd name="connsiteX5500" fmla="*/ 2167732 w 9586368"/>
                <a:gd name="connsiteY5500" fmla="*/ 2650405 h 6479439"/>
                <a:gd name="connsiteX5501" fmla="*/ 2157821 w 9586368"/>
                <a:gd name="connsiteY5501" fmla="*/ 2650405 h 6479439"/>
                <a:gd name="connsiteX5502" fmla="*/ 2153802 w 9586368"/>
                <a:gd name="connsiteY5502" fmla="*/ 2646366 h 6479439"/>
                <a:gd name="connsiteX5503" fmla="*/ 2153802 w 9586368"/>
                <a:gd name="connsiteY5503" fmla="*/ 2636496 h 6479439"/>
                <a:gd name="connsiteX5504" fmla="*/ 1918513 w 9586368"/>
                <a:gd name="connsiteY5504" fmla="*/ 2632457 h 6479439"/>
                <a:gd name="connsiteX5505" fmla="*/ 1928422 w 9586368"/>
                <a:gd name="connsiteY5505" fmla="*/ 2632457 h 6479439"/>
                <a:gd name="connsiteX5506" fmla="*/ 1932441 w 9586368"/>
                <a:gd name="connsiteY5506" fmla="*/ 2636496 h 6479439"/>
                <a:gd name="connsiteX5507" fmla="*/ 1932441 w 9586368"/>
                <a:gd name="connsiteY5507" fmla="*/ 2646366 h 6479439"/>
                <a:gd name="connsiteX5508" fmla="*/ 1928422 w 9586368"/>
                <a:gd name="connsiteY5508" fmla="*/ 2650405 h 6479439"/>
                <a:gd name="connsiteX5509" fmla="*/ 1918513 w 9586368"/>
                <a:gd name="connsiteY5509" fmla="*/ 2650405 h 6479439"/>
                <a:gd name="connsiteX5510" fmla="*/ 1914494 w 9586368"/>
                <a:gd name="connsiteY5510" fmla="*/ 2646366 h 6479439"/>
                <a:gd name="connsiteX5511" fmla="*/ 1914494 w 9586368"/>
                <a:gd name="connsiteY5511" fmla="*/ 2636496 h 6479439"/>
                <a:gd name="connsiteX5512" fmla="*/ 1679212 w 9586368"/>
                <a:gd name="connsiteY5512" fmla="*/ 2632457 h 6479439"/>
                <a:gd name="connsiteX5513" fmla="*/ 1689122 w 9586368"/>
                <a:gd name="connsiteY5513" fmla="*/ 2632457 h 6479439"/>
                <a:gd name="connsiteX5514" fmla="*/ 1693141 w 9586368"/>
                <a:gd name="connsiteY5514" fmla="*/ 2636496 h 6479439"/>
                <a:gd name="connsiteX5515" fmla="*/ 1693141 w 9586368"/>
                <a:gd name="connsiteY5515" fmla="*/ 2646366 h 6479439"/>
                <a:gd name="connsiteX5516" fmla="*/ 1689122 w 9586368"/>
                <a:gd name="connsiteY5516" fmla="*/ 2650405 h 6479439"/>
                <a:gd name="connsiteX5517" fmla="*/ 1679212 w 9586368"/>
                <a:gd name="connsiteY5517" fmla="*/ 2650405 h 6479439"/>
                <a:gd name="connsiteX5518" fmla="*/ 1675193 w 9586368"/>
                <a:gd name="connsiteY5518" fmla="*/ 2646366 h 6479439"/>
                <a:gd name="connsiteX5519" fmla="*/ 1675193 w 9586368"/>
                <a:gd name="connsiteY5519" fmla="*/ 2636496 h 6479439"/>
                <a:gd name="connsiteX5520" fmla="*/ 1439896 w 9586368"/>
                <a:gd name="connsiteY5520" fmla="*/ 2632457 h 6479439"/>
                <a:gd name="connsiteX5521" fmla="*/ 1449806 w 9586368"/>
                <a:gd name="connsiteY5521" fmla="*/ 2632457 h 6479439"/>
                <a:gd name="connsiteX5522" fmla="*/ 1453824 w 9586368"/>
                <a:gd name="connsiteY5522" fmla="*/ 2636496 h 6479439"/>
                <a:gd name="connsiteX5523" fmla="*/ 1453824 w 9586368"/>
                <a:gd name="connsiteY5523" fmla="*/ 2646366 h 6479439"/>
                <a:gd name="connsiteX5524" fmla="*/ 1449806 w 9586368"/>
                <a:gd name="connsiteY5524" fmla="*/ 2650405 h 6479439"/>
                <a:gd name="connsiteX5525" fmla="*/ 1439896 w 9586368"/>
                <a:gd name="connsiteY5525" fmla="*/ 2650405 h 6479439"/>
                <a:gd name="connsiteX5526" fmla="*/ 1435876 w 9586368"/>
                <a:gd name="connsiteY5526" fmla="*/ 2646366 h 6479439"/>
                <a:gd name="connsiteX5527" fmla="*/ 1435876 w 9586368"/>
                <a:gd name="connsiteY5527" fmla="*/ 2636496 h 6479439"/>
                <a:gd name="connsiteX5528" fmla="*/ 1200580 w 9586368"/>
                <a:gd name="connsiteY5528" fmla="*/ 2632457 h 6479439"/>
                <a:gd name="connsiteX5529" fmla="*/ 1210490 w 9586368"/>
                <a:gd name="connsiteY5529" fmla="*/ 2632457 h 6479439"/>
                <a:gd name="connsiteX5530" fmla="*/ 1214509 w 9586368"/>
                <a:gd name="connsiteY5530" fmla="*/ 2636496 h 6479439"/>
                <a:gd name="connsiteX5531" fmla="*/ 1214509 w 9586368"/>
                <a:gd name="connsiteY5531" fmla="*/ 2646366 h 6479439"/>
                <a:gd name="connsiteX5532" fmla="*/ 1210490 w 9586368"/>
                <a:gd name="connsiteY5532" fmla="*/ 2650405 h 6479439"/>
                <a:gd name="connsiteX5533" fmla="*/ 1200580 w 9586368"/>
                <a:gd name="connsiteY5533" fmla="*/ 2650405 h 6479439"/>
                <a:gd name="connsiteX5534" fmla="*/ 1196561 w 9586368"/>
                <a:gd name="connsiteY5534" fmla="*/ 2646366 h 6479439"/>
                <a:gd name="connsiteX5535" fmla="*/ 1196561 w 9586368"/>
                <a:gd name="connsiteY5535" fmla="*/ 2636496 h 6479439"/>
                <a:gd name="connsiteX5536" fmla="*/ 961267 w 9586368"/>
                <a:gd name="connsiteY5536" fmla="*/ 2632457 h 6479439"/>
                <a:gd name="connsiteX5537" fmla="*/ 971178 w 9586368"/>
                <a:gd name="connsiteY5537" fmla="*/ 2632457 h 6479439"/>
                <a:gd name="connsiteX5538" fmla="*/ 975196 w 9586368"/>
                <a:gd name="connsiteY5538" fmla="*/ 2636496 h 6479439"/>
                <a:gd name="connsiteX5539" fmla="*/ 975196 w 9586368"/>
                <a:gd name="connsiteY5539" fmla="*/ 2646366 h 6479439"/>
                <a:gd name="connsiteX5540" fmla="*/ 971178 w 9586368"/>
                <a:gd name="connsiteY5540" fmla="*/ 2650405 h 6479439"/>
                <a:gd name="connsiteX5541" fmla="*/ 961267 w 9586368"/>
                <a:gd name="connsiteY5541" fmla="*/ 2650405 h 6479439"/>
                <a:gd name="connsiteX5542" fmla="*/ 957249 w 9586368"/>
                <a:gd name="connsiteY5542" fmla="*/ 2646366 h 6479439"/>
                <a:gd name="connsiteX5543" fmla="*/ 957249 w 9586368"/>
                <a:gd name="connsiteY5543" fmla="*/ 2636496 h 6479439"/>
                <a:gd name="connsiteX5544" fmla="*/ 721970 w 9586368"/>
                <a:gd name="connsiteY5544" fmla="*/ 2632457 h 6479439"/>
                <a:gd name="connsiteX5545" fmla="*/ 731879 w 9586368"/>
                <a:gd name="connsiteY5545" fmla="*/ 2632457 h 6479439"/>
                <a:gd name="connsiteX5546" fmla="*/ 735898 w 9586368"/>
                <a:gd name="connsiteY5546" fmla="*/ 2636496 h 6479439"/>
                <a:gd name="connsiteX5547" fmla="*/ 735898 w 9586368"/>
                <a:gd name="connsiteY5547" fmla="*/ 2646366 h 6479439"/>
                <a:gd name="connsiteX5548" fmla="*/ 731879 w 9586368"/>
                <a:gd name="connsiteY5548" fmla="*/ 2650405 h 6479439"/>
                <a:gd name="connsiteX5549" fmla="*/ 721970 w 9586368"/>
                <a:gd name="connsiteY5549" fmla="*/ 2650405 h 6479439"/>
                <a:gd name="connsiteX5550" fmla="*/ 717951 w 9586368"/>
                <a:gd name="connsiteY5550" fmla="*/ 2646366 h 6479439"/>
                <a:gd name="connsiteX5551" fmla="*/ 717951 w 9586368"/>
                <a:gd name="connsiteY5551" fmla="*/ 2636496 h 6479439"/>
                <a:gd name="connsiteX5552" fmla="*/ 482657 w 9586368"/>
                <a:gd name="connsiteY5552" fmla="*/ 2632457 h 6479439"/>
                <a:gd name="connsiteX5553" fmla="*/ 492567 w 9586368"/>
                <a:gd name="connsiteY5553" fmla="*/ 2632457 h 6479439"/>
                <a:gd name="connsiteX5554" fmla="*/ 496586 w 9586368"/>
                <a:gd name="connsiteY5554" fmla="*/ 2636496 h 6479439"/>
                <a:gd name="connsiteX5555" fmla="*/ 496586 w 9586368"/>
                <a:gd name="connsiteY5555" fmla="*/ 2646366 h 6479439"/>
                <a:gd name="connsiteX5556" fmla="*/ 492567 w 9586368"/>
                <a:gd name="connsiteY5556" fmla="*/ 2650405 h 6479439"/>
                <a:gd name="connsiteX5557" fmla="*/ 482657 w 9586368"/>
                <a:gd name="connsiteY5557" fmla="*/ 2650405 h 6479439"/>
                <a:gd name="connsiteX5558" fmla="*/ 478638 w 9586368"/>
                <a:gd name="connsiteY5558" fmla="*/ 2646366 h 6479439"/>
                <a:gd name="connsiteX5559" fmla="*/ 478638 w 9586368"/>
                <a:gd name="connsiteY5559" fmla="*/ 2636496 h 6479439"/>
                <a:gd name="connsiteX5560" fmla="*/ 243344 w 9586368"/>
                <a:gd name="connsiteY5560" fmla="*/ 2632457 h 6479439"/>
                <a:gd name="connsiteX5561" fmla="*/ 253254 w 9586368"/>
                <a:gd name="connsiteY5561" fmla="*/ 2632457 h 6479439"/>
                <a:gd name="connsiteX5562" fmla="*/ 257273 w 9586368"/>
                <a:gd name="connsiteY5562" fmla="*/ 2636496 h 6479439"/>
                <a:gd name="connsiteX5563" fmla="*/ 257273 w 9586368"/>
                <a:gd name="connsiteY5563" fmla="*/ 2646366 h 6479439"/>
                <a:gd name="connsiteX5564" fmla="*/ 253254 w 9586368"/>
                <a:gd name="connsiteY5564" fmla="*/ 2650405 h 6479439"/>
                <a:gd name="connsiteX5565" fmla="*/ 243344 w 9586368"/>
                <a:gd name="connsiteY5565" fmla="*/ 2650405 h 6479439"/>
                <a:gd name="connsiteX5566" fmla="*/ 239325 w 9586368"/>
                <a:gd name="connsiteY5566" fmla="*/ 2646366 h 6479439"/>
                <a:gd name="connsiteX5567" fmla="*/ 239325 w 9586368"/>
                <a:gd name="connsiteY5567" fmla="*/ 2636496 h 6479439"/>
                <a:gd name="connsiteX5568" fmla="*/ 4030 w 9586368"/>
                <a:gd name="connsiteY5568" fmla="*/ 2632457 h 6479439"/>
                <a:gd name="connsiteX5569" fmla="*/ 13941 w 9586368"/>
                <a:gd name="connsiteY5569" fmla="*/ 2632457 h 6479439"/>
                <a:gd name="connsiteX5570" fmla="*/ 17960 w 9586368"/>
                <a:gd name="connsiteY5570" fmla="*/ 2636496 h 6479439"/>
                <a:gd name="connsiteX5571" fmla="*/ 17960 w 9586368"/>
                <a:gd name="connsiteY5571" fmla="*/ 2646366 h 6479439"/>
                <a:gd name="connsiteX5572" fmla="*/ 13941 w 9586368"/>
                <a:gd name="connsiteY5572" fmla="*/ 2650405 h 6479439"/>
                <a:gd name="connsiteX5573" fmla="*/ 4030 w 9586368"/>
                <a:gd name="connsiteY5573" fmla="*/ 2650405 h 6479439"/>
                <a:gd name="connsiteX5574" fmla="*/ 11 w 9586368"/>
                <a:gd name="connsiteY5574" fmla="*/ 2646366 h 6479439"/>
                <a:gd name="connsiteX5575" fmla="*/ 11 w 9586368"/>
                <a:gd name="connsiteY5575" fmla="*/ 2636496 h 6479439"/>
                <a:gd name="connsiteX5576" fmla="*/ 2157821 w 9586368"/>
                <a:gd name="connsiteY5576" fmla="*/ 2393178 h 6479439"/>
                <a:gd name="connsiteX5577" fmla="*/ 2167732 w 9586368"/>
                <a:gd name="connsiteY5577" fmla="*/ 2393178 h 6479439"/>
                <a:gd name="connsiteX5578" fmla="*/ 2171750 w 9586368"/>
                <a:gd name="connsiteY5578" fmla="*/ 2397216 h 6479439"/>
                <a:gd name="connsiteX5579" fmla="*/ 2171750 w 9586368"/>
                <a:gd name="connsiteY5579" fmla="*/ 2407087 h 6479439"/>
                <a:gd name="connsiteX5580" fmla="*/ 2167732 w 9586368"/>
                <a:gd name="connsiteY5580" fmla="*/ 2411126 h 6479439"/>
                <a:gd name="connsiteX5581" fmla="*/ 2157821 w 9586368"/>
                <a:gd name="connsiteY5581" fmla="*/ 2411126 h 6479439"/>
                <a:gd name="connsiteX5582" fmla="*/ 2153802 w 9586368"/>
                <a:gd name="connsiteY5582" fmla="*/ 2407087 h 6479439"/>
                <a:gd name="connsiteX5583" fmla="*/ 2153802 w 9586368"/>
                <a:gd name="connsiteY5583" fmla="*/ 2397216 h 6479439"/>
                <a:gd name="connsiteX5584" fmla="*/ 1918513 w 9586368"/>
                <a:gd name="connsiteY5584" fmla="*/ 2393178 h 6479439"/>
                <a:gd name="connsiteX5585" fmla="*/ 1928422 w 9586368"/>
                <a:gd name="connsiteY5585" fmla="*/ 2393178 h 6479439"/>
                <a:gd name="connsiteX5586" fmla="*/ 1932443 w 9586368"/>
                <a:gd name="connsiteY5586" fmla="*/ 2397216 h 6479439"/>
                <a:gd name="connsiteX5587" fmla="*/ 1932443 w 9586368"/>
                <a:gd name="connsiteY5587" fmla="*/ 2407087 h 6479439"/>
                <a:gd name="connsiteX5588" fmla="*/ 1928422 w 9586368"/>
                <a:gd name="connsiteY5588" fmla="*/ 2411126 h 6479439"/>
                <a:gd name="connsiteX5589" fmla="*/ 1918513 w 9586368"/>
                <a:gd name="connsiteY5589" fmla="*/ 2411126 h 6479439"/>
                <a:gd name="connsiteX5590" fmla="*/ 1914494 w 9586368"/>
                <a:gd name="connsiteY5590" fmla="*/ 2407087 h 6479439"/>
                <a:gd name="connsiteX5591" fmla="*/ 1914494 w 9586368"/>
                <a:gd name="connsiteY5591" fmla="*/ 2397216 h 6479439"/>
                <a:gd name="connsiteX5592" fmla="*/ 1679212 w 9586368"/>
                <a:gd name="connsiteY5592" fmla="*/ 2393178 h 6479439"/>
                <a:gd name="connsiteX5593" fmla="*/ 1689123 w 9586368"/>
                <a:gd name="connsiteY5593" fmla="*/ 2393178 h 6479439"/>
                <a:gd name="connsiteX5594" fmla="*/ 1693142 w 9586368"/>
                <a:gd name="connsiteY5594" fmla="*/ 2397216 h 6479439"/>
                <a:gd name="connsiteX5595" fmla="*/ 1693142 w 9586368"/>
                <a:gd name="connsiteY5595" fmla="*/ 2407087 h 6479439"/>
                <a:gd name="connsiteX5596" fmla="*/ 1689123 w 9586368"/>
                <a:gd name="connsiteY5596" fmla="*/ 2411126 h 6479439"/>
                <a:gd name="connsiteX5597" fmla="*/ 1679212 w 9586368"/>
                <a:gd name="connsiteY5597" fmla="*/ 2411126 h 6479439"/>
                <a:gd name="connsiteX5598" fmla="*/ 1675194 w 9586368"/>
                <a:gd name="connsiteY5598" fmla="*/ 2407087 h 6479439"/>
                <a:gd name="connsiteX5599" fmla="*/ 1675194 w 9586368"/>
                <a:gd name="connsiteY5599" fmla="*/ 2397216 h 6479439"/>
                <a:gd name="connsiteX5600" fmla="*/ 1439896 w 9586368"/>
                <a:gd name="connsiteY5600" fmla="*/ 2393178 h 6479439"/>
                <a:gd name="connsiteX5601" fmla="*/ 1449806 w 9586368"/>
                <a:gd name="connsiteY5601" fmla="*/ 2393178 h 6479439"/>
                <a:gd name="connsiteX5602" fmla="*/ 1453826 w 9586368"/>
                <a:gd name="connsiteY5602" fmla="*/ 2397216 h 6479439"/>
                <a:gd name="connsiteX5603" fmla="*/ 1453826 w 9586368"/>
                <a:gd name="connsiteY5603" fmla="*/ 2407087 h 6479439"/>
                <a:gd name="connsiteX5604" fmla="*/ 1449806 w 9586368"/>
                <a:gd name="connsiteY5604" fmla="*/ 2411126 h 6479439"/>
                <a:gd name="connsiteX5605" fmla="*/ 1439896 w 9586368"/>
                <a:gd name="connsiteY5605" fmla="*/ 2411126 h 6479439"/>
                <a:gd name="connsiteX5606" fmla="*/ 1435878 w 9586368"/>
                <a:gd name="connsiteY5606" fmla="*/ 2407087 h 6479439"/>
                <a:gd name="connsiteX5607" fmla="*/ 1435878 w 9586368"/>
                <a:gd name="connsiteY5607" fmla="*/ 2397216 h 6479439"/>
                <a:gd name="connsiteX5608" fmla="*/ 1200580 w 9586368"/>
                <a:gd name="connsiteY5608" fmla="*/ 2393178 h 6479439"/>
                <a:gd name="connsiteX5609" fmla="*/ 1210491 w 9586368"/>
                <a:gd name="connsiteY5609" fmla="*/ 2393178 h 6479439"/>
                <a:gd name="connsiteX5610" fmla="*/ 1214510 w 9586368"/>
                <a:gd name="connsiteY5610" fmla="*/ 2397216 h 6479439"/>
                <a:gd name="connsiteX5611" fmla="*/ 1214510 w 9586368"/>
                <a:gd name="connsiteY5611" fmla="*/ 2407087 h 6479439"/>
                <a:gd name="connsiteX5612" fmla="*/ 1210491 w 9586368"/>
                <a:gd name="connsiteY5612" fmla="*/ 2411126 h 6479439"/>
                <a:gd name="connsiteX5613" fmla="*/ 1200580 w 9586368"/>
                <a:gd name="connsiteY5613" fmla="*/ 2411126 h 6479439"/>
                <a:gd name="connsiteX5614" fmla="*/ 1196562 w 9586368"/>
                <a:gd name="connsiteY5614" fmla="*/ 2407087 h 6479439"/>
                <a:gd name="connsiteX5615" fmla="*/ 1196562 w 9586368"/>
                <a:gd name="connsiteY5615" fmla="*/ 2397216 h 6479439"/>
                <a:gd name="connsiteX5616" fmla="*/ 961268 w 9586368"/>
                <a:gd name="connsiteY5616" fmla="*/ 2393178 h 6479439"/>
                <a:gd name="connsiteX5617" fmla="*/ 971178 w 9586368"/>
                <a:gd name="connsiteY5617" fmla="*/ 2393178 h 6479439"/>
                <a:gd name="connsiteX5618" fmla="*/ 975196 w 9586368"/>
                <a:gd name="connsiteY5618" fmla="*/ 2397216 h 6479439"/>
                <a:gd name="connsiteX5619" fmla="*/ 975196 w 9586368"/>
                <a:gd name="connsiteY5619" fmla="*/ 2407087 h 6479439"/>
                <a:gd name="connsiteX5620" fmla="*/ 971178 w 9586368"/>
                <a:gd name="connsiteY5620" fmla="*/ 2411126 h 6479439"/>
                <a:gd name="connsiteX5621" fmla="*/ 961268 w 9586368"/>
                <a:gd name="connsiteY5621" fmla="*/ 2411126 h 6479439"/>
                <a:gd name="connsiteX5622" fmla="*/ 957249 w 9586368"/>
                <a:gd name="connsiteY5622" fmla="*/ 2407087 h 6479439"/>
                <a:gd name="connsiteX5623" fmla="*/ 957249 w 9586368"/>
                <a:gd name="connsiteY5623" fmla="*/ 2397216 h 6479439"/>
                <a:gd name="connsiteX5624" fmla="*/ 9572438 w 9586368"/>
                <a:gd name="connsiteY5624" fmla="*/ 2393127 h 6479439"/>
                <a:gd name="connsiteX5625" fmla="*/ 9582349 w 9586368"/>
                <a:gd name="connsiteY5625" fmla="*/ 2393127 h 6479439"/>
                <a:gd name="connsiteX5626" fmla="*/ 9586368 w 9586368"/>
                <a:gd name="connsiteY5626" fmla="*/ 2397165 h 6479439"/>
                <a:gd name="connsiteX5627" fmla="*/ 9586368 w 9586368"/>
                <a:gd name="connsiteY5627" fmla="*/ 2407036 h 6479439"/>
                <a:gd name="connsiteX5628" fmla="*/ 9582349 w 9586368"/>
                <a:gd name="connsiteY5628" fmla="*/ 2411074 h 6479439"/>
                <a:gd name="connsiteX5629" fmla="*/ 9572438 w 9586368"/>
                <a:gd name="connsiteY5629" fmla="*/ 2411074 h 6479439"/>
                <a:gd name="connsiteX5630" fmla="*/ 9568419 w 9586368"/>
                <a:gd name="connsiteY5630" fmla="*/ 2407036 h 6479439"/>
                <a:gd name="connsiteX5631" fmla="*/ 9568419 w 9586368"/>
                <a:gd name="connsiteY5631" fmla="*/ 2397165 h 6479439"/>
                <a:gd name="connsiteX5632" fmla="*/ 9333125 w 9586368"/>
                <a:gd name="connsiteY5632" fmla="*/ 2393127 h 6479439"/>
                <a:gd name="connsiteX5633" fmla="*/ 9343036 w 9586368"/>
                <a:gd name="connsiteY5633" fmla="*/ 2393127 h 6479439"/>
                <a:gd name="connsiteX5634" fmla="*/ 9347055 w 9586368"/>
                <a:gd name="connsiteY5634" fmla="*/ 2397165 h 6479439"/>
                <a:gd name="connsiteX5635" fmla="*/ 9347055 w 9586368"/>
                <a:gd name="connsiteY5635" fmla="*/ 2407036 h 6479439"/>
                <a:gd name="connsiteX5636" fmla="*/ 9343036 w 9586368"/>
                <a:gd name="connsiteY5636" fmla="*/ 2411074 h 6479439"/>
                <a:gd name="connsiteX5637" fmla="*/ 9333125 w 9586368"/>
                <a:gd name="connsiteY5637" fmla="*/ 2411074 h 6479439"/>
                <a:gd name="connsiteX5638" fmla="*/ 9329106 w 9586368"/>
                <a:gd name="connsiteY5638" fmla="*/ 2407036 h 6479439"/>
                <a:gd name="connsiteX5639" fmla="*/ 9329106 w 9586368"/>
                <a:gd name="connsiteY5639" fmla="*/ 2397165 h 6479439"/>
                <a:gd name="connsiteX5640" fmla="*/ 9093811 w 9586368"/>
                <a:gd name="connsiteY5640" fmla="*/ 2393127 h 6479439"/>
                <a:gd name="connsiteX5641" fmla="*/ 9103722 w 9586368"/>
                <a:gd name="connsiteY5641" fmla="*/ 2393127 h 6479439"/>
                <a:gd name="connsiteX5642" fmla="*/ 9107741 w 9586368"/>
                <a:gd name="connsiteY5642" fmla="*/ 2397165 h 6479439"/>
                <a:gd name="connsiteX5643" fmla="*/ 9107741 w 9586368"/>
                <a:gd name="connsiteY5643" fmla="*/ 2407036 h 6479439"/>
                <a:gd name="connsiteX5644" fmla="*/ 9103722 w 9586368"/>
                <a:gd name="connsiteY5644" fmla="*/ 2411074 h 6479439"/>
                <a:gd name="connsiteX5645" fmla="*/ 9093811 w 9586368"/>
                <a:gd name="connsiteY5645" fmla="*/ 2411074 h 6479439"/>
                <a:gd name="connsiteX5646" fmla="*/ 9089792 w 9586368"/>
                <a:gd name="connsiteY5646" fmla="*/ 2407036 h 6479439"/>
                <a:gd name="connsiteX5647" fmla="*/ 9089792 w 9586368"/>
                <a:gd name="connsiteY5647" fmla="*/ 2397165 h 6479439"/>
                <a:gd name="connsiteX5648" fmla="*/ 8854496 w 9586368"/>
                <a:gd name="connsiteY5648" fmla="*/ 2393127 h 6479439"/>
                <a:gd name="connsiteX5649" fmla="*/ 8864407 w 9586368"/>
                <a:gd name="connsiteY5649" fmla="*/ 2393127 h 6479439"/>
                <a:gd name="connsiteX5650" fmla="*/ 8868426 w 9586368"/>
                <a:gd name="connsiteY5650" fmla="*/ 2397165 h 6479439"/>
                <a:gd name="connsiteX5651" fmla="*/ 8868426 w 9586368"/>
                <a:gd name="connsiteY5651" fmla="*/ 2407036 h 6479439"/>
                <a:gd name="connsiteX5652" fmla="*/ 8864407 w 9586368"/>
                <a:gd name="connsiteY5652" fmla="*/ 2411074 h 6479439"/>
                <a:gd name="connsiteX5653" fmla="*/ 8854496 w 9586368"/>
                <a:gd name="connsiteY5653" fmla="*/ 2411074 h 6479439"/>
                <a:gd name="connsiteX5654" fmla="*/ 8850477 w 9586368"/>
                <a:gd name="connsiteY5654" fmla="*/ 2407036 h 6479439"/>
                <a:gd name="connsiteX5655" fmla="*/ 8850477 w 9586368"/>
                <a:gd name="connsiteY5655" fmla="*/ 2397165 h 6479439"/>
                <a:gd name="connsiteX5656" fmla="*/ 8615184 w 9586368"/>
                <a:gd name="connsiteY5656" fmla="*/ 2393127 h 6479439"/>
                <a:gd name="connsiteX5657" fmla="*/ 8625095 w 9586368"/>
                <a:gd name="connsiteY5657" fmla="*/ 2393127 h 6479439"/>
                <a:gd name="connsiteX5658" fmla="*/ 8629114 w 9586368"/>
                <a:gd name="connsiteY5658" fmla="*/ 2397165 h 6479439"/>
                <a:gd name="connsiteX5659" fmla="*/ 8629114 w 9586368"/>
                <a:gd name="connsiteY5659" fmla="*/ 2407036 h 6479439"/>
                <a:gd name="connsiteX5660" fmla="*/ 8625095 w 9586368"/>
                <a:gd name="connsiteY5660" fmla="*/ 2411074 h 6479439"/>
                <a:gd name="connsiteX5661" fmla="*/ 8615184 w 9586368"/>
                <a:gd name="connsiteY5661" fmla="*/ 2411074 h 6479439"/>
                <a:gd name="connsiteX5662" fmla="*/ 8611165 w 9586368"/>
                <a:gd name="connsiteY5662" fmla="*/ 2407036 h 6479439"/>
                <a:gd name="connsiteX5663" fmla="*/ 8611165 w 9586368"/>
                <a:gd name="connsiteY5663" fmla="*/ 2397165 h 6479439"/>
                <a:gd name="connsiteX5664" fmla="*/ 8375869 w 9586368"/>
                <a:gd name="connsiteY5664" fmla="*/ 2393127 h 6479439"/>
                <a:gd name="connsiteX5665" fmla="*/ 8385779 w 9586368"/>
                <a:gd name="connsiteY5665" fmla="*/ 2393127 h 6479439"/>
                <a:gd name="connsiteX5666" fmla="*/ 8389799 w 9586368"/>
                <a:gd name="connsiteY5666" fmla="*/ 2397165 h 6479439"/>
                <a:gd name="connsiteX5667" fmla="*/ 8389799 w 9586368"/>
                <a:gd name="connsiteY5667" fmla="*/ 2407036 h 6479439"/>
                <a:gd name="connsiteX5668" fmla="*/ 8385779 w 9586368"/>
                <a:gd name="connsiteY5668" fmla="*/ 2411074 h 6479439"/>
                <a:gd name="connsiteX5669" fmla="*/ 8375869 w 9586368"/>
                <a:gd name="connsiteY5669" fmla="*/ 2411074 h 6479439"/>
                <a:gd name="connsiteX5670" fmla="*/ 8371850 w 9586368"/>
                <a:gd name="connsiteY5670" fmla="*/ 2407036 h 6479439"/>
                <a:gd name="connsiteX5671" fmla="*/ 8371850 w 9586368"/>
                <a:gd name="connsiteY5671" fmla="*/ 2397165 h 6479439"/>
                <a:gd name="connsiteX5672" fmla="*/ 8136553 w 9586368"/>
                <a:gd name="connsiteY5672" fmla="*/ 2393127 h 6479439"/>
                <a:gd name="connsiteX5673" fmla="*/ 8146464 w 9586368"/>
                <a:gd name="connsiteY5673" fmla="*/ 2393127 h 6479439"/>
                <a:gd name="connsiteX5674" fmla="*/ 8150483 w 9586368"/>
                <a:gd name="connsiteY5674" fmla="*/ 2397165 h 6479439"/>
                <a:gd name="connsiteX5675" fmla="*/ 8150483 w 9586368"/>
                <a:gd name="connsiteY5675" fmla="*/ 2407036 h 6479439"/>
                <a:gd name="connsiteX5676" fmla="*/ 8146464 w 9586368"/>
                <a:gd name="connsiteY5676" fmla="*/ 2411074 h 6479439"/>
                <a:gd name="connsiteX5677" fmla="*/ 8136553 w 9586368"/>
                <a:gd name="connsiteY5677" fmla="*/ 2411074 h 6479439"/>
                <a:gd name="connsiteX5678" fmla="*/ 8132534 w 9586368"/>
                <a:gd name="connsiteY5678" fmla="*/ 2407036 h 6479439"/>
                <a:gd name="connsiteX5679" fmla="*/ 8132534 w 9586368"/>
                <a:gd name="connsiteY5679" fmla="*/ 2397165 h 6479439"/>
                <a:gd name="connsiteX5680" fmla="*/ 7897241 w 9586368"/>
                <a:gd name="connsiteY5680" fmla="*/ 2393127 h 6479439"/>
                <a:gd name="connsiteX5681" fmla="*/ 7907151 w 9586368"/>
                <a:gd name="connsiteY5681" fmla="*/ 2393127 h 6479439"/>
                <a:gd name="connsiteX5682" fmla="*/ 7911170 w 9586368"/>
                <a:gd name="connsiteY5682" fmla="*/ 2397165 h 6479439"/>
                <a:gd name="connsiteX5683" fmla="*/ 7911170 w 9586368"/>
                <a:gd name="connsiteY5683" fmla="*/ 2407036 h 6479439"/>
                <a:gd name="connsiteX5684" fmla="*/ 7907151 w 9586368"/>
                <a:gd name="connsiteY5684" fmla="*/ 2411074 h 6479439"/>
                <a:gd name="connsiteX5685" fmla="*/ 7897241 w 9586368"/>
                <a:gd name="connsiteY5685" fmla="*/ 2411074 h 6479439"/>
                <a:gd name="connsiteX5686" fmla="*/ 7893222 w 9586368"/>
                <a:gd name="connsiteY5686" fmla="*/ 2407036 h 6479439"/>
                <a:gd name="connsiteX5687" fmla="*/ 7893222 w 9586368"/>
                <a:gd name="connsiteY5687" fmla="*/ 2397165 h 6479439"/>
                <a:gd name="connsiteX5688" fmla="*/ 7657926 w 9586368"/>
                <a:gd name="connsiteY5688" fmla="*/ 2393127 h 6479439"/>
                <a:gd name="connsiteX5689" fmla="*/ 7667836 w 9586368"/>
                <a:gd name="connsiteY5689" fmla="*/ 2393127 h 6479439"/>
                <a:gd name="connsiteX5690" fmla="*/ 7671855 w 9586368"/>
                <a:gd name="connsiteY5690" fmla="*/ 2397165 h 6479439"/>
                <a:gd name="connsiteX5691" fmla="*/ 7671855 w 9586368"/>
                <a:gd name="connsiteY5691" fmla="*/ 2407036 h 6479439"/>
                <a:gd name="connsiteX5692" fmla="*/ 7667836 w 9586368"/>
                <a:gd name="connsiteY5692" fmla="*/ 2411074 h 6479439"/>
                <a:gd name="connsiteX5693" fmla="*/ 7657926 w 9586368"/>
                <a:gd name="connsiteY5693" fmla="*/ 2411074 h 6479439"/>
                <a:gd name="connsiteX5694" fmla="*/ 7653906 w 9586368"/>
                <a:gd name="connsiteY5694" fmla="*/ 2407036 h 6479439"/>
                <a:gd name="connsiteX5695" fmla="*/ 7653906 w 9586368"/>
                <a:gd name="connsiteY5695" fmla="*/ 2397165 h 6479439"/>
                <a:gd name="connsiteX5696" fmla="*/ 7418611 w 9586368"/>
                <a:gd name="connsiteY5696" fmla="*/ 2393127 h 6479439"/>
                <a:gd name="connsiteX5697" fmla="*/ 7428521 w 9586368"/>
                <a:gd name="connsiteY5697" fmla="*/ 2393127 h 6479439"/>
                <a:gd name="connsiteX5698" fmla="*/ 7432540 w 9586368"/>
                <a:gd name="connsiteY5698" fmla="*/ 2397165 h 6479439"/>
                <a:gd name="connsiteX5699" fmla="*/ 7432540 w 9586368"/>
                <a:gd name="connsiteY5699" fmla="*/ 2407036 h 6479439"/>
                <a:gd name="connsiteX5700" fmla="*/ 7428521 w 9586368"/>
                <a:gd name="connsiteY5700" fmla="*/ 2411074 h 6479439"/>
                <a:gd name="connsiteX5701" fmla="*/ 7418611 w 9586368"/>
                <a:gd name="connsiteY5701" fmla="*/ 2411074 h 6479439"/>
                <a:gd name="connsiteX5702" fmla="*/ 7414592 w 9586368"/>
                <a:gd name="connsiteY5702" fmla="*/ 2407036 h 6479439"/>
                <a:gd name="connsiteX5703" fmla="*/ 7414592 w 9586368"/>
                <a:gd name="connsiteY5703" fmla="*/ 2397165 h 6479439"/>
                <a:gd name="connsiteX5704" fmla="*/ 7179298 w 9586368"/>
                <a:gd name="connsiteY5704" fmla="*/ 2393127 h 6479439"/>
                <a:gd name="connsiteX5705" fmla="*/ 7189209 w 9586368"/>
                <a:gd name="connsiteY5705" fmla="*/ 2393127 h 6479439"/>
                <a:gd name="connsiteX5706" fmla="*/ 7193228 w 9586368"/>
                <a:gd name="connsiteY5706" fmla="*/ 2397165 h 6479439"/>
                <a:gd name="connsiteX5707" fmla="*/ 7193228 w 9586368"/>
                <a:gd name="connsiteY5707" fmla="*/ 2407036 h 6479439"/>
                <a:gd name="connsiteX5708" fmla="*/ 7189209 w 9586368"/>
                <a:gd name="connsiteY5708" fmla="*/ 2411074 h 6479439"/>
                <a:gd name="connsiteX5709" fmla="*/ 7179298 w 9586368"/>
                <a:gd name="connsiteY5709" fmla="*/ 2411074 h 6479439"/>
                <a:gd name="connsiteX5710" fmla="*/ 7175279 w 9586368"/>
                <a:gd name="connsiteY5710" fmla="*/ 2407036 h 6479439"/>
                <a:gd name="connsiteX5711" fmla="*/ 7175279 w 9586368"/>
                <a:gd name="connsiteY5711" fmla="*/ 2397165 h 6479439"/>
                <a:gd name="connsiteX5712" fmla="*/ 6939983 w 9586368"/>
                <a:gd name="connsiteY5712" fmla="*/ 2393127 h 6479439"/>
                <a:gd name="connsiteX5713" fmla="*/ 6949894 w 9586368"/>
                <a:gd name="connsiteY5713" fmla="*/ 2393127 h 6479439"/>
                <a:gd name="connsiteX5714" fmla="*/ 6953913 w 9586368"/>
                <a:gd name="connsiteY5714" fmla="*/ 2397165 h 6479439"/>
                <a:gd name="connsiteX5715" fmla="*/ 6953913 w 9586368"/>
                <a:gd name="connsiteY5715" fmla="*/ 2407036 h 6479439"/>
                <a:gd name="connsiteX5716" fmla="*/ 6949894 w 9586368"/>
                <a:gd name="connsiteY5716" fmla="*/ 2411074 h 6479439"/>
                <a:gd name="connsiteX5717" fmla="*/ 6939983 w 9586368"/>
                <a:gd name="connsiteY5717" fmla="*/ 2411074 h 6479439"/>
                <a:gd name="connsiteX5718" fmla="*/ 6935964 w 9586368"/>
                <a:gd name="connsiteY5718" fmla="*/ 2407036 h 6479439"/>
                <a:gd name="connsiteX5719" fmla="*/ 6935964 w 9586368"/>
                <a:gd name="connsiteY5719" fmla="*/ 2397165 h 6479439"/>
                <a:gd name="connsiteX5720" fmla="*/ 6700670 w 9586368"/>
                <a:gd name="connsiteY5720" fmla="*/ 2393127 h 6479439"/>
                <a:gd name="connsiteX5721" fmla="*/ 6710581 w 9586368"/>
                <a:gd name="connsiteY5721" fmla="*/ 2393127 h 6479439"/>
                <a:gd name="connsiteX5722" fmla="*/ 6714600 w 9586368"/>
                <a:gd name="connsiteY5722" fmla="*/ 2397165 h 6479439"/>
                <a:gd name="connsiteX5723" fmla="*/ 6714600 w 9586368"/>
                <a:gd name="connsiteY5723" fmla="*/ 2407036 h 6479439"/>
                <a:gd name="connsiteX5724" fmla="*/ 6710581 w 9586368"/>
                <a:gd name="connsiteY5724" fmla="*/ 2411074 h 6479439"/>
                <a:gd name="connsiteX5725" fmla="*/ 6700670 w 9586368"/>
                <a:gd name="connsiteY5725" fmla="*/ 2411074 h 6479439"/>
                <a:gd name="connsiteX5726" fmla="*/ 6696651 w 9586368"/>
                <a:gd name="connsiteY5726" fmla="*/ 2407036 h 6479439"/>
                <a:gd name="connsiteX5727" fmla="*/ 6696651 w 9586368"/>
                <a:gd name="connsiteY5727" fmla="*/ 2397165 h 6479439"/>
                <a:gd name="connsiteX5728" fmla="*/ 6461356 w 9586368"/>
                <a:gd name="connsiteY5728" fmla="*/ 2393127 h 6479439"/>
                <a:gd name="connsiteX5729" fmla="*/ 6471266 w 9586368"/>
                <a:gd name="connsiteY5729" fmla="*/ 2393127 h 6479439"/>
                <a:gd name="connsiteX5730" fmla="*/ 6475285 w 9586368"/>
                <a:gd name="connsiteY5730" fmla="*/ 2397165 h 6479439"/>
                <a:gd name="connsiteX5731" fmla="*/ 6475285 w 9586368"/>
                <a:gd name="connsiteY5731" fmla="*/ 2407036 h 6479439"/>
                <a:gd name="connsiteX5732" fmla="*/ 6471266 w 9586368"/>
                <a:gd name="connsiteY5732" fmla="*/ 2411074 h 6479439"/>
                <a:gd name="connsiteX5733" fmla="*/ 6461356 w 9586368"/>
                <a:gd name="connsiteY5733" fmla="*/ 2411074 h 6479439"/>
                <a:gd name="connsiteX5734" fmla="*/ 6457337 w 9586368"/>
                <a:gd name="connsiteY5734" fmla="*/ 2407036 h 6479439"/>
                <a:gd name="connsiteX5735" fmla="*/ 6457337 w 9586368"/>
                <a:gd name="connsiteY5735" fmla="*/ 2397165 h 6479439"/>
                <a:gd name="connsiteX5736" fmla="*/ 6222042 w 9586368"/>
                <a:gd name="connsiteY5736" fmla="*/ 2393127 h 6479439"/>
                <a:gd name="connsiteX5737" fmla="*/ 6231952 w 9586368"/>
                <a:gd name="connsiteY5737" fmla="*/ 2393127 h 6479439"/>
                <a:gd name="connsiteX5738" fmla="*/ 6235971 w 9586368"/>
                <a:gd name="connsiteY5738" fmla="*/ 2397165 h 6479439"/>
                <a:gd name="connsiteX5739" fmla="*/ 6235971 w 9586368"/>
                <a:gd name="connsiteY5739" fmla="*/ 2407036 h 6479439"/>
                <a:gd name="connsiteX5740" fmla="*/ 6231952 w 9586368"/>
                <a:gd name="connsiteY5740" fmla="*/ 2411074 h 6479439"/>
                <a:gd name="connsiteX5741" fmla="*/ 6222042 w 9586368"/>
                <a:gd name="connsiteY5741" fmla="*/ 2411074 h 6479439"/>
                <a:gd name="connsiteX5742" fmla="*/ 6218023 w 9586368"/>
                <a:gd name="connsiteY5742" fmla="*/ 2407036 h 6479439"/>
                <a:gd name="connsiteX5743" fmla="*/ 6218023 w 9586368"/>
                <a:gd name="connsiteY5743" fmla="*/ 2397165 h 6479439"/>
                <a:gd name="connsiteX5744" fmla="*/ 5982729 w 9586368"/>
                <a:gd name="connsiteY5744" fmla="*/ 2393127 h 6479439"/>
                <a:gd name="connsiteX5745" fmla="*/ 5992639 w 9586368"/>
                <a:gd name="connsiteY5745" fmla="*/ 2393127 h 6479439"/>
                <a:gd name="connsiteX5746" fmla="*/ 5996658 w 9586368"/>
                <a:gd name="connsiteY5746" fmla="*/ 2397165 h 6479439"/>
                <a:gd name="connsiteX5747" fmla="*/ 5996658 w 9586368"/>
                <a:gd name="connsiteY5747" fmla="*/ 2407036 h 6479439"/>
                <a:gd name="connsiteX5748" fmla="*/ 5992639 w 9586368"/>
                <a:gd name="connsiteY5748" fmla="*/ 2411074 h 6479439"/>
                <a:gd name="connsiteX5749" fmla="*/ 5982729 w 9586368"/>
                <a:gd name="connsiteY5749" fmla="*/ 2411074 h 6479439"/>
                <a:gd name="connsiteX5750" fmla="*/ 5978710 w 9586368"/>
                <a:gd name="connsiteY5750" fmla="*/ 2407036 h 6479439"/>
                <a:gd name="connsiteX5751" fmla="*/ 5978710 w 9586368"/>
                <a:gd name="connsiteY5751" fmla="*/ 2397165 h 6479439"/>
                <a:gd name="connsiteX5752" fmla="*/ 5743412 w 9586368"/>
                <a:gd name="connsiteY5752" fmla="*/ 2393127 h 6479439"/>
                <a:gd name="connsiteX5753" fmla="*/ 5753323 w 9586368"/>
                <a:gd name="connsiteY5753" fmla="*/ 2393127 h 6479439"/>
                <a:gd name="connsiteX5754" fmla="*/ 5757342 w 9586368"/>
                <a:gd name="connsiteY5754" fmla="*/ 2397165 h 6479439"/>
                <a:gd name="connsiteX5755" fmla="*/ 5757342 w 9586368"/>
                <a:gd name="connsiteY5755" fmla="*/ 2407036 h 6479439"/>
                <a:gd name="connsiteX5756" fmla="*/ 5753323 w 9586368"/>
                <a:gd name="connsiteY5756" fmla="*/ 2411074 h 6479439"/>
                <a:gd name="connsiteX5757" fmla="*/ 5743412 w 9586368"/>
                <a:gd name="connsiteY5757" fmla="*/ 2411074 h 6479439"/>
                <a:gd name="connsiteX5758" fmla="*/ 5739393 w 9586368"/>
                <a:gd name="connsiteY5758" fmla="*/ 2407036 h 6479439"/>
                <a:gd name="connsiteX5759" fmla="*/ 5739393 w 9586368"/>
                <a:gd name="connsiteY5759" fmla="*/ 2397165 h 6479439"/>
                <a:gd name="connsiteX5760" fmla="*/ 5504099 w 9586368"/>
                <a:gd name="connsiteY5760" fmla="*/ 2393127 h 6479439"/>
                <a:gd name="connsiteX5761" fmla="*/ 5514010 w 9586368"/>
                <a:gd name="connsiteY5761" fmla="*/ 2393127 h 6479439"/>
                <a:gd name="connsiteX5762" fmla="*/ 5518029 w 9586368"/>
                <a:gd name="connsiteY5762" fmla="*/ 2397165 h 6479439"/>
                <a:gd name="connsiteX5763" fmla="*/ 5518029 w 9586368"/>
                <a:gd name="connsiteY5763" fmla="*/ 2407036 h 6479439"/>
                <a:gd name="connsiteX5764" fmla="*/ 5514010 w 9586368"/>
                <a:gd name="connsiteY5764" fmla="*/ 2411074 h 6479439"/>
                <a:gd name="connsiteX5765" fmla="*/ 5504099 w 9586368"/>
                <a:gd name="connsiteY5765" fmla="*/ 2411074 h 6479439"/>
                <a:gd name="connsiteX5766" fmla="*/ 5500080 w 9586368"/>
                <a:gd name="connsiteY5766" fmla="*/ 2407036 h 6479439"/>
                <a:gd name="connsiteX5767" fmla="*/ 5500080 w 9586368"/>
                <a:gd name="connsiteY5767" fmla="*/ 2397165 h 6479439"/>
                <a:gd name="connsiteX5768" fmla="*/ 5264784 w 9586368"/>
                <a:gd name="connsiteY5768" fmla="*/ 2393127 h 6479439"/>
                <a:gd name="connsiteX5769" fmla="*/ 5274694 w 9586368"/>
                <a:gd name="connsiteY5769" fmla="*/ 2393127 h 6479439"/>
                <a:gd name="connsiteX5770" fmla="*/ 5278713 w 9586368"/>
                <a:gd name="connsiteY5770" fmla="*/ 2397165 h 6479439"/>
                <a:gd name="connsiteX5771" fmla="*/ 5278713 w 9586368"/>
                <a:gd name="connsiteY5771" fmla="*/ 2407036 h 6479439"/>
                <a:gd name="connsiteX5772" fmla="*/ 5274694 w 9586368"/>
                <a:gd name="connsiteY5772" fmla="*/ 2411074 h 6479439"/>
                <a:gd name="connsiteX5773" fmla="*/ 5264784 w 9586368"/>
                <a:gd name="connsiteY5773" fmla="*/ 2411074 h 6479439"/>
                <a:gd name="connsiteX5774" fmla="*/ 5260765 w 9586368"/>
                <a:gd name="connsiteY5774" fmla="*/ 2407036 h 6479439"/>
                <a:gd name="connsiteX5775" fmla="*/ 5260765 w 9586368"/>
                <a:gd name="connsiteY5775" fmla="*/ 2397165 h 6479439"/>
                <a:gd name="connsiteX5776" fmla="*/ 5025470 w 9586368"/>
                <a:gd name="connsiteY5776" fmla="*/ 2393127 h 6479439"/>
                <a:gd name="connsiteX5777" fmla="*/ 5035381 w 9586368"/>
                <a:gd name="connsiteY5777" fmla="*/ 2393127 h 6479439"/>
                <a:gd name="connsiteX5778" fmla="*/ 5039400 w 9586368"/>
                <a:gd name="connsiteY5778" fmla="*/ 2397165 h 6479439"/>
                <a:gd name="connsiteX5779" fmla="*/ 5039400 w 9586368"/>
                <a:gd name="connsiteY5779" fmla="*/ 2407036 h 6479439"/>
                <a:gd name="connsiteX5780" fmla="*/ 5035381 w 9586368"/>
                <a:gd name="connsiteY5780" fmla="*/ 2411074 h 6479439"/>
                <a:gd name="connsiteX5781" fmla="*/ 5025470 w 9586368"/>
                <a:gd name="connsiteY5781" fmla="*/ 2411074 h 6479439"/>
                <a:gd name="connsiteX5782" fmla="*/ 5021451 w 9586368"/>
                <a:gd name="connsiteY5782" fmla="*/ 2407036 h 6479439"/>
                <a:gd name="connsiteX5783" fmla="*/ 5021451 w 9586368"/>
                <a:gd name="connsiteY5783" fmla="*/ 2397165 h 6479439"/>
                <a:gd name="connsiteX5784" fmla="*/ 4786241 w 9586368"/>
                <a:gd name="connsiteY5784" fmla="*/ 2393127 h 6479439"/>
                <a:gd name="connsiteX5785" fmla="*/ 4796152 w 9586368"/>
                <a:gd name="connsiteY5785" fmla="*/ 2393127 h 6479439"/>
                <a:gd name="connsiteX5786" fmla="*/ 4800171 w 9586368"/>
                <a:gd name="connsiteY5786" fmla="*/ 2397165 h 6479439"/>
                <a:gd name="connsiteX5787" fmla="*/ 4800171 w 9586368"/>
                <a:gd name="connsiteY5787" fmla="*/ 2407036 h 6479439"/>
                <a:gd name="connsiteX5788" fmla="*/ 4796152 w 9586368"/>
                <a:gd name="connsiteY5788" fmla="*/ 2411074 h 6479439"/>
                <a:gd name="connsiteX5789" fmla="*/ 4786241 w 9586368"/>
                <a:gd name="connsiteY5789" fmla="*/ 2411074 h 6479439"/>
                <a:gd name="connsiteX5790" fmla="*/ 4782224 w 9586368"/>
                <a:gd name="connsiteY5790" fmla="*/ 2407036 h 6479439"/>
                <a:gd name="connsiteX5791" fmla="*/ 4782224 w 9586368"/>
                <a:gd name="connsiteY5791" fmla="*/ 2397165 h 6479439"/>
                <a:gd name="connsiteX5792" fmla="*/ 4546929 w 9586368"/>
                <a:gd name="connsiteY5792" fmla="*/ 2393127 h 6479439"/>
                <a:gd name="connsiteX5793" fmla="*/ 4556840 w 9586368"/>
                <a:gd name="connsiteY5793" fmla="*/ 2393127 h 6479439"/>
                <a:gd name="connsiteX5794" fmla="*/ 4560859 w 9586368"/>
                <a:gd name="connsiteY5794" fmla="*/ 2397165 h 6479439"/>
                <a:gd name="connsiteX5795" fmla="*/ 4560859 w 9586368"/>
                <a:gd name="connsiteY5795" fmla="*/ 2407036 h 6479439"/>
                <a:gd name="connsiteX5796" fmla="*/ 4556840 w 9586368"/>
                <a:gd name="connsiteY5796" fmla="*/ 2411074 h 6479439"/>
                <a:gd name="connsiteX5797" fmla="*/ 4546929 w 9586368"/>
                <a:gd name="connsiteY5797" fmla="*/ 2411074 h 6479439"/>
                <a:gd name="connsiteX5798" fmla="*/ 4542910 w 9586368"/>
                <a:gd name="connsiteY5798" fmla="*/ 2407036 h 6479439"/>
                <a:gd name="connsiteX5799" fmla="*/ 4542910 w 9586368"/>
                <a:gd name="connsiteY5799" fmla="*/ 2397165 h 6479439"/>
                <a:gd name="connsiteX5800" fmla="*/ 4307612 w 9586368"/>
                <a:gd name="connsiteY5800" fmla="*/ 2393127 h 6479439"/>
                <a:gd name="connsiteX5801" fmla="*/ 4317523 w 9586368"/>
                <a:gd name="connsiteY5801" fmla="*/ 2393127 h 6479439"/>
                <a:gd name="connsiteX5802" fmla="*/ 4321543 w 9586368"/>
                <a:gd name="connsiteY5802" fmla="*/ 2397165 h 6479439"/>
                <a:gd name="connsiteX5803" fmla="*/ 4321543 w 9586368"/>
                <a:gd name="connsiteY5803" fmla="*/ 2407036 h 6479439"/>
                <a:gd name="connsiteX5804" fmla="*/ 4317523 w 9586368"/>
                <a:gd name="connsiteY5804" fmla="*/ 2411074 h 6479439"/>
                <a:gd name="connsiteX5805" fmla="*/ 4307612 w 9586368"/>
                <a:gd name="connsiteY5805" fmla="*/ 2411074 h 6479439"/>
                <a:gd name="connsiteX5806" fmla="*/ 4303595 w 9586368"/>
                <a:gd name="connsiteY5806" fmla="*/ 2407036 h 6479439"/>
                <a:gd name="connsiteX5807" fmla="*/ 4303595 w 9586368"/>
                <a:gd name="connsiteY5807" fmla="*/ 2397165 h 6479439"/>
                <a:gd name="connsiteX5808" fmla="*/ 4068297 w 9586368"/>
                <a:gd name="connsiteY5808" fmla="*/ 2393127 h 6479439"/>
                <a:gd name="connsiteX5809" fmla="*/ 4078210 w 9586368"/>
                <a:gd name="connsiteY5809" fmla="*/ 2393127 h 6479439"/>
                <a:gd name="connsiteX5810" fmla="*/ 4082229 w 9586368"/>
                <a:gd name="connsiteY5810" fmla="*/ 2397165 h 6479439"/>
                <a:gd name="connsiteX5811" fmla="*/ 4082229 w 9586368"/>
                <a:gd name="connsiteY5811" fmla="*/ 2407036 h 6479439"/>
                <a:gd name="connsiteX5812" fmla="*/ 4078210 w 9586368"/>
                <a:gd name="connsiteY5812" fmla="*/ 2411074 h 6479439"/>
                <a:gd name="connsiteX5813" fmla="*/ 4068297 w 9586368"/>
                <a:gd name="connsiteY5813" fmla="*/ 2411074 h 6479439"/>
                <a:gd name="connsiteX5814" fmla="*/ 4064278 w 9586368"/>
                <a:gd name="connsiteY5814" fmla="*/ 2407036 h 6479439"/>
                <a:gd name="connsiteX5815" fmla="*/ 4064278 w 9586368"/>
                <a:gd name="connsiteY5815" fmla="*/ 2397165 h 6479439"/>
                <a:gd name="connsiteX5816" fmla="*/ 3828990 w 9586368"/>
                <a:gd name="connsiteY5816" fmla="*/ 2393127 h 6479439"/>
                <a:gd name="connsiteX5817" fmla="*/ 3838899 w 9586368"/>
                <a:gd name="connsiteY5817" fmla="*/ 2393127 h 6479439"/>
                <a:gd name="connsiteX5818" fmla="*/ 3842917 w 9586368"/>
                <a:gd name="connsiteY5818" fmla="*/ 2397165 h 6479439"/>
                <a:gd name="connsiteX5819" fmla="*/ 3842917 w 9586368"/>
                <a:gd name="connsiteY5819" fmla="*/ 2407036 h 6479439"/>
                <a:gd name="connsiteX5820" fmla="*/ 3838899 w 9586368"/>
                <a:gd name="connsiteY5820" fmla="*/ 2411074 h 6479439"/>
                <a:gd name="connsiteX5821" fmla="*/ 3828990 w 9586368"/>
                <a:gd name="connsiteY5821" fmla="*/ 2411074 h 6479439"/>
                <a:gd name="connsiteX5822" fmla="*/ 3824971 w 9586368"/>
                <a:gd name="connsiteY5822" fmla="*/ 2407036 h 6479439"/>
                <a:gd name="connsiteX5823" fmla="*/ 3824971 w 9586368"/>
                <a:gd name="connsiteY5823" fmla="*/ 2397165 h 6479439"/>
                <a:gd name="connsiteX5824" fmla="*/ 3589676 w 9586368"/>
                <a:gd name="connsiteY5824" fmla="*/ 2393127 h 6479439"/>
                <a:gd name="connsiteX5825" fmla="*/ 3599585 w 9586368"/>
                <a:gd name="connsiteY5825" fmla="*/ 2393127 h 6479439"/>
                <a:gd name="connsiteX5826" fmla="*/ 3603604 w 9586368"/>
                <a:gd name="connsiteY5826" fmla="*/ 2397165 h 6479439"/>
                <a:gd name="connsiteX5827" fmla="*/ 3603604 w 9586368"/>
                <a:gd name="connsiteY5827" fmla="*/ 2407036 h 6479439"/>
                <a:gd name="connsiteX5828" fmla="*/ 3599585 w 9586368"/>
                <a:gd name="connsiteY5828" fmla="*/ 2411074 h 6479439"/>
                <a:gd name="connsiteX5829" fmla="*/ 3589676 w 9586368"/>
                <a:gd name="connsiteY5829" fmla="*/ 2411074 h 6479439"/>
                <a:gd name="connsiteX5830" fmla="*/ 3585657 w 9586368"/>
                <a:gd name="connsiteY5830" fmla="*/ 2407036 h 6479439"/>
                <a:gd name="connsiteX5831" fmla="*/ 3585657 w 9586368"/>
                <a:gd name="connsiteY5831" fmla="*/ 2397165 h 6479439"/>
                <a:gd name="connsiteX5832" fmla="*/ 3350359 w 9586368"/>
                <a:gd name="connsiteY5832" fmla="*/ 2393127 h 6479439"/>
                <a:gd name="connsiteX5833" fmla="*/ 3360268 w 9586368"/>
                <a:gd name="connsiteY5833" fmla="*/ 2393127 h 6479439"/>
                <a:gd name="connsiteX5834" fmla="*/ 3364287 w 9586368"/>
                <a:gd name="connsiteY5834" fmla="*/ 2397165 h 6479439"/>
                <a:gd name="connsiteX5835" fmla="*/ 3364287 w 9586368"/>
                <a:gd name="connsiteY5835" fmla="*/ 2407036 h 6479439"/>
                <a:gd name="connsiteX5836" fmla="*/ 3360268 w 9586368"/>
                <a:gd name="connsiteY5836" fmla="*/ 2411074 h 6479439"/>
                <a:gd name="connsiteX5837" fmla="*/ 3350359 w 9586368"/>
                <a:gd name="connsiteY5837" fmla="*/ 2411074 h 6479439"/>
                <a:gd name="connsiteX5838" fmla="*/ 3346340 w 9586368"/>
                <a:gd name="connsiteY5838" fmla="*/ 2407036 h 6479439"/>
                <a:gd name="connsiteX5839" fmla="*/ 3346340 w 9586368"/>
                <a:gd name="connsiteY5839" fmla="*/ 2397165 h 6479439"/>
                <a:gd name="connsiteX5840" fmla="*/ 3111048 w 9586368"/>
                <a:gd name="connsiteY5840" fmla="*/ 2393127 h 6479439"/>
                <a:gd name="connsiteX5841" fmla="*/ 3120959 w 9586368"/>
                <a:gd name="connsiteY5841" fmla="*/ 2393127 h 6479439"/>
                <a:gd name="connsiteX5842" fmla="*/ 3124977 w 9586368"/>
                <a:gd name="connsiteY5842" fmla="*/ 2397165 h 6479439"/>
                <a:gd name="connsiteX5843" fmla="*/ 3124977 w 9586368"/>
                <a:gd name="connsiteY5843" fmla="*/ 2407036 h 6479439"/>
                <a:gd name="connsiteX5844" fmla="*/ 3120959 w 9586368"/>
                <a:gd name="connsiteY5844" fmla="*/ 2411074 h 6479439"/>
                <a:gd name="connsiteX5845" fmla="*/ 3111048 w 9586368"/>
                <a:gd name="connsiteY5845" fmla="*/ 2411074 h 6479439"/>
                <a:gd name="connsiteX5846" fmla="*/ 3107029 w 9586368"/>
                <a:gd name="connsiteY5846" fmla="*/ 2407036 h 6479439"/>
                <a:gd name="connsiteX5847" fmla="*/ 3107029 w 9586368"/>
                <a:gd name="connsiteY5847" fmla="*/ 2397165 h 6479439"/>
                <a:gd name="connsiteX5848" fmla="*/ 2871737 w 9586368"/>
                <a:gd name="connsiteY5848" fmla="*/ 2393127 h 6479439"/>
                <a:gd name="connsiteX5849" fmla="*/ 2881646 w 9586368"/>
                <a:gd name="connsiteY5849" fmla="*/ 2393127 h 6479439"/>
                <a:gd name="connsiteX5850" fmla="*/ 2885666 w 9586368"/>
                <a:gd name="connsiteY5850" fmla="*/ 2397165 h 6479439"/>
                <a:gd name="connsiteX5851" fmla="*/ 2885666 w 9586368"/>
                <a:gd name="connsiteY5851" fmla="*/ 2407036 h 6479439"/>
                <a:gd name="connsiteX5852" fmla="*/ 2881646 w 9586368"/>
                <a:gd name="connsiteY5852" fmla="*/ 2411074 h 6479439"/>
                <a:gd name="connsiteX5853" fmla="*/ 2871737 w 9586368"/>
                <a:gd name="connsiteY5853" fmla="*/ 2411074 h 6479439"/>
                <a:gd name="connsiteX5854" fmla="*/ 2867717 w 9586368"/>
                <a:gd name="connsiteY5854" fmla="*/ 2407036 h 6479439"/>
                <a:gd name="connsiteX5855" fmla="*/ 2867717 w 9586368"/>
                <a:gd name="connsiteY5855" fmla="*/ 2397165 h 6479439"/>
                <a:gd name="connsiteX5856" fmla="*/ 2632423 w 9586368"/>
                <a:gd name="connsiteY5856" fmla="*/ 2393127 h 6479439"/>
                <a:gd name="connsiteX5857" fmla="*/ 2642334 w 9586368"/>
                <a:gd name="connsiteY5857" fmla="*/ 2393127 h 6479439"/>
                <a:gd name="connsiteX5858" fmla="*/ 2646352 w 9586368"/>
                <a:gd name="connsiteY5858" fmla="*/ 2397165 h 6479439"/>
                <a:gd name="connsiteX5859" fmla="*/ 2646352 w 9586368"/>
                <a:gd name="connsiteY5859" fmla="*/ 2407036 h 6479439"/>
                <a:gd name="connsiteX5860" fmla="*/ 2642334 w 9586368"/>
                <a:gd name="connsiteY5860" fmla="*/ 2411074 h 6479439"/>
                <a:gd name="connsiteX5861" fmla="*/ 2632423 w 9586368"/>
                <a:gd name="connsiteY5861" fmla="*/ 2411074 h 6479439"/>
                <a:gd name="connsiteX5862" fmla="*/ 2628404 w 9586368"/>
                <a:gd name="connsiteY5862" fmla="*/ 2407036 h 6479439"/>
                <a:gd name="connsiteX5863" fmla="*/ 2628404 w 9586368"/>
                <a:gd name="connsiteY5863" fmla="*/ 2397165 h 6479439"/>
                <a:gd name="connsiteX5864" fmla="*/ 2393104 w 9586368"/>
                <a:gd name="connsiteY5864" fmla="*/ 2393127 h 6479439"/>
                <a:gd name="connsiteX5865" fmla="*/ 2403015 w 9586368"/>
                <a:gd name="connsiteY5865" fmla="*/ 2393127 h 6479439"/>
                <a:gd name="connsiteX5866" fmla="*/ 2407034 w 9586368"/>
                <a:gd name="connsiteY5866" fmla="*/ 2397165 h 6479439"/>
                <a:gd name="connsiteX5867" fmla="*/ 2407034 w 9586368"/>
                <a:gd name="connsiteY5867" fmla="*/ 2407036 h 6479439"/>
                <a:gd name="connsiteX5868" fmla="*/ 2403015 w 9586368"/>
                <a:gd name="connsiteY5868" fmla="*/ 2411074 h 6479439"/>
                <a:gd name="connsiteX5869" fmla="*/ 2393104 w 9586368"/>
                <a:gd name="connsiteY5869" fmla="*/ 2411074 h 6479439"/>
                <a:gd name="connsiteX5870" fmla="*/ 2389087 w 9586368"/>
                <a:gd name="connsiteY5870" fmla="*/ 2407036 h 6479439"/>
                <a:gd name="connsiteX5871" fmla="*/ 2389087 w 9586368"/>
                <a:gd name="connsiteY5871" fmla="*/ 2397165 h 6479439"/>
                <a:gd name="connsiteX5872" fmla="*/ 721970 w 9586368"/>
                <a:gd name="connsiteY5872" fmla="*/ 2393127 h 6479439"/>
                <a:gd name="connsiteX5873" fmla="*/ 731881 w 9586368"/>
                <a:gd name="connsiteY5873" fmla="*/ 2393127 h 6479439"/>
                <a:gd name="connsiteX5874" fmla="*/ 735899 w 9586368"/>
                <a:gd name="connsiteY5874" fmla="*/ 2397165 h 6479439"/>
                <a:gd name="connsiteX5875" fmla="*/ 735899 w 9586368"/>
                <a:gd name="connsiteY5875" fmla="*/ 2407036 h 6479439"/>
                <a:gd name="connsiteX5876" fmla="*/ 731881 w 9586368"/>
                <a:gd name="connsiteY5876" fmla="*/ 2411074 h 6479439"/>
                <a:gd name="connsiteX5877" fmla="*/ 721970 w 9586368"/>
                <a:gd name="connsiteY5877" fmla="*/ 2411074 h 6479439"/>
                <a:gd name="connsiteX5878" fmla="*/ 717951 w 9586368"/>
                <a:gd name="connsiteY5878" fmla="*/ 2407036 h 6479439"/>
                <a:gd name="connsiteX5879" fmla="*/ 717951 w 9586368"/>
                <a:gd name="connsiteY5879" fmla="*/ 2397165 h 6479439"/>
                <a:gd name="connsiteX5880" fmla="*/ 482658 w 9586368"/>
                <a:gd name="connsiteY5880" fmla="*/ 2393127 h 6479439"/>
                <a:gd name="connsiteX5881" fmla="*/ 492568 w 9586368"/>
                <a:gd name="connsiteY5881" fmla="*/ 2393127 h 6479439"/>
                <a:gd name="connsiteX5882" fmla="*/ 496588 w 9586368"/>
                <a:gd name="connsiteY5882" fmla="*/ 2397165 h 6479439"/>
                <a:gd name="connsiteX5883" fmla="*/ 496588 w 9586368"/>
                <a:gd name="connsiteY5883" fmla="*/ 2407036 h 6479439"/>
                <a:gd name="connsiteX5884" fmla="*/ 492568 w 9586368"/>
                <a:gd name="connsiteY5884" fmla="*/ 2411074 h 6479439"/>
                <a:gd name="connsiteX5885" fmla="*/ 482658 w 9586368"/>
                <a:gd name="connsiteY5885" fmla="*/ 2411074 h 6479439"/>
                <a:gd name="connsiteX5886" fmla="*/ 478639 w 9586368"/>
                <a:gd name="connsiteY5886" fmla="*/ 2407036 h 6479439"/>
                <a:gd name="connsiteX5887" fmla="*/ 478639 w 9586368"/>
                <a:gd name="connsiteY5887" fmla="*/ 2397165 h 6479439"/>
                <a:gd name="connsiteX5888" fmla="*/ 243344 w 9586368"/>
                <a:gd name="connsiteY5888" fmla="*/ 2393127 h 6479439"/>
                <a:gd name="connsiteX5889" fmla="*/ 253255 w 9586368"/>
                <a:gd name="connsiteY5889" fmla="*/ 2393127 h 6479439"/>
                <a:gd name="connsiteX5890" fmla="*/ 257274 w 9586368"/>
                <a:gd name="connsiteY5890" fmla="*/ 2397165 h 6479439"/>
                <a:gd name="connsiteX5891" fmla="*/ 257274 w 9586368"/>
                <a:gd name="connsiteY5891" fmla="*/ 2407036 h 6479439"/>
                <a:gd name="connsiteX5892" fmla="*/ 253255 w 9586368"/>
                <a:gd name="connsiteY5892" fmla="*/ 2411074 h 6479439"/>
                <a:gd name="connsiteX5893" fmla="*/ 243344 w 9586368"/>
                <a:gd name="connsiteY5893" fmla="*/ 2411074 h 6479439"/>
                <a:gd name="connsiteX5894" fmla="*/ 239325 w 9586368"/>
                <a:gd name="connsiteY5894" fmla="*/ 2407036 h 6479439"/>
                <a:gd name="connsiteX5895" fmla="*/ 239325 w 9586368"/>
                <a:gd name="connsiteY5895" fmla="*/ 2397165 h 6479439"/>
                <a:gd name="connsiteX5896" fmla="*/ 4031 w 9586368"/>
                <a:gd name="connsiteY5896" fmla="*/ 2393127 h 6479439"/>
                <a:gd name="connsiteX5897" fmla="*/ 13941 w 9586368"/>
                <a:gd name="connsiteY5897" fmla="*/ 2393127 h 6479439"/>
                <a:gd name="connsiteX5898" fmla="*/ 17961 w 9586368"/>
                <a:gd name="connsiteY5898" fmla="*/ 2397165 h 6479439"/>
                <a:gd name="connsiteX5899" fmla="*/ 17961 w 9586368"/>
                <a:gd name="connsiteY5899" fmla="*/ 2407036 h 6479439"/>
                <a:gd name="connsiteX5900" fmla="*/ 13941 w 9586368"/>
                <a:gd name="connsiteY5900" fmla="*/ 2411074 h 6479439"/>
                <a:gd name="connsiteX5901" fmla="*/ 4031 w 9586368"/>
                <a:gd name="connsiteY5901" fmla="*/ 2411074 h 6479439"/>
                <a:gd name="connsiteX5902" fmla="*/ 12 w 9586368"/>
                <a:gd name="connsiteY5902" fmla="*/ 2407036 h 6479439"/>
                <a:gd name="connsiteX5903" fmla="*/ 12 w 9586368"/>
                <a:gd name="connsiteY5903" fmla="*/ 2397165 h 6479439"/>
                <a:gd name="connsiteX5904" fmla="*/ 3111048 w 9586368"/>
                <a:gd name="connsiteY5904" fmla="*/ 2153996 h 6479439"/>
                <a:gd name="connsiteX5905" fmla="*/ 3120959 w 9586368"/>
                <a:gd name="connsiteY5905" fmla="*/ 2153996 h 6479439"/>
                <a:gd name="connsiteX5906" fmla="*/ 3124977 w 9586368"/>
                <a:gd name="connsiteY5906" fmla="*/ 2158034 h 6479439"/>
                <a:gd name="connsiteX5907" fmla="*/ 3124977 w 9586368"/>
                <a:gd name="connsiteY5907" fmla="*/ 2167907 h 6479439"/>
                <a:gd name="connsiteX5908" fmla="*/ 3120959 w 9586368"/>
                <a:gd name="connsiteY5908" fmla="*/ 2171946 h 6479439"/>
                <a:gd name="connsiteX5909" fmla="*/ 3111048 w 9586368"/>
                <a:gd name="connsiteY5909" fmla="*/ 2171946 h 6479439"/>
                <a:gd name="connsiteX5910" fmla="*/ 3107029 w 9586368"/>
                <a:gd name="connsiteY5910" fmla="*/ 2167907 h 6479439"/>
                <a:gd name="connsiteX5911" fmla="*/ 3107029 w 9586368"/>
                <a:gd name="connsiteY5911" fmla="*/ 2158034 h 6479439"/>
                <a:gd name="connsiteX5912" fmla="*/ 2871737 w 9586368"/>
                <a:gd name="connsiteY5912" fmla="*/ 2153996 h 6479439"/>
                <a:gd name="connsiteX5913" fmla="*/ 2881646 w 9586368"/>
                <a:gd name="connsiteY5913" fmla="*/ 2153996 h 6479439"/>
                <a:gd name="connsiteX5914" fmla="*/ 2885666 w 9586368"/>
                <a:gd name="connsiteY5914" fmla="*/ 2158034 h 6479439"/>
                <a:gd name="connsiteX5915" fmla="*/ 2885666 w 9586368"/>
                <a:gd name="connsiteY5915" fmla="*/ 2167907 h 6479439"/>
                <a:gd name="connsiteX5916" fmla="*/ 2881646 w 9586368"/>
                <a:gd name="connsiteY5916" fmla="*/ 2171946 h 6479439"/>
                <a:gd name="connsiteX5917" fmla="*/ 2871737 w 9586368"/>
                <a:gd name="connsiteY5917" fmla="*/ 2171946 h 6479439"/>
                <a:gd name="connsiteX5918" fmla="*/ 2867717 w 9586368"/>
                <a:gd name="connsiteY5918" fmla="*/ 2167907 h 6479439"/>
                <a:gd name="connsiteX5919" fmla="*/ 2867717 w 9586368"/>
                <a:gd name="connsiteY5919" fmla="*/ 2158034 h 6479439"/>
                <a:gd name="connsiteX5920" fmla="*/ 2632423 w 9586368"/>
                <a:gd name="connsiteY5920" fmla="*/ 2153996 h 6479439"/>
                <a:gd name="connsiteX5921" fmla="*/ 2642334 w 9586368"/>
                <a:gd name="connsiteY5921" fmla="*/ 2153996 h 6479439"/>
                <a:gd name="connsiteX5922" fmla="*/ 2646352 w 9586368"/>
                <a:gd name="connsiteY5922" fmla="*/ 2158034 h 6479439"/>
                <a:gd name="connsiteX5923" fmla="*/ 2646352 w 9586368"/>
                <a:gd name="connsiteY5923" fmla="*/ 2167907 h 6479439"/>
                <a:gd name="connsiteX5924" fmla="*/ 2642334 w 9586368"/>
                <a:gd name="connsiteY5924" fmla="*/ 2171947 h 6479439"/>
                <a:gd name="connsiteX5925" fmla="*/ 2632423 w 9586368"/>
                <a:gd name="connsiteY5925" fmla="*/ 2171947 h 6479439"/>
                <a:gd name="connsiteX5926" fmla="*/ 2628404 w 9586368"/>
                <a:gd name="connsiteY5926" fmla="*/ 2167907 h 6479439"/>
                <a:gd name="connsiteX5927" fmla="*/ 2628404 w 9586368"/>
                <a:gd name="connsiteY5927" fmla="*/ 2158034 h 6479439"/>
                <a:gd name="connsiteX5928" fmla="*/ 2393104 w 9586368"/>
                <a:gd name="connsiteY5928" fmla="*/ 2153996 h 6479439"/>
                <a:gd name="connsiteX5929" fmla="*/ 2403015 w 9586368"/>
                <a:gd name="connsiteY5929" fmla="*/ 2153996 h 6479439"/>
                <a:gd name="connsiteX5930" fmla="*/ 2407034 w 9586368"/>
                <a:gd name="connsiteY5930" fmla="*/ 2158034 h 6479439"/>
                <a:gd name="connsiteX5931" fmla="*/ 2407034 w 9586368"/>
                <a:gd name="connsiteY5931" fmla="*/ 2167907 h 6479439"/>
                <a:gd name="connsiteX5932" fmla="*/ 2403015 w 9586368"/>
                <a:gd name="connsiteY5932" fmla="*/ 2171947 h 6479439"/>
                <a:gd name="connsiteX5933" fmla="*/ 2393104 w 9586368"/>
                <a:gd name="connsiteY5933" fmla="*/ 2171947 h 6479439"/>
                <a:gd name="connsiteX5934" fmla="*/ 2389087 w 9586368"/>
                <a:gd name="connsiteY5934" fmla="*/ 2167907 h 6479439"/>
                <a:gd name="connsiteX5935" fmla="*/ 2389087 w 9586368"/>
                <a:gd name="connsiteY5935" fmla="*/ 2158034 h 6479439"/>
                <a:gd name="connsiteX5936" fmla="*/ 3350359 w 9586368"/>
                <a:gd name="connsiteY5936" fmla="*/ 2153995 h 6479439"/>
                <a:gd name="connsiteX5937" fmla="*/ 3360268 w 9586368"/>
                <a:gd name="connsiteY5937" fmla="*/ 2153995 h 6479439"/>
                <a:gd name="connsiteX5938" fmla="*/ 3364287 w 9586368"/>
                <a:gd name="connsiteY5938" fmla="*/ 2158034 h 6479439"/>
                <a:gd name="connsiteX5939" fmla="*/ 3364287 w 9586368"/>
                <a:gd name="connsiteY5939" fmla="*/ 2167907 h 6479439"/>
                <a:gd name="connsiteX5940" fmla="*/ 3360268 w 9586368"/>
                <a:gd name="connsiteY5940" fmla="*/ 2171946 h 6479439"/>
                <a:gd name="connsiteX5941" fmla="*/ 3350359 w 9586368"/>
                <a:gd name="connsiteY5941" fmla="*/ 2171946 h 6479439"/>
                <a:gd name="connsiteX5942" fmla="*/ 3346340 w 9586368"/>
                <a:gd name="connsiteY5942" fmla="*/ 2167907 h 6479439"/>
                <a:gd name="connsiteX5943" fmla="*/ 3346340 w 9586368"/>
                <a:gd name="connsiteY5943" fmla="*/ 2158034 h 6479439"/>
                <a:gd name="connsiteX5944" fmla="*/ 4546929 w 9586368"/>
                <a:gd name="connsiteY5944" fmla="*/ 2153976 h 6479439"/>
                <a:gd name="connsiteX5945" fmla="*/ 4556840 w 9586368"/>
                <a:gd name="connsiteY5945" fmla="*/ 2153976 h 6479439"/>
                <a:gd name="connsiteX5946" fmla="*/ 4560859 w 9586368"/>
                <a:gd name="connsiteY5946" fmla="*/ 2158014 h 6479439"/>
                <a:gd name="connsiteX5947" fmla="*/ 4560859 w 9586368"/>
                <a:gd name="connsiteY5947" fmla="*/ 2167886 h 6479439"/>
                <a:gd name="connsiteX5948" fmla="*/ 4556840 w 9586368"/>
                <a:gd name="connsiteY5948" fmla="*/ 2171926 h 6479439"/>
                <a:gd name="connsiteX5949" fmla="*/ 4546929 w 9586368"/>
                <a:gd name="connsiteY5949" fmla="*/ 2171926 h 6479439"/>
                <a:gd name="connsiteX5950" fmla="*/ 4542910 w 9586368"/>
                <a:gd name="connsiteY5950" fmla="*/ 2167886 h 6479439"/>
                <a:gd name="connsiteX5951" fmla="*/ 4542910 w 9586368"/>
                <a:gd name="connsiteY5951" fmla="*/ 2158014 h 6479439"/>
                <a:gd name="connsiteX5952" fmla="*/ 4307612 w 9586368"/>
                <a:gd name="connsiteY5952" fmla="*/ 2153976 h 6479439"/>
                <a:gd name="connsiteX5953" fmla="*/ 4317523 w 9586368"/>
                <a:gd name="connsiteY5953" fmla="*/ 2153976 h 6479439"/>
                <a:gd name="connsiteX5954" fmla="*/ 4321543 w 9586368"/>
                <a:gd name="connsiteY5954" fmla="*/ 2158014 h 6479439"/>
                <a:gd name="connsiteX5955" fmla="*/ 4321543 w 9586368"/>
                <a:gd name="connsiteY5955" fmla="*/ 2167887 h 6479439"/>
                <a:gd name="connsiteX5956" fmla="*/ 4317523 w 9586368"/>
                <a:gd name="connsiteY5956" fmla="*/ 2171926 h 6479439"/>
                <a:gd name="connsiteX5957" fmla="*/ 4307612 w 9586368"/>
                <a:gd name="connsiteY5957" fmla="*/ 2171926 h 6479439"/>
                <a:gd name="connsiteX5958" fmla="*/ 4303595 w 9586368"/>
                <a:gd name="connsiteY5958" fmla="*/ 2167887 h 6479439"/>
                <a:gd name="connsiteX5959" fmla="*/ 4303595 w 9586368"/>
                <a:gd name="connsiteY5959" fmla="*/ 2158014 h 6479439"/>
                <a:gd name="connsiteX5960" fmla="*/ 4068297 w 9586368"/>
                <a:gd name="connsiteY5960" fmla="*/ 2153976 h 6479439"/>
                <a:gd name="connsiteX5961" fmla="*/ 4078210 w 9586368"/>
                <a:gd name="connsiteY5961" fmla="*/ 2153976 h 6479439"/>
                <a:gd name="connsiteX5962" fmla="*/ 4082229 w 9586368"/>
                <a:gd name="connsiteY5962" fmla="*/ 2158014 h 6479439"/>
                <a:gd name="connsiteX5963" fmla="*/ 4082229 w 9586368"/>
                <a:gd name="connsiteY5963" fmla="*/ 2167887 h 6479439"/>
                <a:gd name="connsiteX5964" fmla="*/ 4078210 w 9586368"/>
                <a:gd name="connsiteY5964" fmla="*/ 2171926 h 6479439"/>
                <a:gd name="connsiteX5965" fmla="*/ 4068297 w 9586368"/>
                <a:gd name="connsiteY5965" fmla="*/ 2171926 h 6479439"/>
                <a:gd name="connsiteX5966" fmla="*/ 4064278 w 9586368"/>
                <a:gd name="connsiteY5966" fmla="*/ 2167887 h 6479439"/>
                <a:gd name="connsiteX5967" fmla="*/ 4064278 w 9586368"/>
                <a:gd name="connsiteY5967" fmla="*/ 2158014 h 6479439"/>
                <a:gd name="connsiteX5968" fmla="*/ 3828990 w 9586368"/>
                <a:gd name="connsiteY5968" fmla="*/ 2153976 h 6479439"/>
                <a:gd name="connsiteX5969" fmla="*/ 3838899 w 9586368"/>
                <a:gd name="connsiteY5969" fmla="*/ 2153976 h 6479439"/>
                <a:gd name="connsiteX5970" fmla="*/ 3842917 w 9586368"/>
                <a:gd name="connsiteY5970" fmla="*/ 2158014 h 6479439"/>
                <a:gd name="connsiteX5971" fmla="*/ 3842917 w 9586368"/>
                <a:gd name="connsiteY5971" fmla="*/ 2167887 h 6479439"/>
                <a:gd name="connsiteX5972" fmla="*/ 3838899 w 9586368"/>
                <a:gd name="connsiteY5972" fmla="*/ 2171926 h 6479439"/>
                <a:gd name="connsiteX5973" fmla="*/ 3828990 w 9586368"/>
                <a:gd name="connsiteY5973" fmla="*/ 2171926 h 6479439"/>
                <a:gd name="connsiteX5974" fmla="*/ 3824971 w 9586368"/>
                <a:gd name="connsiteY5974" fmla="*/ 2167887 h 6479439"/>
                <a:gd name="connsiteX5975" fmla="*/ 3824971 w 9586368"/>
                <a:gd name="connsiteY5975" fmla="*/ 2158014 h 6479439"/>
                <a:gd name="connsiteX5976" fmla="*/ 3589676 w 9586368"/>
                <a:gd name="connsiteY5976" fmla="*/ 2153976 h 6479439"/>
                <a:gd name="connsiteX5977" fmla="*/ 3599585 w 9586368"/>
                <a:gd name="connsiteY5977" fmla="*/ 2153976 h 6479439"/>
                <a:gd name="connsiteX5978" fmla="*/ 3603604 w 9586368"/>
                <a:gd name="connsiteY5978" fmla="*/ 2158014 h 6479439"/>
                <a:gd name="connsiteX5979" fmla="*/ 3603604 w 9586368"/>
                <a:gd name="connsiteY5979" fmla="*/ 2167887 h 6479439"/>
                <a:gd name="connsiteX5980" fmla="*/ 3599585 w 9586368"/>
                <a:gd name="connsiteY5980" fmla="*/ 2171926 h 6479439"/>
                <a:gd name="connsiteX5981" fmla="*/ 3589676 w 9586368"/>
                <a:gd name="connsiteY5981" fmla="*/ 2171926 h 6479439"/>
                <a:gd name="connsiteX5982" fmla="*/ 3585657 w 9586368"/>
                <a:gd name="connsiteY5982" fmla="*/ 2167887 h 6479439"/>
                <a:gd name="connsiteX5983" fmla="*/ 3585657 w 9586368"/>
                <a:gd name="connsiteY5983" fmla="*/ 2158014 h 6479439"/>
                <a:gd name="connsiteX5984" fmla="*/ 5504099 w 9586368"/>
                <a:gd name="connsiteY5984" fmla="*/ 2153956 h 6479439"/>
                <a:gd name="connsiteX5985" fmla="*/ 5514010 w 9586368"/>
                <a:gd name="connsiteY5985" fmla="*/ 2153956 h 6479439"/>
                <a:gd name="connsiteX5986" fmla="*/ 5518029 w 9586368"/>
                <a:gd name="connsiteY5986" fmla="*/ 2157994 h 6479439"/>
                <a:gd name="connsiteX5987" fmla="*/ 5518029 w 9586368"/>
                <a:gd name="connsiteY5987" fmla="*/ 2167867 h 6479439"/>
                <a:gd name="connsiteX5988" fmla="*/ 5514010 w 9586368"/>
                <a:gd name="connsiteY5988" fmla="*/ 2171905 h 6479439"/>
                <a:gd name="connsiteX5989" fmla="*/ 5504099 w 9586368"/>
                <a:gd name="connsiteY5989" fmla="*/ 2171905 h 6479439"/>
                <a:gd name="connsiteX5990" fmla="*/ 5500080 w 9586368"/>
                <a:gd name="connsiteY5990" fmla="*/ 2167867 h 6479439"/>
                <a:gd name="connsiteX5991" fmla="*/ 5500080 w 9586368"/>
                <a:gd name="connsiteY5991" fmla="*/ 2157994 h 6479439"/>
                <a:gd name="connsiteX5992" fmla="*/ 5264784 w 9586368"/>
                <a:gd name="connsiteY5992" fmla="*/ 2153956 h 6479439"/>
                <a:gd name="connsiteX5993" fmla="*/ 5274694 w 9586368"/>
                <a:gd name="connsiteY5993" fmla="*/ 2153956 h 6479439"/>
                <a:gd name="connsiteX5994" fmla="*/ 5278713 w 9586368"/>
                <a:gd name="connsiteY5994" fmla="*/ 2157994 h 6479439"/>
                <a:gd name="connsiteX5995" fmla="*/ 5278713 w 9586368"/>
                <a:gd name="connsiteY5995" fmla="*/ 2167867 h 6479439"/>
                <a:gd name="connsiteX5996" fmla="*/ 5274694 w 9586368"/>
                <a:gd name="connsiteY5996" fmla="*/ 2171905 h 6479439"/>
                <a:gd name="connsiteX5997" fmla="*/ 5264784 w 9586368"/>
                <a:gd name="connsiteY5997" fmla="*/ 2171905 h 6479439"/>
                <a:gd name="connsiteX5998" fmla="*/ 5260765 w 9586368"/>
                <a:gd name="connsiteY5998" fmla="*/ 2167867 h 6479439"/>
                <a:gd name="connsiteX5999" fmla="*/ 5260765 w 9586368"/>
                <a:gd name="connsiteY5999" fmla="*/ 2157994 h 6479439"/>
                <a:gd name="connsiteX6000" fmla="*/ 5025470 w 9586368"/>
                <a:gd name="connsiteY6000" fmla="*/ 2153956 h 6479439"/>
                <a:gd name="connsiteX6001" fmla="*/ 5035381 w 9586368"/>
                <a:gd name="connsiteY6001" fmla="*/ 2153956 h 6479439"/>
                <a:gd name="connsiteX6002" fmla="*/ 5039400 w 9586368"/>
                <a:gd name="connsiteY6002" fmla="*/ 2157994 h 6479439"/>
                <a:gd name="connsiteX6003" fmla="*/ 5039400 w 9586368"/>
                <a:gd name="connsiteY6003" fmla="*/ 2167867 h 6479439"/>
                <a:gd name="connsiteX6004" fmla="*/ 5035381 w 9586368"/>
                <a:gd name="connsiteY6004" fmla="*/ 2171906 h 6479439"/>
                <a:gd name="connsiteX6005" fmla="*/ 5025470 w 9586368"/>
                <a:gd name="connsiteY6005" fmla="*/ 2171906 h 6479439"/>
                <a:gd name="connsiteX6006" fmla="*/ 5021451 w 9586368"/>
                <a:gd name="connsiteY6006" fmla="*/ 2167867 h 6479439"/>
                <a:gd name="connsiteX6007" fmla="*/ 5021451 w 9586368"/>
                <a:gd name="connsiteY6007" fmla="*/ 2157994 h 6479439"/>
                <a:gd name="connsiteX6008" fmla="*/ 4786241 w 9586368"/>
                <a:gd name="connsiteY6008" fmla="*/ 2153956 h 6479439"/>
                <a:gd name="connsiteX6009" fmla="*/ 4796152 w 9586368"/>
                <a:gd name="connsiteY6009" fmla="*/ 2153956 h 6479439"/>
                <a:gd name="connsiteX6010" fmla="*/ 4800171 w 9586368"/>
                <a:gd name="connsiteY6010" fmla="*/ 2157994 h 6479439"/>
                <a:gd name="connsiteX6011" fmla="*/ 4800171 w 9586368"/>
                <a:gd name="connsiteY6011" fmla="*/ 2167867 h 6479439"/>
                <a:gd name="connsiteX6012" fmla="*/ 4796152 w 9586368"/>
                <a:gd name="connsiteY6012" fmla="*/ 2171906 h 6479439"/>
                <a:gd name="connsiteX6013" fmla="*/ 4786241 w 9586368"/>
                <a:gd name="connsiteY6013" fmla="*/ 2171906 h 6479439"/>
                <a:gd name="connsiteX6014" fmla="*/ 4782224 w 9586368"/>
                <a:gd name="connsiteY6014" fmla="*/ 2167867 h 6479439"/>
                <a:gd name="connsiteX6015" fmla="*/ 4782224 w 9586368"/>
                <a:gd name="connsiteY6015" fmla="*/ 2157994 h 6479439"/>
                <a:gd name="connsiteX6016" fmla="*/ 5743412 w 9586368"/>
                <a:gd name="connsiteY6016" fmla="*/ 2153955 h 6479439"/>
                <a:gd name="connsiteX6017" fmla="*/ 5753323 w 9586368"/>
                <a:gd name="connsiteY6017" fmla="*/ 2153955 h 6479439"/>
                <a:gd name="connsiteX6018" fmla="*/ 5757342 w 9586368"/>
                <a:gd name="connsiteY6018" fmla="*/ 2157994 h 6479439"/>
                <a:gd name="connsiteX6019" fmla="*/ 5757342 w 9586368"/>
                <a:gd name="connsiteY6019" fmla="*/ 2167866 h 6479439"/>
                <a:gd name="connsiteX6020" fmla="*/ 5753323 w 9586368"/>
                <a:gd name="connsiteY6020" fmla="*/ 2171905 h 6479439"/>
                <a:gd name="connsiteX6021" fmla="*/ 5743412 w 9586368"/>
                <a:gd name="connsiteY6021" fmla="*/ 2171905 h 6479439"/>
                <a:gd name="connsiteX6022" fmla="*/ 5739393 w 9586368"/>
                <a:gd name="connsiteY6022" fmla="*/ 2167866 h 6479439"/>
                <a:gd name="connsiteX6023" fmla="*/ 5739393 w 9586368"/>
                <a:gd name="connsiteY6023" fmla="*/ 2157994 h 6479439"/>
                <a:gd name="connsiteX6024" fmla="*/ 6222042 w 9586368"/>
                <a:gd name="connsiteY6024" fmla="*/ 2153936 h 6479439"/>
                <a:gd name="connsiteX6025" fmla="*/ 6231952 w 9586368"/>
                <a:gd name="connsiteY6025" fmla="*/ 2153936 h 6479439"/>
                <a:gd name="connsiteX6026" fmla="*/ 6235971 w 9586368"/>
                <a:gd name="connsiteY6026" fmla="*/ 2157974 h 6479439"/>
                <a:gd name="connsiteX6027" fmla="*/ 6235971 w 9586368"/>
                <a:gd name="connsiteY6027" fmla="*/ 2167846 h 6479439"/>
                <a:gd name="connsiteX6028" fmla="*/ 6231952 w 9586368"/>
                <a:gd name="connsiteY6028" fmla="*/ 2171885 h 6479439"/>
                <a:gd name="connsiteX6029" fmla="*/ 6222042 w 9586368"/>
                <a:gd name="connsiteY6029" fmla="*/ 2171885 h 6479439"/>
                <a:gd name="connsiteX6030" fmla="*/ 6218023 w 9586368"/>
                <a:gd name="connsiteY6030" fmla="*/ 2167846 h 6479439"/>
                <a:gd name="connsiteX6031" fmla="*/ 6218023 w 9586368"/>
                <a:gd name="connsiteY6031" fmla="*/ 2157974 h 6479439"/>
                <a:gd name="connsiteX6032" fmla="*/ 5982729 w 9586368"/>
                <a:gd name="connsiteY6032" fmla="*/ 2153936 h 6479439"/>
                <a:gd name="connsiteX6033" fmla="*/ 5992639 w 9586368"/>
                <a:gd name="connsiteY6033" fmla="*/ 2153936 h 6479439"/>
                <a:gd name="connsiteX6034" fmla="*/ 5996658 w 9586368"/>
                <a:gd name="connsiteY6034" fmla="*/ 2157974 h 6479439"/>
                <a:gd name="connsiteX6035" fmla="*/ 5996658 w 9586368"/>
                <a:gd name="connsiteY6035" fmla="*/ 2167846 h 6479439"/>
                <a:gd name="connsiteX6036" fmla="*/ 5992639 w 9586368"/>
                <a:gd name="connsiteY6036" fmla="*/ 2171885 h 6479439"/>
                <a:gd name="connsiteX6037" fmla="*/ 5982729 w 9586368"/>
                <a:gd name="connsiteY6037" fmla="*/ 2171885 h 6479439"/>
                <a:gd name="connsiteX6038" fmla="*/ 5978710 w 9586368"/>
                <a:gd name="connsiteY6038" fmla="*/ 2167846 h 6479439"/>
                <a:gd name="connsiteX6039" fmla="*/ 5978710 w 9586368"/>
                <a:gd name="connsiteY6039" fmla="*/ 2157974 h 6479439"/>
                <a:gd name="connsiteX6040" fmla="*/ 6939983 w 9586368"/>
                <a:gd name="connsiteY6040" fmla="*/ 2153935 h 6479439"/>
                <a:gd name="connsiteX6041" fmla="*/ 6949894 w 9586368"/>
                <a:gd name="connsiteY6041" fmla="*/ 2153935 h 6479439"/>
                <a:gd name="connsiteX6042" fmla="*/ 6953913 w 9586368"/>
                <a:gd name="connsiteY6042" fmla="*/ 2157974 h 6479439"/>
                <a:gd name="connsiteX6043" fmla="*/ 6953913 w 9586368"/>
                <a:gd name="connsiteY6043" fmla="*/ 2167845 h 6479439"/>
                <a:gd name="connsiteX6044" fmla="*/ 6949894 w 9586368"/>
                <a:gd name="connsiteY6044" fmla="*/ 2171885 h 6479439"/>
                <a:gd name="connsiteX6045" fmla="*/ 6939983 w 9586368"/>
                <a:gd name="connsiteY6045" fmla="*/ 2171885 h 6479439"/>
                <a:gd name="connsiteX6046" fmla="*/ 6935964 w 9586368"/>
                <a:gd name="connsiteY6046" fmla="*/ 2167845 h 6479439"/>
                <a:gd name="connsiteX6047" fmla="*/ 6935964 w 9586368"/>
                <a:gd name="connsiteY6047" fmla="*/ 2157974 h 6479439"/>
                <a:gd name="connsiteX6048" fmla="*/ 6700670 w 9586368"/>
                <a:gd name="connsiteY6048" fmla="*/ 2153935 h 6479439"/>
                <a:gd name="connsiteX6049" fmla="*/ 6710581 w 9586368"/>
                <a:gd name="connsiteY6049" fmla="*/ 2153935 h 6479439"/>
                <a:gd name="connsiteX6050" fmla="*/ 6714600 w 9586368"/>
                <a:gd name="connsiteY6050" fmla="*/ 2157974 h 6479439"/>
                <a:gd name="connsiteX6051" fmla="*/ 6714600 w 9586368"/>
                <a:gd name="connsiteY6051" fmla="*/ 2167846 h 6479439"/>
                <a:gd name="connsiteX6052" fmla="*/ 6710581 w 9586368"/>
                <a:gd name="connsiteY6052" fmla="*/ 2171885 h 6479439"/>
                <a:gd name="connsiteX6053" fmla="*/ 6700670 w 9586368"/>
                <a:gd name="connsiteY6053" fmla="*/ 2171885 h 6479439"/>
                <a:gd name="connsiteX6054" fmla="*/ 6696651 w 9586368"/>
                <a:gd name="connsiteY6054" fmla="*/ 2167846 h 6479439"/>
                <a:gd name="connsiteX6055" fmla="*/ 6696651 w 9586368"/>
                <a:gd name="connsiteY6055" fmla="*/ 2157974 h 6479439"/>
                <a:gd name="connsiteX6056" fmla="*/ 6461356 w 9586368"/>
                <a:gd name="connsiteY6056" fmla="*/ 2153935 h 6479439"/>
                <a:gd name="connsiteX6057" fmla="*/ 6471266 w 9586368"/>
                <a:gd name="connsiteY6057" fmla="*/ 2153935 h 6479439"/>
                <a:gd name="connsiteX6058" fmla="*/ 6475285 w 9586368"/>
                <a:gd name="connsiteY6058" fmla="*/ 2157974 h 6479439"/>
                <a:gd name="connsiteX6059" fmla="*/ 6475285 w 9586368"/>
                <a:gd name="connsiteY6059" fmla="*/ 2167846 h 6479439"/>
                <a:gd name="connsiteX6060" fmla="*/ 6471266 w 9586368"/>
                <a:gd name="connsiteY6060" fmla="*/ 2171885 h 6479439"/>
                <a:gd name="connsiteX6061" fmla="*/ 6461356 w 9586368"/>
                <a:gd name="connsiteY6061" fmla="*/ 2171885 h 6479439"/>
                <a:gd name="connsiteX6062" fmla="*/ 6457337 w 9586368"/>
                <a:gd name="connsiteY6062" fmla="*/ 2167846 h 6479439"/>
                <a:gd name="connsiteX6063" fmla="*/ 6457337 w 9586368"/>
                <a:gd name="connsiteY6063" fmla="*/ 2157974 h 6479439"/>
                <a:gd name="connsiteX6064" fmla="*/ 7418611 w 9586368"/>
                <a:gd name="connsiteY6064" fmla="*/ 2153916 h 6479439"/>
                <a:gd name="connsiteX6065" fmla="*/ 7428521 w 9586368"/>
                <a:gd name="connsiteY6065" fmla="*/ 2153916 h 6479439"/>
                <a:gd name="connsiteX6066" fmla="*/ 7432540 w 9586368"/>
                <a:gd name="connsiteY6066" fmla="*/ 2157955 h 6479439"/>
                <a:gd name="connsiteX6067" fmla="*/ 7432540 w 9586368"/>
                <a:gd name="connsiteY6067" fmla="*/ 2167826 h 6479439"/>
                <a:gd name="connsiteX6068" fmla="*/ 7428521 w 9586368"/>
                <a:gd name="connsiteY6068" fmla="*/ 2171865 h 6479439"/>
                <a:gd name="connsiteX6069" fmla="*/ 7418611 w 9586368"/>
                <a:gd name="connsiteY6069" fmla="*/ 2171865 h 6479439"/>
                <a:gd name="connsiteX6070" fmla="*/ 7414592 w 9586368"/>
                <a:gd name="connsiteY6070" fmla="*/ 2167826 h 6479439"/>
                <a:gd name="connsiteX6071" fmla="*/ 7414592 w 9586368"/>
                <a:gd name="connsiteY6071" fmla="*/ 2157955 h 6479439"/>
                <a:gd name="connsiteX6072" fmla="*/ 7179298 w 9586368"/>
                <a:gd name="connsiteY6072" fmla="*/ 2153916 h 6479439"/>
                <a:gd name="connsiteX6073" fmla="*/ 7189209 w 9586368"/>
                <a:gd name="connsiteY6073" fmla="*/ 2153916 h 6479439"/>
                <a:gd name="connsiteX6074" fmla="*/ 7193228 w 9586368"/>
                <a:gd name="connsiteY6074" fmla="*/ 2157955 h 6479439"/>
                <a:gd name="connsiteX6075" fmla="*/ 7193228 w 9586368"/>
                <a:gd name="connsiteY6075" fmla="*/ 2167826 h 6479439"/>
                <a:gd name="connsiteX6076" fmla="*/ 7189209 w 9586368"/>
                <a:gd name="connsiteY6076" fmla="*/ 2171865 h 6479439"/>
                <a:gd name="connsiteX6077" fmla="*/ 7179298 w 9586368"/>
                <a:gd name="connsiteY6077" fmla="*/ 2171865 h 6479439"/>
                <a:gd name="connsiteX6078" fmla="*/ 7175279 w 9586368"/>
                <a:gd name="connsiteY6078" fmla="*/ 2167826 h 6479439"/>
                <a:gd name="connsiteX6079" fmla="*/ 7175279 w 9586368"/>
                <a:gd name="connsiteY6079" fmla="*/ 2157955 h 6479439"/>
                <a:gd name="connsiteX6080" fmla="*/ 8136553 w 9586368"/>
                <a:gd name="connsiteY6080" fmla="*/ 2153915 h 6479439"/>
                <a:gd name="connsiteX6081" fmla="*/ 8146464 w 9586368"/>
                <a:gd name="connsiteY6081" fmla="*/ 2153915 h 6479439"/>
                <a:gd name="connsiteX6082" fmla="*/ 8150483 w 9586368"/>
                <a:gd name="connsiteY6082" fmla="*/ 2157955 h 6479439"/>
                <a:gd name="connsiteX6083" fmla="*/ 8150483 w 9586368"/>
                <a:gd name="connsiteY6083" fmla="*/ 2167825 h 6479439"/>
                <a:gd name="connsiteX6084" fmla="*/ 8146464 w 9586368"/>
                <a:gd name="connsiteY6084" fmla="*/ 2171864 h 6479439"/>
                <a:gd name="connsiteX6085" fmla="*/ 8136553 w 9586368"/>
                <a:gd name="connsiteY6085" fmla="*/ 2171864 h 6479439"/>
                <a:gd name="connsiteX6086" fmla="*/ 8132534 w 9586368"/>
                <a:gd name="connsiteY6086" fmla="*/ 2167825 h 6479439"/>
                <a:gd name="connsiteX6087" fmla="*/ 8132534 w 9586368"/>
                <a:gd name="connsiteY6087" fmla="*/ 2157955 h 6479439"/>
                <a:gd name="connsiteX6088" fmla="*/ 7897241 w 9586368"/>
                <a:gd name="connsiteY6088" fmla="*/ 2153915 h 6479439"/>
                <a:gd name="connsiteX6089" fmla="*/ 7907151 w 9586368"/>
                <a:gd name="connsiteY6089" fmla="*/ 2153915 h 6479439"/>
                <a:gd name="connsiteX6090" fmla="*/ 7911170 w 9586368"/>
                <a:gd name="connsiteY6090" fmla="*/ 2157955 h 6479439"/>
                <a:gd name="connsiteX6091" fmla="*/ 7911170 w 9586368"/>
                <a:gd name="connsiteY6091" fmla="*/ 2167826 h 6479439"/>
                <a:gd name="connsiteX6092" fmla="*/ 7907151 w 9586368"/>
                <a:gd name="connsiteY6092" fmla="*/ 2171864 h 6479439"/>
                <a:gd name="connsiteX6093" fmla="*/ 7897241 w 9586368"/>
                <a:gd name="connsiteY6093" fmla="*/ 2171864 h 6479439"/>
                <a:gd name="connsiteX6094" fmla="*/ 7893222 w 9586368"/>
                <a:gd name="connsiteY6094" fmla="*/ 2167826 h 6479439"/>
                <a:gd name="connsiteX6095" fmla="*/ 7893222 w 9586368"/>
                <a:gd name="connsiteY6095" fmla="*/ 2157955 h 6479439"/>
                <a:gd name="connsiteX6096" fmla="*/ 7657926 w 9586368"/>
                <a:gd name="connsiteY6096" fmla="*/ 2153915 h 6479439"/>
                <a:gd name="connsiteX6097" fmla="*/ 7667836 w 9586368"/>
                <a:gd name="connsiteY6097" fmla="*/ 2153915 h 6479439"/>
                <a:gd name="connsiteX6098" fmla="*/ 7671855 w 9586368"/>
                <a:gd name="connsiteY6098" fmla="*/ 2157955 h 6479439"/>
                <a:gd name="connsiteX6099" fmla="*/ 7671855 w 9586368"/>
                <a:gd name="connsiteY6099" fmla="*/ 2167826 h 6479439"/>
                <a:gd name="connsiteX6100" fmla="*/ 7667836 w 9586368"/>
                <a:gd name="connsiteY6100" fmla="*/ 2171864 h 6479439"/>
                <a:gd name="connsiteX6101" fmla="*/ 7657926 w 9586368"/>
                <a:gd name="connsiteY6101" fmla="*/ 2171864 h 6479439"/>
                <a:gd name="connsiteX6102" fmla="*/ 7653906 w 9586368"/>
                <a:gd name="connsiteY6102" fmla="*/ 2167826 h 6479439"/>
                <a:gd name="connsiteX6103" fmla="*/ 7653906 w 9586368"/>
                <a:gd name="connsiteY6103" fmla="*/ 2157955 h 6479439"/>
                <a:gd name="connsiteX6104" fmla="*/ 8615184 w 9586368"/>
                <a:gd name="connsiteY6104" fmla="*/ 2153896 h 6479439"/>
                <a:gd name="connsiteX6105" fmla="*/ 8625095 w 9586368"/>
                <a:gd name="connsiteY6105" fmla="*/ 2153896 h 6479439"/>
                <a:gd name="connsiteX6106" fmla="*/ 8629114 w 9586368"/>
                <a:gd name="connsiteY6106" fmla="*/ 2157935 h 6479439"/>
                <a:gd name="connsiteX6107" fmla="*/ 8629114 w 9586368"/>
                <a:gd name="connsiteY6107" fmla="*/ 2167805 h 6479439"/>
                <a:gd name="connsiteX6108" fmla="*/ 8625095 w 9586368"/>
                <a:gd name="connsiteY6108" fmla="*/ 2171844 h 6479439"/>
                <a:gd name="connsiteX6109" fmla="*/ 8615184 w 9586368"/>
                <a:gd name="connsiteY6109" fmla="*/ 2171844 h 6479439"/>
                <a:gd name="connsiteX6110" fmla="*/ 8611165 w 9586368"/>
                <a:gd name="connsiteY6110" fmla="*/ 2167805 h 6479439"/>
                <a:gd name="connsiteX6111" fmla="*/ 8611165 w 9586368"/>
                <a:gd name="connsiteY6111" fmla="*/ 2157935 h 6479439"/>
                <a:gd name="connsiteX6112" fmla="*/ 8375869 w 9586368"/>
                <a:gd name="connsiteY6112" fmla="*/ 2153896 h 6479439"/>
                <a:gd name="connsiteX6113" fmla="*/ 8385779 w 9586368"/>
                <a:gd name="connsiteY6113" fmla="*/ 2153896 h 6479439"/>
                <a:gd name="connsiteX6114" fmla="*/ 8389799 w 9586368"/>
                <a:gd name="connsiteY6114" fmla="*/ 2157935 h 6479439"/>
                <a:gd name="connsiteX6115" fmla="*/ 8389799 w 9586368"/>
                <a:gd name="connsiteY6115" fmla="*/ 2167805 h 6479439"/>
                <a:gd name="connsiteX6116" fmla="*/ 8385779 w 9586368"/>
                <a:gd name="connsiteY6116" fmla="*/ 2171844 h 6479439"/>
                <a:gd name="connsiteX6117" fmla="*/ 8375869 w 9586368"/>
                <a:gd name="connsiteY6117" fmla="*/ 2171844 h 6479439"/>
                <a:gd name="connsiteX6118" fmla="*/ 8371850 w 9586368"/>
                <a:gd name="connsiteY6118" fmla="*/ 2167805 h 6479439"/>
                <a:gd name="connsiteX6119" fmla="*/ 8371850 w 9586368"/>
                <a:gd name="connsiteY6119" fmla="*/ 2157935 h 6479439"/>
                <a:gd name="connsiteX6120" fmla="*/ 9333125 w 9586368"/>
                <a:gd name="connsiteY6120" fmla="*/ 2153895 h 6479439"/>
                <a:gd name="connsiteX6121" fmla="*/ 9343036 w 9586368"/>
                <a:gd name="connsiteY6121" fmla="*/ 2153895 h 6479439"/>
                <a:gd name="connsiteX6122" fmla="*/ 9347055 w 9586368"/>
                <a:gd name="connsiteY6122" fmla="*/ 2157934 h 6479439"/>
                <a:gd name="connsiteX6123" fmla="*/ 9347055 w 9586368"/>
                <a:gd name="connsiteY6123" fmla="*/ 2167805 h 6479439"/>
                <a:gd name="connsiteX6124" fmla="*/ 9343036 w 9586368"/>
                <a:gd name="connsiteY6124" fmla="*/ 2171844 h 6479439"/>
                <a:gd name="connsiteX6125" fmla="*/ 9333125 w 9586368"/>
                <a:gd name="connsiteY6125" fmla="*/ 2171844 h 6479439"/>
                <a:gd name="connsiteX6126" fmla="*/ 9329106 w 9586368"/>
                <a:gd name="connsiteY6126" fmla="*/ 2167805 h 6479439"/>
                <a:gd name="connsiteX6127" fmla="*/ 9329106 w 9586368"/>
                <a:gd name="connsiteY6127" fmla="*/ 2157934 h 6479439"/>
                <a:gd name="connsiteX6128" fmla="*/ 9093811 w 9586368"/>
                <a:gd name="connsiteY6128" fmla="*/ 2153895 h 6479439"/>
                <a:gd name="connsiteX6129" fmla="*/ 9103722 w 9586368"/>
                <a:gd name="connsiteY6129" fmla="*/ 2153895 h 6479439"/>
                <a:gd name="connsiteX6130" fmla="*/ 9107741 w 9586368"/>
                <a:gd name="connsiteY6130" fmla="*/ 2157935 h 6479439"/>
                <a:gd name="connsiteX6131" fmla="*/ 9107741 w 9586368"/>
                <a:gd name="connsiteY6131" fmla="*/ 2167805 h 6479439"/>
                <a:gd name="connsiteX6132" fmla="*/ 9103722 w 9586368"/>
                <a:gd name="connsiteY6132" fmla="*/ 2171844 h 6479439"/>
                <a:gd name="connsiteX6133" fmla="*/ 9093811 w 9586368"/>
                <a:gd name="connsiteY6133" fmla="*/ 2171844 h 6479439"/>
                <a:gd name="connsiteX6134" fmla="*/ 9089792 w 9586368"/>
                <a:gd name="connsiteY6134" fmla="*/ 2167805 h 6479439"/>
                <a:gd name="connsiteX6135" fmla="*/ 9089792 w 9586368"/>
                <a:gd name="connsiteY6135" fmla="*/ 2157935 h 6479439"/>
                <a:gd name="connsiteX6136" fmla="*/ 8854496 w 9586368"/>
                <a:gd name="connsiteY6136" fmla="*/ 2153895 h 6479439"/>
                <a:gd name="connsiteX6137" fmla="*/ 8864407 w 9586368"/>
                <a:gd name="connsiteY6137" fmla="*/ 2153895 h 6479439"/>
                <a:gd name="connsiteX6138" fmla="*/ 8868426 w 9586368"/>
                <a:gd name="connsiteY6138" fmla="*/ 2157935 h 6479439"/>
                <a:gd name="connsiteX6139" fmla="*/ 8868426 w 9586368"/>
                <a:gd name="connsiteY6139" fmla="*/ 2167805 h 6479439"/>
                <a:gd name="connsiteX6140" fmla="*/ 8864407 w 9586368"/>
                <a:gd name="connsiteY6140" fmla="*/ 2171844 h 6479439"/>
                <a:gd name="connsiteX6141" fmla="*/ 8854496 w 9586368"/>
                <a:gd name="connsiteY6141" fmla="*/ 2171844 h 6479439"/>
                <a:gd name="connsiteX6142" fmla="*/ 8850477 w 9586368"/>
                <a:gd name="connsiteY6142" fmla="*/ 2167805 h 6479439"/>
                <a:gd name="connsiteX6143" fmla="*/ 8850477 w 9586368"/>
                <a:gd name="connsiteY6143" fmla="*/ 2157935 h 6479439"/>
                <a:gd name="connsiteX6144" fmla="*/ 9572438 w 9586368"/>
                <a:gd name="connsiteY6144" fmla="*/ 2153876 h 6479439"/>
                <a:gd name="connsiteX6145" fmla="*/ 9582349 w 9586368"/>
                <a:gd name="connsiteY6145" fmla="*/ 2153876 h 6479439"/>
                <a:gd name="connsiteX6146" fmla="*/ 9586368 w 9586368"/>
                <a:gd name="connsiteY6146" fmla="*/ 2157914 h 6479439"/>
                <a:gd name="connsiteX6147" fmla="*/ 9586368 w 9586368"/>
                <a:gd name="connsiteY6147" fmla="*/ 2167786 h 6479439"/>
                <a:gd name="connsiteX6148" fmla="*/ 9582349 w 9586368"/>
                <a:gd name="connsiteY6148" fmla="*/ 2171824 h 6479439"/>
                <a:gd name="connsiteX6149" fmla="*/ 9572438 w 9586368"/>
                <a:gd name="connsiteY6149" fmla="*/ 2171824 h 6479439"/>
                <a:gd name="connsiteX6150" fmla="*/ 9568419 w 9586368"/>
                <a:gd name="connsiteY6150" fmla="*/ 2167786 h 6479439"/>
                <a:gd name="connsiteX6151" fmla="*/ 9568419 w 9586368"/>
                <a:gd name="connsiteY6151" fmla="*/ 2157914 h 6479439"/>
                <a:gd name="connsiteX6152" fmla="*/ 1200582 w 9586368"/>
                <a:gd name="connsiteY6152" fmla="*/ 2153867 h 6479439"/>
                <a:gd name="connsiteX6153" fmla="*/ 1210491 w 9586368"/>
                <a:gd name="connsiteY6153" fmla="*/ 2153867 h 6479439"/>
                <a:gd name="connsiteX6154" fmla="*/ 1214510 w 9586368"/>
                <a:gd name="connsiteY6154" fmla="*/ 2157906 h 6479439"/>
                <a:gd name="connsiteX6155" fmla="*/ 1214510 w 9586368"/>
                <a:gd name="connsiteY6155" fmla="*/ 2167776 h 6479439"/>
                <a:gd name="connsiteX6156" fmla="*/ 1210491 w 9586368"/>
                <a:gd name="connsiteY6156" fmla="*/ 2171815 h 6479439"/>
                <a:gd name="connsiteX6157" fmla="*/ 1200582 w 9586368"/>
                <a:gd name="connsiteY6157" fmla="*/ 2171815 h 6479439"/>
                <a:gd name="connsiteX6158" fmla="*/ 1196562 w 9586368"/>
                <a:gd name="connsiteY6158" fmla="*/ 2167776 h 6479439"/>
                <a:gd name="connsiteX6159" fmla="*/ 1196562 w 9586368"/>
                <a:gd name="connsiteY6159" fmla="*/ 2157906 h 6479439"/>
                <a:gd name="connsiteX6160" fmla="*/ 961268 w 9586368"/>
                <a:gd name="connsiteY6160" fmla="*/ 2153867 h 6479439"/>
                <a:gd name="connsiteX6161" fmla="*/ 971179 w 9586368"/>
                <a:gd name="connsiteY6161" fmla="*/ 2153867 h 6479439"/>
                <a:gd name="connsiteX6162" fmla="*/ 975198 w 9586368"/>
                <a:gd name="connsiteY6162" fmla="*/ 2157906 h 6479439"/>
                <a:gd name="connsiteX6163" fmla="*/ 975198 w 9586368"/>
                <a:gd name="connsiteY6163" fmla="*/ 2167776 h 6479439"/>
                <a:gd name="connsiteX6164" fmla="*/ 971179 w 9586368"/>
                <a:gd name="connsiteY6164" fmla="*/ 2171815 h 6479439"/>
                <a:gd name="connsiteX6165" fmla="*/ 961268 w 9586368"/>
                <a:gd name="connsiteY6165" fmla="*/ 2171815 h 6479439"/>
                <a:gd name="connsiteX6166" fmla="*/ 957250 w 9586368"/>
                <a:gd name="connsiteY6166" fmla="*/ 2167776 h 6479439"/>
                <a:gd name="connsiteX6167" fmla="*/ 957250 w 9586368"/>
                <a:gd name="connsiteY6167" fmla="*/ 2157906 h 6479439"/>
                <a:gd name="connsiteX6168" fmla="*/ 1679214 w 9586368"/>
                <a:gd name="connsiteY6168" fmla="*/ 2153867 h 6479439"/>
                <a:gd name="connsiteX6169" fmla="*/ 1689123 w 9586368"/>
                <a:gd name="connsiteY6169" fmla="*/ 2153867 h 6479439"/>
                <a:gd name="connsiteX6170" fmla="*/ 1693144 w 9586368"/>
                <a:gd name="connsiteY6170" fmla="*/ 2157905 h 6479439"/>
                <a:gd name="connsiteX6171" fmla="*/ 1693144 w 9586368"/>
                <a:gd name="connsiteY6171" fmla="*/ 2167775 h 6479439"/>
                <a:gd name="connsiteX6172" fmla="*/ 1689123 w 9586368"/>
                <a:gd name="connsiteY6172" fmla="*/ 2171814 h 6479439"/>
                <a:gd name="connsiteX6173" fmla="*/ 1679214 w 9586368"/>
                <a:gd name="connsiteY6173" fmla="*/ 2171814 h 6479439"/>
                <a:gd name="connsiteX6174" fmla="*/ 1675195 w 9586368"/>
                <a:gd name="connsiteY6174" fmla="*/ 2167775 h 6479439"/>
                <a:gd name="connsiteX6175" fmla="*/ 1675195 w 9586368"/>
                <a:gd name="connsiteY6175" fmla="*/ 2157905 h 6479439"/>
                <a:gd name="connsiteX6176" fmla="*/ 1439897 w 9586368"/>
                <a:gd name="connsiteY6176" fmla="*/ 2153867 h 6479439"/>
                <a:gd name="connsiteX6177" fmla="*/ 1449807 w 9586368"/>
                <a:gd name="connsiteY6177" fmla="*/ 2153867 h 6479439"/>
                <a:gd name="connsiteX6178" fmla="*/ 1453826 w 9586368"/>
                <a:gd name="connsiteY6178" fmla="*/ 2157905 h 6479439"/>
                <a:gd name="connsiteX6179" fmla="*/ 1453826 w 9586368"/>
                <a:gd name="connsiteY6179" fmla="*/ 2167776 h 6479439"/>
                <a:gd name="connsiteX6180" fmla="*/ 1449807 w 9586368"/>
                <a:gd name="connsiteY6180" fmla="*/ 2171814 h 6479439"/>
                <a:gd name="connsiteX6181" fmla="*/ 1439897 w 9586368"/>
                <a:gd name="connsiteY6181" fmla="*/ 2171814 h 6479439"/>
                <a:gd name="connsiteX6182" fmla="*/ 1435878 w 9586368"/>
                <a:gd name="connsiteY6182" fmla="*/ 2167776 h 6479439"/>
                <a:gd name="connsiteX6183" fmla="*/ 1435878 w 9586368"/>
                <a:gd name="connsiteY6183" fmla="*/ 2157905 h 6479439"/>
                <a:gd name="connsiteX6184" fmla="*/ 1918513 w 9586368"/>
                <a:gd name="connsiteY6184" fmla="*/ 2153855 h 6479439"/>
                <a:gd name="connsiteX6185" fmla="*/ 1928422 w 9586368"/>
                <a:gd name="connsiteY6185" fmla="*/ 2153855 h 6479439"/>
                <a:gd name="connsiteX6186" fmla="*/ 1932443 w 9586368"/>
                <a:gd name="connsiteY6186" fmla="*/ 2157892 h 6479439"/>
                <a:gd name="connsiteX6187" fmla="*/ 1932443 w 9586368"/>
                <a:gd name="connsiteY6187" fmla="*/ 2167763 h 6479439"/>
                <a:gd name="connsiteX6188" fmla="*/ 1928422 w 9586368"/>
                <a:gd name="connsiteY6188" fmla="*/ 2171803 h 6479439"/>
                <a:gd name="connsiteX6189" fmla="*/ 1918513 w 9586368"/>
                <a:gd name="connsiteY6189" fmla="*/ 2171803 h 6479439"/>
                <a:gd name="connsiteX6190" fmla="*/ 1914494 w 9586368"/>
                <a:gd name="connsiteY6190" fmla="*/ 2167763 h 6479439"/>
                <a:gd name="connsiteX6191" fmla="*/ 1914494 w 9586368"/>
                <a:gd name="connsiteY6191" fmla="*/ 2157892 h 6479439"/>
                <a:gd name="connsiteX6192" fmla="*/ 2157821 w 9586368"/>
                <a:gd name="connsiteY6192" fmla="*/ 2153850 h 6479439"/>
                <a:gd name="connsiteX6193" fmla="*/ 2167732 w 9586368"/>
                <a:gd name="connsiteY6193" fmla="*/ 2153850 h 6479439"/>
                <a:gd name="connsiteX6194" fmla="*/ 2171750 w 9586368"/>
                <a:gd name="connsiteY6194" fmla="*/ 2157889 h 6479439"/>
                <a:gd name="connsiteX6195" fmla="*/ 2171750 w 9586368"/>
                <a:gd name="connsiteY6195" fmla="*/ 2167759 h 6479439"/>
                <a:gd name="connsiteX6196" fmla="*/ 2167732 w 9586368"/>
                <a:gd name="connsiteY6196" fmla="*/ 2171798 h 6479439"/>
                <a:gd name="connsiteX6197" fmla="*/ 2157821 w 9586368"/>
                <a:gd name="connsiteY6197" fmla="*/ 2171798 h 6479439"/>
                <a:gd name="connsiteX6198" fmla="*/ 2153803 w 9586368"/>
                <a:gd name="connsiteY6198" fmla="*/ 2167759 h 6479439"/>
                <a:gd name="connsiteX6199" fmla="*/ 2153803 w 9586368"/>
                <a:gd name="connsiteY6199" fmla="*/ 2157889 h 6479439"/>
                <a:gd name="connsiteX6200" fmla="*/ 4032 w 9586368"/>
                <a:gd name="connsiteY6200" fmla="*/ 2153832 h 6479439"/>
                <a:gd name="connsiteX6201" fmla="*/ 13942 w 9586368"/>
                <a:gd name="connsiteY6201" fmla="*/ 2153832 h 6479439"/>
                <a:gd name="connsiteX6202" fmla="*/ 17961 w 9586368"/>
                <a:gd name="connsiteY6202" fmla="*/ 2157870 h 6479439"/>
                <a:gd name="connsiteX6203" fmla="*/ 17961 w 9586368"/>
                <a:gd name="connsiteY6203" fmla="*/ 2167741 h 6479439"/>
                <a:gd name="connsiteX6204" fmla="*/ 13942 w 9586368"/>
                <a:gd name="connsiteY6204" fmla="*/ 2171780 h 6479439"/>
                <a:gd name="connsiteX6205" fmla="*/ 4032 w 9586368"/>
                <a:gd name="connsiteY6205" fmla="*/ 2171780 h 6479439"/>
                <a:gd name="connsiteX6206" fmla="*/ 13 w 9586368"/>
                <a:gd name="connsiteY6206" fmla="*/ 2167741 h 6479439"/>
                <a:gd name="connsiteX6207" fmla="*/ 13 w 9586368"/>
                <a:gd name="connsiteY6207" fmla="*/ 2157870 h 6479439"/>
                <a:gd name="connsiteX6208" fmla="*/ 721971 w 9586368"/>
                <a:gd name="connsiteY6208" fmla="*/ 2153832 h 6479439"/>
                <a:gd name="connsiteX6209" fmla="*/ 731881 w 9586368"/>
                <a:gd name="connsiteY6209" fmla="*/ 2153832 h 6479439"/>
                <a:gd name="connsiteX6210" fmla="*/ 735900 w 9586368"/>
                <a:gd name="connsiteY6210" fmla="*/ 2157870 h 6479439"/>
                <a:gd name="connsiteX6211" fmla="*/ 735900 w 9586368"/>
                <a:gd name="connsiteY6211" fmla="*/ 2167740 h 6479439"/>
                <a:gd name="connsiteX6212" fmla="*/ 731881 w 9586368"/>
                <a:gd name="connsiteY6212" fmla="*/ 2171780 h 6479439"/>
                <a:gd name="connsiteX6213" fmla="*/ 721971 w 9586368"/>
                <a:gd name="connsiteY6213" fmla="*/ 2171780 h 6479439"/>
                <a:gd name="connsiteX6214" fmla="*/ 717952 w 9586368"/>
                <a:gd name="connsiteY6214" fmla="*/ 2167740 h 6479439"/>
                <a:gd name="connsiteX6215" fmla="*/ 717952 w 9586368"/>
                <a:gd name="connsiteY6215" fmla="*/ 2157870 h 6479439"/>
                <a:gd name="connsiteX6216" fmla="*/ 482659 w 9586368"/>
                <a:gd name="connsiteY6216" fmla="*/ 2153832 h 6479439"/>
                <a:gd name="connsiteX6217" fmla="*/ 492569 w 9586368"/>
                <a:gd name="connsiteY6217" fmla="*/ 2153832 h 6479439"/>
                <a:gd name="connsiteX6218" fmla="*/ 496588 w 9586368"/>
                <a:gd name="connsiteY6218" fmla="*/ 2157870 h 6479439"/>
                <a:gd name="connsiteX6219" fmla="*/ 496588 w 9586368"/>
                <a:gd name="connsiteY6219" fmla="*/ 2167741 h 6479439"/>
                <a:gd name="connsiteX6220" fmla="*/ 492569 w 9586368"/>
                <a:gd name="connsiteY6220" fmla="*/ 2171780 h 6479439"/>
                <a:gd name="connsiteX6221" fmla="*/ 482659 w 9586368"/>
                <a:gd name="connsiteY6221" fmla="*/ 2171780 h 6479439"/>
                <a:gd name="connsiteX6222" fmla="*/ 478640 w 9586368"/>
                <a:gd name="connsiteY6222" fmla="*/ 2167741 h 6479439"/>
                <a:gd name="connsiteX6223" fmla="*/ 478640 w 9586368"/>
                <a:gd name="connsiteY6223" fmla="*/ 2157870 h 6479439"/>
                <a:gd name="connsiteX6224" fmla="*/ 243345 w 9586368"/>
                <a:gd name="connsiteY6224" fmla="*/ 2153832 h 6479439"/>
                <a:gd name="connsiteX6225" fmla="*/ 253255 w 9586368"/>
                <a:gd name="connsiteY6225" fmla="*/ 2153832 h 6479439"/>
                <a:gd name="connsiteX6226" fmla="*/ 257274 w 9586368"/>
                <a:gd name="connsiteY6226" fmla="*/ 2157870 h 6479439"/>
                <a:gd name="connsiteX6227" fmla="*/ 257274 w 9586368"/>
                <a:gd name="connsiteY6227" fmla="*/ 2167741 h 6479439"/>
                <a:gd name="connsiteX6228" fmla="*/ 253255 w 9586368"/>
                <a:gd name="connsiteY6228" fmla="*/ 2171780 h 6479439"/>
                <a:gd name="connsiteX6229" fmla="*/ 243345 w 9586368"/>
                <a:gd name="connsiteY6229" fmla="*/ 2171780 h 6479439"/>
                <a:gd name="connsiteX6230" fmla="*/ 239326 w 9586368"/>
                <a:gd name="connsiteY6230" fmla="*/ 2167741 h 6479439"/>
                <a:gd name="connsiteX6231" fmla="*/ 239326 w 9586368"/>
                <a:gd name="connsiteY6231" fmla="*/ 2157870 h 6479439"/>
                <a:gd name="connsiteX6232" fmla="*/ 2393104 w 9586368"/>
                <a:gd name="connsiteY6232" fmla="*/ 1914701 h 6479439"/>
                <a:gd name="connsiteX6233" fmla="*/ 2403015 w 9586368"/>
                <a:gd name="connsiteY6233" fmla="*/ 1914701 h 6479439"/>
                <a:gd name="connsiteX6234" fmla="*/ 2407034 w 9586368"/>
                <a:gd name="connsiteY6234" fmla="*/ 1918739 h 6479439"/>
                <a:gd name="connsiteX6235" fmla="*/ 2407034 w 9586368"/>
                <a:gd name="connsiteY6235" fmla="*/ 1928610 h 6479439"/>
                <a:gd name="connsiteX6236" fmla="*/ 2403015 w 9586368"/>
                <a:gd name="connsiteY6236" fmla="*/ 1932649 h 6479439"/>
                <a:gd name="connsiteX6237" fmla="*/ 2393104 w 9586368"/>
                <a:gd name="connsiteY6237" fmla="*/ 1932649 h 6479439"/>
                <a:gd name="connsiteX6238" fmla="*/ 2389087 w 9586368"/>
                <a:gd name="connsiteY6238" fmla="*/ 1928610 h 6479439"/>
                <a:gd name="connsiteX6239" fmla="*/ 2389087 w 9586368"/>
                <a:gd name="connsiteY6239" fmla="*/ 1918739 h 6479439"/>
                <a:gd name="connsiteX6240" fmla="*/ 3350359 w 9586368"/>
                <a:gd name="connsiteY6240" fmla="*/ 1914699 h 6479439"/>
                <a:gd name="connsiteX6241" fmla="*/ 3360268 w 9586368"/>
                <a:gd name="connsiteY6241" fmla="*/ 1914699 h 6479439"/>
                <a:gd name="connsiteX6242" fmla="*/ 3364287 w 9586368"/>
                <a:gd name="connsiteY6242" fmla="*/ 1918738 h 6479439"/>
                <a:gd name="connsiteX6243" fmla="*/ 3364287 w 9586368"/>
                <a:gd name="connsiteY6243" fmla="*/ 1928610 h 6479439"/>
                <a:gd name="connsiteX6244" fmla="*/ 3360268 w 9586368"/>
                <a:gd name="connsiteY6244" fmla="*/ 1932649 h 6479439"/>
                <a:gd name="connsiteX6245" fmla="*/ 3350359 w 9586368"/>
                <a:gd name="connsiteY6245" fmla="*/ 1932649 h 6479439"/>
                <a:gd name="connsiteX6246" fmla="*/ 3346340 w 9586368"/>
                <a:gd name="connsiteY6246" fmla="*/ 1928610 h 6479439"/>
                <a:gd name="connsiteX6247" fmla="*/ 3346340 w 9586368"/>
                <a:gd name="connsiteY6247" fmla="*/ 1918738 h 6479439"/>
                <a:gd name="connsiteX6248" fmla="*/ 3111048 w 9586368"/>
                <a:gd name="connsiteY6248" fmla="*/ 1914699 h 6479439"/>
                <a:gd name="connsiteX6249" fmla="*/ 3120959 w 9586368"/>
                <a:gd name="connsiteY6249" fmla="*/ 1914699 h 6479439"/>
                <a:gd name="connsiteX6250" fmla="*/ 3124977 w 9586368"/>
                <a:gd name="connsiteY6250" fmla="*/ 1918739 h 6479439"/>
                <a:gd name="connsiteX6251" fmla="*/ 3124977 w 9586368"/>
                <a:gd name="connsiteY6251" fmla="*/ 1928610 h 6479439"/>
                <a:gd name="connsiteX6252" fmla="*/ 3120959 w 9586368"/>
                <a:gd name="connsiteY6252" fmla="*/ 1932649 h 6479439"/>
                <a:gd name="connsiteX6253" fmla="*/ 3111048 w 9586368"/>
                <a:gd name="connsiteY6253" fmla="*/ 1932649 h 6479439"/>
                <a:gd name="connsiteX6254" fmla="*/ 3107029 w 9586368"/>
                <a:gd name="connsiteY6254" fmla="*/ 1928610 h 6479439"/>
                <a:gd name="connsiteX6255" fmla="*/ 3107029 w 9586368"/>
                <a:gd name="connsiteY6255" fmla="*/ 1918739 h 6479439"/>
                <a:gd name="connsiteX6256" fmla="*/ 2871737 w 9586368"/>
                <a:gd name="connsiteY6256" fmla="*/ 1914699 h 6479439"/>
                <a:gd name="connsiteX6257" fmla="*/ 2881646 w 9586368"/>
                <a:gd name="connsiteY6257" fmla="*/ 1914699 h 6479439"/>
                <a:gd name="connsiteX6258" fmla="*/ 2885666 w 9586368"/>
                <a:gd name="connsiteY6258" fmla="*/ 1918739 h 6479439"/>
                <a:gd name="connsiteX6259" fmla="*/ 2885666 w 9586368"/>
                <a:gd name="connsiteY6259" fmla="*/ 1928610 h 6479439"/>
                <a:gd name="connsiteX6260" fmla="*/ 2881646 w 9586368"/>
                <a:gd name="connsiteY6260" fmla="*/ 1932649 h 6479439"/>
                <a:gd name="connsiteX6261" fmla="*/ 2871737 w 9586368"/>
                <a:gd name="connsiteY6261" fmla="*/ 1932649 h 6479439"/>
                <a:gd name="connsiteX6262" fmla="*/ 2867717 w 9586368"/>
                <a:gd name="connsiteY6262" fmla="*/ 1928610 h 6479439"/>
                <a:gd name="connsiteX6263" fmla="*/ 2867717 w 9586368"/>
                <a:gd name="connsiteY6263" fmla="*/ 1918739 h 6479439"/>
                <a:gd name="connsiteX6264" fmla="*/ 2632423 w 9586368"/>
                <a:gd name="connsiteY6264" fmla="*/ 1914699 h 6479439"/>
                <a:gd name="connsiteX6265" fmla="*/ 2642334 w 9586368"/>
                <a:gd name="connsiteY6265" fmla="*/ 1914699 h 6479439"/>
                <a:gd name="connsiteX6266" fmla="*/ 2646352 w 9586368"/>
                <a:gd name="connsiteY6266" fmla="*/ 1918739 h 6479439"/>
                <a:gd name="connsiteX6267" fmla="*/ 2646352 w 9586368"/>
                <a:gd name="connsiteY6267" fmla="*/ 1928610 h 6479439"/>
                <a:gd name="connsiteX6268" fmla="*/ 2642334 w 9586368"/>
                <a:gd name="connsiteY6268" fmla="*/ 1932649 h 6479439"/>
                <a:gd name="connsiteX6269" fmla="*/ 2632423 w 9586368"/>
                <a:gd name="connsiteY6269" fmla="*/ 1932649 h 6479439"/>
                <a:gd name="connsiteX6270" fmla="*/ 2628404 w 9586368"/>
                <a:gd name="connsiteY6270" fmla="*/ 1928610 h 6479439"/>
                <a:gd name="connsiteX6271" fmla="*/ 2628404 w 9586368"/>
                <a:gd name="connsiteY6271" fmla="*/ 1918739 h 6479439"/>
                <a:gd name="connsiteX6272" fmla="*/ 3589676 w 9586368"/>
                <a:gd name="connsiteY6272" fmla="*/ 1914682 h 6479439"/>
                <a:gd name="connsiteX6273" fmla="*/ 3599585 w 9586368"/>
                <a:gd name="connsiteY6273" fmla="*/ 1914682 h 6479439"/>
                <a:gd name="connsiteX6274" fmla="*/ 3603604 w 9586368"/>
                <a:gd name="connsiteY6274" fmla="*/ 1918721 h 6479439"/>
                <a:gd name="connsiteX6275" fmla="*/ 3603604 w 9586368"/>
                <a:gd name="connsiteY6275" fmla="*/ 1928592 h 6479439"/>
                <a:gd name="connsiteX6276" fmla="*/ 3599585 w 9586368"/>
                <a:gd name="connsiteY6276" fmla="*/ 1932631 h 6479439"/>
                <a:gd name="connsiteX6277" fmla="*/ 3589676 w 9586368"/>
                <a:gd name="connsiteY6277" fmla="*/ 1932631 h 6479439"/>
                <a:gd name="connsiteX6278" fmla="*/ 3585657 w 9586368"/>
                <a:gd name="connsiteY6278" fmla="*/ 1928592 h 6479439"/>
                <a:gd name="connsiteX6279" fmla="*/ 3585657 w 9586368"/>
                <a:gd name="connsiteY6279" fmla="*/ 1918721 h 6479439"/>
                <a:gd name="connsiteX6280" fmla="*/ 4546929 w 9586368"/>
                <a:gd name="connsiteY6280" fmla="*/ 1914681 h 6479439"/>
                <a:gd name="connsiteX6281" fmla="*/ 4556840 w 9586368"/>
                <a:gd name="connsiteY6281" fmla="*/ 1914681 h 6479439"/>
                <a:gd name="connsiteX6282" fmla="*/ 4560859 w 9586368"/>
                <a:gd name="connsiteY6282" fmla="*/ 1918719 h 6479439"/>
                <a:gd name="connsiteX6283" fmla="*/ 4560859 w 9586368"/>
                <a:gd name="connsiteY6283" fmla="*/ 1928592 h 6479439"/>
                <a:gd name="connsiteX6284" fmla="*/ 4556840 w 9586368"/>
                <a:gd name="connsiteY6284" fmla="*/ 1932631 h 6479439"/>
                <a:gd name="connsiteX6285" fmla="*/ 4546929 w 9586368"/>
                <a:gd name="connsiteY6285" fmla="*/ 1932631 h 6479439"/>
                <a:gd name="connsiteX6286" fmla="*/ 4542910 w 9586368"/>
                <a:gd name="connsiteY6286" fmla="*/ 1928592 h 6479439"/>
                <a:gd name="connsiteX6287" fmla="*/ 4542910 w 9586368"/>
                <a:gd name="connsiteY6287" fmla="*/ 1918719 h 6479439"/>
                <a:gd name="connsiteX6288" fmla="*/ 4307612 w 9586368"/>
                <a:gd name="connsiteY6288" fmla="*/ 1914681 h 6479439"/>
                <a:gd name="connsiteX6289" fmla="*/ 4317523 w 9586368"/>
                <a:gd name="connsiteY6289" fmla="*/ 1914681 h 6479439"/>
                <a:gd name="connsiteX6290" fmla="*/ 4321543 w 9586368"/>
                <a:gd name="connsiteY6290" fmla="*/ 1918720 h 6479439"/>
                <a:gd name="connsiteX6291" fmla="*/ 4321543 w 9586368"/>
                <a:gd name="connsiteY6291" fmla="*/ 1928592 h 6479439"/>
                <a:gd name="connsiteX6292" fmla="*/ 4317523 w 9586368"/>
                <a:gd name="connsiteY6292" fmla="*/ 1932631 h 6479439"/>
                <a:gd name="connsiteX6293" fmla="*/ 4307612 w 9586368"/>
                <a:gd name="connsiteY6293" fmla="*/ 1932631 h 6479439"/>
                <a:gd name="connsiteX6294" fmla="*/ 4303595 w 9586368"/>
                <a:gd name="connsiteY6294" fmla="*/ 1928592 h 6479439"/>
                <a:gd name="connsiteX6295" fmla="*/ 4303595 w 9586368"/>
                <a:gd name="connsiteY6295" fmla="*/ 1918720 h 6479439"/>
                <a:gd name="connsiteX6296" fmla="*/ 4068297 w 9586368"/>
                <a:gd name="connsiteY6296" fmla="*/ 1914681 h 6479439"/>
                <a:gd name="connsiteX6297" fmla="*/ 4078210 w 9586368"/>
                <a:gd name="connsiteY6297" fmla="*/ 1914681 h 6479439"/>
                <a:gd name="connsiteX6298" fmla="*/ 4082229 w 9586368"/>
                <a:gd name="connsiteY6298" fmla="*/ 1918720 h 6479439"/>
                <a:gd name="connsiteX6299" fmla="*/ 4082229 w 9586368"/>
                <a:gd name="connsiteY6299" fmla="*/ 1928592 h 6479439"/>
                <a:gd name="connsiteX6300" fmla="*/ 4078210 w 9586368"/>
                <a:gd name="connsiteY6300" fmla="*/ 1932631 h 6479439"/>
                <a:gd name="connsiteX6301" fmla="*/ 4068297 w 9586368"/>
                <a:gd name="connsiteY6301" fmla="*/ 1932631 h 6479439"/>
                <a:gd name="connsiteX6302" fmla="*/ 4064278 w 9586368"/>
                <a:gd name="connsiteY6302" fmla="*/ 1928592 h 6479439"/>
                <a:gd name="connsiteX6303" fmla="*/ 4064278 w 9586368"/>
                <a:gd name="connsiteY6303" fmla="*/ 1918720 h 6479439"/>
                <a:gd name="connsiteX6304" fmla="*/ 3828990 w 9586368"/>
                <a:gd name="connsiteY6304" fmla="*/ 1914681 h 6479439"/>
                <a:gd name="connsiteX6305" fmla="*/ 3838899 w 9586368"/>
                <a:gd name="connsiteY6305" fmla="*/ 1914681 h 6479439"/>
                <a:gd name="connsiteX6306" fmla="*/ 3842917 w 9586368"/>
                <a:gd name="connsiteY6306" fmla="*/ 1918720 h 6479439"/>
                <a:gd name="connsiteX6307" fmla="*/ 3842917 w 9586368"/>
                <a:gd name="connsiteY6307" fmla="*/ 1928592 h 6479439"/>
                <a:gd name="connsiteX6308" fmla="*/ 3838899 w 9586368"/>
                <a:gd name="connsiteY6308" fmla="*/ 1932631 h 6479439"/>
                <a:gd name="connsiteX6309" fmla="*/ 3828990 w 9586368"/>
                <a:gd name="connsiteY6309" fmla="*/ 1932631 h 6479439"/>
                <a:gd name="connsiteX6310" fmla="*/ 3824971 w 9586368"/>
                <a:gd name="connsiteY6310" fmla="*/ 1928592 h 6479439"/>
                <a:gd name="connsiteX6311" fmla="*/ 3824971 w 9586368"/>
                <a:gd name="connsiteY6311" fmla="*/ 1918720 h 6479439"/>
                <a:gd name="connsiteX6312" fmla="*/ 4786241 w 9586368"/>
                <a:gd name="connsiteY6312" fmla="*/ 1914664 h 6479439"/>
                <a:gd name="connsiteX6313" fmla="*/ 4796152 w 9586368"/>
                <a:gd name="connsiteY6313" fmla="*/ 1914664 h 6479439"/>
                <a:gd name="connsiteX6314" fmla="*/ 4800171 w 9586368"/>
                <a:gd name="connsiteY6314" fmla="*/ 1918702 h 6479439"/>
                <a:gd name="connsiteX6315" fmla="*/ 4800171 w 9586368"/>
                <a:gd name="connsiteY6315" fmla="*/ 1928573 h 6479439"/>
                <a:gd name="connsiteX6316" fmla="*/ 4796152 w 9586368"/>
                <a:gd name="connsiteY6316" fmla="*/ 1932612 h 6479439"/>
                <a:gd name="connsiteX6317" fmla="*/ 4786241 w 9586368"/>
                <a:gd name="connsiteY6317" fmla="*/ 1932612 h 6479439"/>
                <a:gd name="connsiteX6318" fmla="*/ 4782224 w 9586368"/>
                <a:gd name="connsiteY6318" fmla="*/ 1928573 h 6479439"/>
                <a:gd name="connsiteX6319" fmla="*/ 4782224 w 9586368"/>
                <a:gd name="connsiteY6319" fmla="*/ 1918702 h 6479439"/>
                <a:gd name="connsiteX6320" fmla="*/ 5504099 w 9586368"/>
                <a:gd name="connsiteY6320" fmla="*/ 1914663 h 6479439"/>
                <a:gd name="connsiteX6321" fmla="*/ 5514010 w 9586368"/>
                <a:gd name="connsiteY6321" fmla="*/ 1914663 h 6479439"/>
                <a:gd name="connsiteX6322" fmla="*/ 5518029 w 9586368"/>
                <a:gd name="connsiteY6322" fmla="*/ 1918702 h 6479439"/>
                <a:gd name="connsiteX6323" fmla="*/ 5518029 w 9586368"/>
                <a:gd name="connsiteY6323" fmla="*/ 1928572 h 6479439"/>
                <a:gd name="connsiteX6324" fmla="*/ 5514010 w 9586368"/>
                <a:gd name="connsiteY6324" fmla="*/ 1932612 h 6479439"/>
                <a:gd name="connsiteX6325" fmla="*/ 5504099 w 9586368"/>
                <a:gd name="connsiteY6325" fmla="*/ 1932612 h 6479439"/>
                <a:gd name="connsiteX6326" fmla="*/ 5500080 w 9586368"/>
                <a:gd name="connsiteY6326" fmla="*/ 1928572 h 6479439"/>
                <a:gd name="connsiteX6327" fmla="*/ 5500080 w 9586368"/>
                <a:gd name="connsiteY6327" fmla="*/ 1918702 h 6479439"/>
                <a:gd name="connsiteX6328" fmla="*/ 5264784 w 9586368"/>
                <a:gd name="connsiteY6328" fmla="*/ 1914663 h 6479439"/>
                <a:gd name="connsiteX6329" fmla="*/ 5274694 w 9586368"/>
                <a:gd name="connsiteY6329" fmla="*/ 1914663 h 6479439"/>
                <a:gd name="connsiteX6330" fmla="*/ 5278713 w 9586368"/>
                <a:gd name="connsiteY6330" fmla="*/ 1918702 h 6479439"/>
                <a:gd name="connsiteX6331" fmla="*/ 5278713 w 9586368"/>
                <a:gd name="connsiteY6331" fmla="*/ 1928573 h 6479439"/>
                <a:gd name="connsiteX6332" fmla="*/ 5274694 w 9586368"/>
                <a:gd name="connsiteY6332" fmla="*/ 1932612 h 6479439"/>
                <a:gd name="connsiteX6333" fmla="*/ 5264784 w 9586368"/>
                <a:gd name="connsiteY6333" fmla="*/ 1932612 h 6479439"/>
                <a:gd name="connsiteX6334" fmla="*/ 5260765 w 9586368"/>
                <a:gd name="connsiteY6334" fmla="*/ 1928573 h 6479439"/>
                <a:gd name="connsiteX6335" fmla="*/ 5260765 w 9586368"/>
                <a:gd name="connsiteY6335" fmla="*/ 1918702 h 6479439"/>
                <a:gd name="connsiteX6336" fmla="*/ 5025470 w 9586368"/>
                <a:gd name="connsiteY6336" fmla="*/ 1914663 h 6479439"/>
                <a:gd name="connsiteX6337" fmla="*/ 5035381 w 9586368"/>
                <a:gd name="connsiteY6337" fmla="*/ 1914663 h 6479439"/>
                <a:gd name="connsiteX6338" fmla="*/ 5039400 w 9586368"/>
                <a:gd name="connsiteY6338" fmla="*/ 1918702 h 6479439"/>
                <a:gd name="connsiteX6339" fmla="*/ 5039400 w 9586368"/>
                <a:gd name="connsiteY6339" fmla="*/ 1928573 h 6479439"/>
                <a:gd name="connsiteX6340" fmla="*/ 5035381 w 9586368"/>
                <a:gd name="connsiteY6340" fmla="*/ 1932612 h 6479439"/>
                <a:gd name="connsiteX6341" fmla="*/ 5025470 w 9586368"/>
                <a:gd name="connsiteY6341" fmla="*/ 1932612 h 6479439"/>
                <a:gd name="connsiteX6342" fmla="*/ 5021451 w 9586368"/>
                <a:gd name="connsiteY6342" fmla="*/ 1928573 h 6479439"/>
                <a:gd name="connsiteX6343" fmla="*/ 5021451 w 9586368"/>
                <a:gd name="connsiteY6343" fmla="*/ 1918702 h 6479439"/>
                <a:gd name="connsiteX6344" fmla="*/ 5743412 w 9586368"/>
                <a:gd name="connsiteY6344" fmla="*/ 1914662 h 6479439"/>
                <a:gd name="connsiteX6345" fmla="*/ 5753323 w 9586368"/>
                <a:gd name="connsiteY6345" fmla="*/ 1914662 h 6479439"/>
                <a:gd name="connsiteX6346" fmla="*/ 5757342 w 9586368"/>
                <a:gd name="connsiteY6346" fmla="*/ 1918701 h 6479439"/>
                <a:gd name="connsiteX6347" fmla="*/ 5757342 w 9586368"/>
                <a:gd name="connsiteY6347" fmla="*/ 1928572 h 6479439"/>
                <a:gd name="connsiteX6348" fmla="*/ 5753323 w 9586368"/>
                <a:gd name="connsiteY6348" fmla="*/ 1932612 h 6479439"/>
                <a:gd name="connsiteX6349" fmla="*/ 5743412 w 9586368"/>
                <a:gd name="connsiteY6349" fmla="*/ 1932612 h 6479439"/>
                <a:gd name="connsiteX6350" fmla="*/ 5739393 w 9586368"/>
                <a:gd name="connsiteY6350" fmla="*/ 1928572 h 6479439"/>
                <a:gd name="connsiteX6351" fmla="*/ 5739393 w 9586368"/>
                <a:gd name="connsiteY6351" fmla="*/ 1918701 h 6479439"/>
                <a:gd name="connsiteX6352" fmla="*/ 5982729 w 9586368"/>
                <a:gd name="connsiteY6352" fmla="*/ 1914645 h 6479439"/>
                <a:gd name="connsiteX6353" fmla="*/ 5992639 w 9586368"/>
                <a:gd name="connsiteY6353" fmla="*/ 1914645 h 6479439"/>
                <a:gd name="connsiteX6354" fmla="*/ 5996658 w 9586368"/>
                <a:gd name="connsiteY6354" fmla="*/ 1918684 h 6479439"/>
                <a:gd name="connsiteX6355" fmla="*/ 5996658 w 9586368"/>
                <a:gd name="connsiteY6355" fmla="*/ 1928555 h 6479439"/>
                <a:gd name="connsiteX6356" fmla="*/ 5992639 w 9586368"/>
                <a:gd name="connsiteY6356" fmla="*/ 1932594 h 6479439"/>
                <a:gd name="connsiteX6357" fmla="*/ 5982729 w 9586368"/>
                <a:gd name="connsiteY6357" fmla="*/ 1932594 h 6479439"/>
                <a:gd name="connsiteX6358" fmla="*/ 5978710 w 9586368"/>
                <a:gd name="connsiteY6358" fmla="*/ 1928555 h 6479439"/>
                <a:gd name="connsiteX6359" fmla="*/ 5978710 w 9586368"/>
                <a:gd name="connsiteY6359" fmla="*/ 1918684 h 6479439"/>
                <a:gd name="connsiteX6360" fmla="*/ 6939983 w 9586368"/>
                <a:gd name="connsiteY6360" fmla="*/ 1914645 h 6479439"/>
                <a:gd name="connsiteX6361" fmla="*/ 6949894 w 9586368"/>
                <a:gd name="connsiteY6361" fmla="*/ 1914645 h 6479439"/>
                <a:gd name="connsiteX6362" fmla="*/ 6953913 w 9586368"/>
                <a:gd name="connsiteY6362" fmla="*/ 1918682 h 6479439"/>
                <a:gd name="connsiteX6363" fmla="*/ 6953913 w 9586368"/>
                <a:gd name="connsiteY6363" fmla="*/ 1928554 h 6479439"/>
                <a:gd name="connsiteX6364" fmla="*/ 6949894 w 9586368"/>
                <a:gd name="connsiteY6364" fmla="*/ 1932594 h 6479439"/>
                <a:gd name="connsiteX6365" fmla="*/ 6939983 w 9586368"/>
                <a:gd name="connsiteY6365" fmla="*/ 1932594 h 6479439"/>
                <a:gd name="connsiteX6366" fmla="*/ 6935964 w 9586368"/>
                <a:gd name="connsiteY6366" fmla="*/ 1928554 h 6479439"/>
                <a:gd name="connsiteX6367" fmla="*/ 6935964 w 9586368"/>
                <a:gd name="connsiteY6367" fmla="*/ 1918682 h 6479439"/>
                <a:gd name="connsiteX6368" fmla="*/ 6700670 w 9586368"/>
                <a:gd name="connsiteY6368" fmla="*/ 1914645 h 6479439"/>
                <a:gd name="connsiteX6369" fmla="*/ 6710581 w 9586368"/>
                <a:gd name="connsiteY6369" fmla="*/ 1914645 h 6479439"/>
                <a:gd name="connsiteX6370" fmla="*/ 6714600 w 9586368"/>
                <a:gd name="connsiteY6370" fmla="*/ 1918683 h 6479439"/>
                <a:gd name="connsiteX6371" fmla="*/ 6714600 w 9586368"/>
                <a:gd name="connsiteY6371" fmla="*/ 1928554 h 6479439"/>
                <a:gd name="connsiteX6372" fmla="*/ 6710581 w 9586368"/>
                <a:gd name="connsiteY6372" fmla="*/ 1932594 h 6479439"/>
                <a:gd name="connsiteX6373" fmla="*/ 6700670 w 9586368"/>
                <a:gd name="connsiteY6373" fmla="*/ 1932594 h 6479439"/>
                <a:gd name="connsiteX6374" fmla="*/ 6696651 w 9586368"/>
                <a:gd name="connsiteY6374" fmla="*/ 1928554 h 6479439"/>
                <a:gd name="connsiteX6375" fmla="*/ 6696651 w 9586368"/>
                <a:gd name="connsiteY6375" fmla="*/ 1918683 h 6479439"/>
                <a:gd name="connsiteX6376" fmla="*/ 6461356 w 9586368"/>
                <a:gd name="connsiteY6376" fmla="*/ 1914645 h 6479439"/>
                <a:gd name="connsiteX6377" fmla="*/ 6471266 w 9586368"/>
                <a:gd name="connsiteY6377" fmla="*/ 1914645 h 6479439"/>
                <a:gd name="connsiteX6378" fmla="*/ 6475285 w 9586368"/>
                <a:gd name="connsiteY6378" fmla="*/ 1918683 h 6479439"/>
                <a:gd name="connsiteX6379" fmla="*/ 6475285 w 9586368"/>
                <a:gd name="connsiteY6379" fmla="*/ 1928555 h 6479439"/>
                <a:gd name="connsiteX6380" fmla="*/ 6471266 w 9586368"/>
                <a:gd name="connsiteY6380" fmla="*/ 1932594 h 6479439"/>
                <a:gd name="connsiteX6381" fmla="*/ 6461356 w 9586368"/>
                <a:gd name="connsiteY6381" fmla="*/ 1932594 h 6479439"/>
                <a:gd name="connsiteX6382" fmla="*/ 6457337 w 9586368"/>
                <a:gd name="connsiteY6382" fmla="*/ 1928555 h 6479439"/>
                <a:gd name="connsiteX6383" fmla="*/ 6457337 w 9586368"/>
                <a:gd name="connsiteY6383" fmla="*/ 1918683 h 6479439"/>
                <a:gd name="connsiteX6384" fmla="*/ 6222042 w 9586368"/>
                <a:gd name="connsiteY6384" fmla="*/ 1914645 h 6479439"/>
                <a:gd name="connsiteX6385" fmla="*/ 6231952 w 9586368"/>
                <a:gd name="connsiteY6385" fmla="*/ 1914645 h 6479439"/>
                <a:gd name="connsiteX6386" fmla="*/ 6235971 w 9586368"/>
                <a:gd name="connsiteY6386" fmla="*/ 1918683 h 6479439"/>
                <a:gd name="connsiteX6387" fmla="*/ 6235971 w 9586368"/>
                <a:gd name="connsiteY6387" fmla="*/ 1928555 h 6479439"/>
                <a:gd name="connsiteX6388" fmla="*/ 6231952 w 9586368"/>
                <a:gd name="connsiteY6388" fmla="*/ 1932594 h 6479439"/>
                <a:gd name="connsiteX6389" fmla="*/ 6222042 w 9586368"/>
                <a:gd name="connsiteY6389" fmla="*/ 1932594 h 6479439"/>
                <a:gd name="connsiteX6390" fmla="*/ 6218023 w 9586368"/>
                <a:gd name="connsiteY6390" fmla="*/ 1928555 h 6479439"/>
                <a:gd name="connsiteX6391" fmla="*/ 6218023 w 9586368"/>
                <a:gd name="connsiteY6391" fmla="*/ 1918683 h 6479439"/>
                <a:gd name="connsiteX6392" fmla="*/ 7179298 w 9586368"/>
                <a:gd name="connsiteY6392" fmla="*/ 1914627 h 6479439"/>
                <a:gd name="connsiteX6393" fmla="*/ 7189209 w 9586368"/>
                <a:gd name="connsiteY6393" fmla="*/ 1914627 h 6479439"/>
                <a:gd name="connsiteX6394" fmla="*/ 7193228 w 9586368"/>
                <a:gd name="connsiteY6394" fmla="*/ 1918666 h 6479439"/>
                <a:gd name="connsiteX6395" fmla="*/ 7193228 w 9586368"/>
                <a:gd name="connsiteY6395" fmla="*/ 1928536 h 6479439"/>
                <a:gd name="connsiteX6396" fmla="*/ 7189209 w 9586368"/>
                <a:gd name="connsiteY6396" fmla="*/ 1932575 h 6479439"/>
                <a:gd name="connsiteX6397" fmla="*/ 7179298 w 9586368"/>
                <a:gd name="connsiteY6397" fmla="*/ 1932575 h 6479439"/>
                <a:gd name="connsiteX6398" fmla="*/ 7175279 w 9586368"/>
                <a:gd name="connsiteY6398" fmla="*/ 1928536 h 6479439"/>
                <a:gd name="connsiteX6399" fmla="*/ 7175279 w 9586368"/>
                <a:gd name="connsiteY6399" fmla="*/ 1918666 h 6479439"/>
                <a:gd name="connsiteX6400" fmla="*/ 7897241 w 9586368"/>
                <a:gd name="connsiteY6400" fmla="*/ 1914627 h 6479439"/>
                <a:gd name="connsiteX6401" fmla="*/ 7907151 w 9586368"/>
                <a:gd name="connsiteY6401" fmla="*/ 1914627 h 6479439"/>
                <a:gd name="connsiteX6402" fmla="*/ 7911170 w 9586368"/>
                <a:gd name="connsiteY6402" fmla="*/ 1918664 h 6479439"/>
                <a:gd name="connsiteX6403" fmla="*/ 7911170 w 9586368"/>
                <a:gd name="connsiteY6403" fmla="*/ 1928535 h 6479439"/>
                <a:gd name="connsiteX6404" fmla="*/ 7907151 w 9586368"/>
                <a:gd name="connsiteY6404" fmla="*/ 1932575 h 6479439"/>
                <a:gd name="connsiteX6405" fmla="*/ 7897241 w 9586368"/>
                <a:gd name="connsiteY6405" fmla="*/ 1932575 h 6479439"/>
                <a:gd name="connsiteX6406" fmla="*/ 7893222 w 9586368"/>
                <a:gd name="connsiteY6406" fmla="*/ 1928535 h 6479439"/>
                <a:gd name="connsiteX6407" fmla="*/ 7893222 w 9586368"/>
                <a:gd name="connsiteY6407" fmla="*/ 1918664 h 6479439"/>
                <a:gd name="connsiteX6408" fmla="*/ 7657926 w 9586368"/>
                <a:gd name="connsiteY6408" fmla="*/ 1914627 h 6479439"/>
                <a:gd name="connsiteX6409" fmla="*/ 7667836 w 9586368"/>
                <a:gd name="connsiteY6409" fmla="*/ 1914627 h 6479439"/>
                <a:gd name="connsiteX6410" fmla="*/ 7671855 w 9586368"/>
                <a:gd name="connsiteY6410" fmla="*/ 1918664 h 6479439"/>
                <a:gd name="connsiteX6411" fmla="*/ 7671855 w 9586368"/>
                <a:gd name="connsiteY6411" fmla="*/ 1928536 h 6479439"/>
                <a:gd name="connsiteX6412" fmla="*/ 7667836 w 9586368"/>
                <a:gd name="connsiteY6412" fmla="*/ 1932575 h 6479439"/>
                <a:gd name="connsiteX6413" fmla="*/ 7657926 w 9586368"/>
                <a:gd name="connsiteY6413" fmla="*/ 1932575 h 6479439"/>
                <a:gd name="connsiteX6414" fmla="*/ 7653906 w 9586368"/>
                <a:gd name="connsiteY6414" fmla="*/ 1928536 h 6479439"/>
                <a:gd name="connsiteX6415" fmla="*/ 7653906 w 9586368"/>
                <a:gd name="connsiteY6415" fmla="*/ 1918664 h 6479439"/>
                <a:gd name="connsiteX6416" fmla="*/ 7418611 w 9586368"/>
                <a:gd name="connsiteY6416" fmla="*/ 1914627 h 6479439"/>
                <a:gd name="connsiteX6417" fmla="*/ 7428521 w 9586368"/>
                <a:gd name="connsiteY6417" fmla="*/ 1914627 h 6479439"/>
                <a:gd name="connsiteX6418" fmla="*/ 7432540 w 9586368"/>
                <a:gd name="connsiteY6418" fmla="*/ 1918664 h 6479439"/>
                <a:gd name="connsiteX6419" fmla="*/ 7432540 w 9586368"/>
                <a:gd name="connsiteY6419" fmla="*/ 1928536 h 6479439"/>
                <a:gd name="connsiteX6420" fmla="*/ 7428521 w 9586368"/>
                <a:gd name="connsiteY6420" fmla="*/ 1932575 h 6479439"/>
                <a:gd name="connsiteX6421" fmla="*/ 7418611 w 9586368"/>
                <a:gd name="connsiteY6421" fmla="*/ 1932575 h 6479439"/>
                <a:gd name="connsiteX6422" fmla="*/ 7414592 w 9586368"/>
                <a:gd name="connsiteY6422" fmla="*/ 1928536 h 6479439"/>
                <a:gd name="connsiteX6423" fmla="*/ 7414592 w 9586368"/>
                <a:gd name="connsiteY6423" fmla="*/ 1918664 h 6479439"/>
                <a:gd name="connsiteX6424" fmla="*/ 8136553 w 9586368"/>
                <a:gd name="connsiteY6424" fmla="*/ 1914626 h 6479439"/>
                <a:gd name="connsiteX6425" fmla="*/ 8146464 w 9586368"/>
                <a:gd name="connsiteY6425" fmla="*/ 1914626 h 6479439"/>
                <a:gd name="connsiteX6426" fmla="*/ 8150483 w 9586368"/>
                <a:gd name="connsiteY6426" fmla="*/ 1918664 h 6479439"/>
                <a:gd name="connsiteX6427" fmla="*/ 8150483 w 9586368"/>
                <a:gd name="connsiteY6427" fmla="*/ 1928535 h 6479439"/>
                <a:gd name="connsiteX6428" fmla="*/ 8146464 w 9586368"/>
                <a:gd name="connsiteY6428" fmla="*/ 1932575 h 6479439"/>
                <a:gd name="connsiteX6429" fmla="*/ 8136553 w 9586368"/>
                <a:gd name="connsiteY6429" fmla="*/ 1932575 h 6479439"/>
                <a:gd name="connsiteX6430" fmla="*/ 8132534 w 9586368"/>
                <a:gd name="connsiteY6430" fmla="*/ 1928535 h 6479439"/>
                <a:gd name="connsiteX6431" fmla="*/ 8132534 w 9586368"/>
                <a:gd name="connsiteY6431" fmla="*/ 1918664 h 6479439"/>
                <a:gd name="connsiteX6432" fmla="*/ 8375869 w 9586368"/>
                <a:gd name="connsiteY6432" fmla="*/ 1914608 h 6479439"/>
                <a:gd name="connsiteX6433" fmla="*/ 8385779 w 9586368"/>
                <a:gd name="connsiteY6433" fmla="*/ 1914608 h 6479439"/>
                <a:gd name="connsiteX6434" fmla="*/ 8389799 w 9586368"/>
                <a:gd name="connsiteY6434" fmla="*/ 1918647 h 6479439"/>
                <a:gd name="connsiteX6435" fmla="*/ 8389799 w 9586368"/>
                <a:gd name="connsiteY6435" fmla="*/ 1928518 h 6479439"/>
                <a:gd name="connsiteX6436" fmla="*/ 8385779 w 9586368"/>
                <a:gd name="connsiteY6436" fmla="*/ 1932557 h 6479439"/>
                <a:gd name="connsiteX6437" fmla="*/ 8375869 w 9586368"/>
                <a:gd name="connsiteY6437" fmla="*/ 1932557 h 6479439"/>
                <a:gd name="connsiteX6438" fmla="*/ 8371850 w 9586368"/>
                <a:gd name="connsiteY6438" fmla="*/ 1928518 h 6479439"/>
                <a:gd name="connsiteX6439" fmla="*/ 8371850 w 9586368"/>
                <a:gd name="connsiteY6439" fmla="*/ 1918647 h 6479439"/>
                <a:gd name="connsiteX6440" fmla="*/ 9333125 w 9586368"/>
                <a:gd name="connsiteY6440" fmla="*/ 1914608 h 6479439"/>
                <a:gd name="connsiteX6441" fmla="*/ 9343036 w 9586368"/>
                <a:gd name="connsiteY6441" fmla="*/ 1914608 h 6479439"/>
                <a:gd name="connsiteX6442" fmla="*/ 9347055 w 9586368"/>
                <a:gd name="connsiteY6442" fmla="*/ 1918646 h 6479439"/>
                <a:gd name="connsiteX6443" fmla="*/ 9347055 w 9586368"/>
                <a:gd name="connsiteY6443" fmla="*/ 1928517 h 6479439"/>
                <a:gd name="connsiteX6444" fmla="*/ 9343036 w 9586368"/>
                <a:gd name="connsiteY6444" fmla="*/ 1932557 h 6479439"/>
                <a:gd name="connsiteX6445" fmla="*/ 9333125 w 9586368"/>
                <a:gd name="connsiteY6445" fmla="*/ 1932557 h 6479439"/>
                <a:gd name="connsiteX6446" fmla="*/ 9329106 w 9586368"/>
                <a:gd name="connsiteY6446" fmla="*/ 1928517 h 6479439"/>
                <a:gd name="connsiteX6447" fmla="*/ 9329106 w 9586368"/>
                <a:gd name="connsiteY6447" fmla="*/ 1918646 h 6479439"/>
                <a:gd name="connsiteX6448" fmla="*/ 9093811 w 9586368"/>
                <a:gd name="connsiteY6448" fmla="*/ 1914608 h 6479439"/>
                <a:gd name="connsiteX6449" fmla="*/ 9103722 w 9586368"/>
                <a:gd name="connsiteY6449" fmla="*/ 1914608 h 6479439"/>
                <a:gd name="connsiteX6450" fmla="*/ 9107741 w 9586368"/>
                <a:gd name="connsiteY6450" fmla="*/ 1918646 h 6479439"/>
                <a:gd name="connsiteX6451" fmla="*/ 9107741 w 9586368"/>
                <a:gd name="connsiteY6451" fmla="*/ 1928517 h 6479439"/>
                <a:gd name="connsiteX6452" fmla="*/ 9103722 w 9586368"/>
                <a:gd name="connsiteY6452" fmla="*/ 1932557 h 6479439"/>
                <a:gd name="connsiteX6453" fmla="*/ 9093811 w 9586368"/>
                <a:gd name="connsiteY6453" fmla="*/ 1932557 h 6479439"/>
                <a:gd name="connsiteX6454" fmla="*/ 9089792 w 9586368"/>
                <a:gd name="connsiteY6454" fmla="*/ 1928517 h 6479439"/>
                <a:gd name="connsiteX6455" fmla="*/ 9089792 w 9586368"/>
                <a:gd name="connsiteY6455" fmla="*/ 1918646 h 6479439"/>
                <a:gd name="connsiteX6456" fmla="*/ 8854496 w 9586368"/>
                <a:gd name="connsiteY6456" fmla="*/ 1914608 h 6479439"/>
                <a:gd name="connsiteX6457" fmla="*/ 8864407 w 9586368"/>
                <a:gd name="connsiteY6457" fmla="*/ 1914608 h 6479439"/>
                <a:gd name="connsiteX6458" fmla="*/ 8868426 w 9586368"/>
                <a:gd name="connsiteY6458" fmla="*/ 1918646 h 6479439"/>
                <a:gd name="connsiteX6459" fmla="*/ 8868426 w 9586368"/>
                <a:gd name="connsiteY6459" fmla="*/ 1928518 h 6479439"/>
                <a:gd name="connsiteX6460" fmla="*/ 8864407 w 9586368"/>
                <a:gd name="connsiteY6460" fmla="*/ 1932557 h 6479439"/>
                <a:gd name="connsiteX6461" fmla="*/ 8854496 w 9586368"/>
                <a:gd name="connsiteY6461" fmla="*/ 1932557 h 6479439"/>
                <a:gd name="connsiteX6462" fmla="*/ 8850477 w 9586368"/>
                <a:gd name="connsiteY6462" fmla="*/ 1928518 h 6479439"/>
                <a:gd name="connsiteX6463" fmla="*/ 8850477 w 9586368"/>
                <a:gd name="connsiteY6463" fmla="*/ 1918646 h 6479439"/>
                <a:gd name="connsiteX6464" fmla="*/ 8615184 w 9586368"/>
                <a:gd name="connsiteY6464" fmla="*/ 1914608 h 6479439"/>
                <a:gd name="connsiteX6465" fmla="*/ 8625095 w 9586368"/>
                <a:gd name="connsiteY6465" fmla="*/ 1914608 h 6479439"/>
                <a:gd name="connsiteX6466" fmla="*/ 8629114 w 9586368"/>
                <a:gd name="connsiteY6466" fmla="*/ 1918646 h 6479439"/>
                <a:gd name="connsiteX6467" fmla="*/ 8629114 w 9586368"/>
                <a:gd name="connsiteY6467" fmla="*/ 1928518 h 6479439"/>
                <a:gd name="connsiteX6468" fmla="*/ 8625095 w 9586368"/>
                <a:gd name="connsiteY6468" fmla="*/ 1932557 h 6479439"/>
                <a:gd name="connsiteX6469" fmla="*/ 8615184 w 9586368"/>
                <a:gd name="connsiteY6469" fmla="*/ 1932557 h 6479439"/>
                <a:gd name="connsiteX6470" fmla="*/ 8611165 w 9586368"/>
                <a:gd name="connsiteY6470" fmla="*/ 1928518 h 6479439"/>
                <a:gd name="connsiteX6471" fmla="*/ 8611165 w 9586368"/>
                <a:gd name="connsiteY6471" fmla="*/ 1918646 h 6479439"/>
                <a:gd name="connsiteX6472" fmla="*/ 9572438 w 9586368"/>
                <a:gd name="connsiteY6472" fmla="*/ 1914590 h 6479439"/>
                <a:gd name="connsiteX6473" fmla="*/ 9582349 w 9586368"/>
                <a:gd name="connsiteY6473" fmla="*/ 1914590 h 6479439"/>
                <a:gd name="connsiteX6474" fmla="*/ 9586368 w 9586368"/>
                <a:gd name="connsiteY6474" fmla="*/ 1918629 h 6479439"/>
                <a:gd name="connsiteX6475" fmla="*/ 9586368 w 9586368"/>
                <a:gd name="connsiteY6475" fmla="*/ 1928499 h 6479439"/>
                <a:gd name="connsiteX6476" fmla="*/ 9582349 w 9586368"/>
                <a:gd name="connsiteY6476" fmla="*/ 1932538 h 6479439"/>
                <a:gd name="connsiteX6477" fmla="*/ 9572438 w 9586368"/>
                <a:gd name="connsiteY6477" fmla="*/ 1932538 h 6479439"/>
                <a:gd name="connsiteX6478" fmla="*/ 9568419 w 9586368"/>
                <a:gd name="connsiteY6478" fmla="*/ 1928499 h 6479439"/>
                <a:gd name="connsiteX6479" fmla="*/ 9568419 w 9586368"/>
                <a:gd name="connsiteY6479" fmla="*/ 1918629 h 6479439"/>
                <a:gd name="connsiteX6480" fmla="*/ 243346 w 9586368"/>
                <a:gd name="connsiteY6480" fmla="*/ 1914550 h 6479439"/>
                <a:gd name="connsiteX6481" fmla="*/ 253256 w 9586368"/>
                <a:gd name="connsiteY6481" fmla="*/ 1914550 h 6479439"/>
                <a:gd name="connsiteX6482" fmla="*/ 257275 w 9586368"/>
                <a:gd name="connsiteY6482" fmla="*/ 1918589 h 6479439"/>
                <a:gd name="connsiteX6483" fmla="*/ 257275 w 9586368"/>
                <a:gd name="connsiteY6483" fmla="*/ 1928459 h 6479439"/>
                <a:gd name="connsiteX6484" fmla="*/ 253256 w 9586368"/>
                <a:gd name="connsiteY6484" fmla="*/ 1932498 h 6479439"/>
                <a:gd name="connsiteX6485" fmla="*/ 243346 w 9586368"/>
                <a:gd name="connsiteY6485" fmla="*/ 1932498 h 6479439"/>
                <a:gd name="connsiteX6486" fmla="*/ 239327 w 9586368"/>
                <a:gd name="connsiteY6486" fmla="*/ 1928459 h 6479439"/>
                <a:gd name="connsiteX6487" fmla="*/ 239327 w 9586368"/>
                <a:gd name="connsiteY6487" fmla="*/ 1918589 h 6479439"/>
                <a:gd name="connsiteX6488" fmla="*/ 4032 w 9586368"/>
                <a:gd name="connsiteY6488" fmla="*/ 1914550 h 6479439"/>
                <a:gd name="connsiteX6489" fmla="*/ 13943 w 9586368"/>
                <a:gd name="connsiteY6489" fmla="*/ 1914550 h 6479439"/>
                <a:gd name="connsiteX6490" fmla="*/ 17962 w 9586368"/>
                <a:gd name="connsiteY6490" fmla="*/ 1918589 h 6479439"/>
                <a:gd name="connsiteX6491" fmla="*/ 17962 w 9586368"/>
                <a:gd name="connsiteY6491" fmla="*/ 1928459 h 6479439"/>
                <a:gd name="connsiteX6492" fmla="*/ 13943 w 9586368"/>
                <a:gd name="connsiteY6492" fmla="*/ 1932498 h 6479439"/>
                <a:gd name="connsiteX6493" fmla="*/ 4032 w 9586368"/>
                <a:gd name="connsiteY6493" fmla="*/ 1932498 h 6479439"/>
                <a:gd name="connsiteX6494" fmla="*/ 13 w 9586368"/>
                <a:gd name="connsiteY6494" fmla="*/ 1928459 h 6479439"/>
                <a:gd name="connsiteX6495" fmla="*/ 13 w 9586368"/>
                <a:gd name="connsiteY6495" fmla="*/ 1918589 h 6479439"/>
                <a:gd name="connsiteX6496" fmla="*/ 721971 w 9586368"/>
                <a:gd name="connsiteY6496" fmla="*/ 1914550 h 6479439"/>
                <a:gd name="connsiteX6497" fmla="*/ 731882 w 9586368"/>
                <a:gd name="connsiteY6497" fmla="*/ 1914550 h 6479439"/>
                <a:gd name="connsiteX6498" fmla="*/ 735901 w 9586368"/>
                <a:gd name="connsiteY6498" fmla="*/ 1918588 h 6479439"/>
                <a:gd name="connsiteX6499" fmla="*/ 735901 w 9586368"/>
                <a:gd name="connsiteY6499" fmla="*/ 1928459 h 6479439"/>
                <a:gd name="connsiteX6500" fmla="*/ 731882 w 9586368"/>
                <a:gd name="connsiteY6500" fmla="*/ 1932497 h 6479439"/>
                <a:gd name="connsiteX6501" fmla="*/ 721971 w 9586368"/>
                <a:gd name="connsiteY6501" fmla="*/ 1932497 h 6479439"/>
                <a:gd name="connsiteX6502" fmla="*/ 717953 w 9586368"/>
                <a:gd name="connsiteY6502" fmla="*/ 1928459 h 6479439"/>
                <a:gd name="connsiteX6503" fmla="*/ 717953 w 9586368"/>
                <a:gd name="connsiteY6503" fmla="*/ 1918588 h 6479439"/>
                <a:gd name="connsiteX6504" fmla="*/ 482660 w 9586368"/>
                <a:gd name="connsiteY6504" fmla="*/ 1914550 h 6479439"/>
                <a:gd name="connsiteX6505" fmla="*/ 492570 w 9586368"/>
                <a:gd name="connsiteY6505" fmla="*/ 1914550 h 6479439"/>
                <a:gd name="connsiteX6506" fmla="*/ 496589 w 9586368"/>
                <a:gd name="connsiteY6506" fmla="*/ 1918588 h 6479439"/>
                <a:gd name="connsiteX6507" fmla="*/ 496589 w 9586368"/>
                <a:gd name="connsiteY6507" fmla="*/ 1928459 h 6479439"/>
                <a:gd name="connsiteX6508" fmla="*/ 492570 w 9586368"/>
                <a:gd name="connsiteY6508" fmla="*/ 1932497 h 6479439"/>
                <a:gd name="connsiteX6509" fmla="*/ 482660 w 9586368"/>
                <a:gd name="connsiteY6509" fmla="*/ 1932497 h 6479439"/>
                <a:gd name="connsiteX6510" fmla="*/ 478640 w 9586368"/>
                <a:gd name="connsiteY6510" fmla="*/ 1928459 h 6479439"/>
                <a:gd name="connsiteX6511" fmla="*/ 478640 w 9586368"/>
                <a:gd name="connsiteY6511" fmla="*/ 1918588 h 6479439"/>
                <a:gd name="connsiteX6512" fmla="*/ 1679215 w 9586368"/>
                <a:gd name="connsiteY6512" fmla="*/ 1914535 h 6479439"/>
                <a:gd name="connsiteX6513" fmla="*/ 1689125 w 9586368"/>
                <a:gd name="connsiteY6513" fmla="*/ 1914535 h 6479439"/>
                <a:gd name="connsiteX6514" fmla="*/ 1693144 w 9586368"/>
                <a:gd name="connsiteY6514" fmla="*/ 1918573 h 6479439"/>
                <a:gd name="connsiteX6515" fmla="*/ 1693144 w 9586368"/>
                <a:gd name="connsiteY6515" fmla="*/ 1928444 h 6479439"/>
                <a:gd name="connsiteX6516" fmla="*/ 1689125 w 9586368"/>
                <a:gd name="connsiteY6516" fmla="*/ 1932482 h 6479439"/>
                <a:gd name="connsiteX6517" fmla="*/ 1679215 w 9586368"/>
                <a:gd name="connsiteY6517" fmla="*/ 1932482 h 6479439"/>
                <a:gd name="connsiteX6518" fmla="*/ 1675195 w 9586368"/>
                <a:gd name="connsiteY6518" fmla="*/ 1928444 h 6479439"/>
                <a:gd name="connsiteX6519" fmla="*/ 1675195 w 9586368"/>
                <a:gd name="connsiteY6519" fmla="*/ 1918573 h 6479439"/>
                <a:gd name="connsiteX6520" fmla="*/ 1439897 w 9586368"/>
                <a:gd name="connsiteY6520" fmla="*/ 1914535 h 6479439"/>
                <a:gd name="connsiteX6521" fmla="*/ 1449808 w 9586368"/>
                <a:gd name="connsiteY6521" fmla="*/ 1914535 h 6479439"/>
                <a:gd name="connsiteX6522" fmla="*/ 1453827 w 9586368"/>
                <a:gd name="connsiteY6522" fmla="*/ 1918573 h 6479439"/>
                <a:gd name="connsiteX6523" fmla="*/ 1453827 w 9586368"/>
                <a:gd name="connsiteY6523" fmla="*/ 1928444 h 6479439"/>
                <a:gd name="connsiteX6524" fmla="*/ 1449808 w 9586368"/>
                <a:gd name="connsiteY6524" fmla="*/ 1932483 h 6479439"/>
                <a:gd name="connsiteX6525" fmla="*/ 1439897 w 9586368"/>
                <a:gd name="connsiteY6525" fmla="*/ 1932483 h 6479439"/>
                <a:gd name="connsiteX6526" fmla="*/ 1435879 w 9586368"/>
                <a:gd name="connsiteY6526" fmla="*/ 1928444 h 6479439"/>
                <a:gd name="connsiteX6527" fmla="*/ 1435879 w 9586368"/>
                <a:gd name="connsiteY6527" fmla="*/ 1918573 h 6479439"/>
                <a:gd name="connsiteX6528" fmla="*/ 1200582 w 9586368"/>
                <a:gd name="connsiteY6528" fmla="*/ 1914535 h 6479439"/>
                <a:gd name="connsiteX6529" fmla="*/ 1210492 w 9586368"/>
                <a:gd name="connsiteY6529" fmla="*/ 1914535 h 6479439"/>
                <a:gd name="connsiteX6530" fmla="*/ 1214511 w 9586368"/>
                <a:gd name="connsiteY6530" fmla="*/ 1918573 h 6479439"/>
                <a:gd name="connsiteX6531" fmla="*/ 1214511 w 9586368"/>
                <a:gd name="connsiteY6531" fmla="*/ 1928444 h 6479439"/>
                <a:gd name="connsiteX6532" fmla="*/ 1210492 w 9586368"/>
                <a:gd name="connsiteY6532" fmla="*/ 1932483 h 6479439"/>
                <a:gd name="connsiteX6533" fmla="*/ 1200582 w 9586368"/>
                <a:gd name="connsiteY6533" fmla="*/ 1932483 h 6479439"/>
                <a:gd name="connsiteX6534" fmla="*/ 1196563 w 9586368"/>
                <a:gd name="connsiteY6534" fmla="*/ 1928444 h 6479439"/>
                <a:gd name="connsiteX6535" fmla="*/ 1196563 w 9586368"/>
                <a:gd name="connsiteY6535" fmla="*/ 1918573 h 6479439"/>
                <a:gd name="connsiteX6536" fmla="*/ 961269 w 9586368"/>
                <a:gd name="connsiteY6536" fmla="*/ 1914535 h 6479439"/>
                <a:gd name="connsiteX6537" fmla="*/ 971179 w 9586368"/>
                <a:gd name="connsiteY6537" fmla="*/ 1914535 h 6479439"/>
                <a:gd name="connsiteX6538" fmla="*/ 975198 w 9586368"/>
                <a:gd name="connsiteY6538" fmla="*/ 1918573 h 6479439"/>
                <a:gd name="connsiteX6539" fmla="*/ 975198 w 9586368"/>
                <a:gd name="connsiteY6539" fmla="*/ 1928444 h 6479439"/>
                <a:gd name="connsiteX6540" fmla="*/ 971179 w 9586368"/>
                <a:gd name="connsiteY6540" fmla="*/ 1932483 h 6479439"/>
                <a:gd name="connsiteX6541" fmla="*/ 961269 w 9586368"/>
                <a:gd name="connsiteY6541" fmla="*/ 1932483 h 6479439"/>
                <a:gd name="connsiteX6542" fmla="*/ 957250 w 9586368"/>
                <a:gd name="connsiteY6542" fmla="*/ 1928444 h 6479439"/>
                <a:gd name="connsiteX6543" fmla="*/ 957250 w 9586368"/>
                <a:gd name="connsiteY6543" fmla="*/ 1918573 h 6479439"/>
                <a:gd name="connsiteX6544" fmla="*/ 1918513 w 9586368"/>
                <a:gd name="connsiteY6544" fmla="*/ 1914523 h 6479439"/>
                <a:gd name="connsiteX6545" fmla="*/ 1928424 w 9586368"/>
                <a:gd name="connsiteY6545" fmla="*/ 1914523 h 6479439"/>
                <a:gd name="connsiteX6546" fmla="*/ 1932443 w 9586368"/>
                <a:gd name="connsiteY6546" fmla="*/ 1918562 h 6479439"/>
                <a:gd name="connsiteX6547" fmla="*/ 1932443 w 9586368"/>
                <a:gd name="connsiteY6547" fmla="*/ 1928432 h 6479439"/>
                <a:gd name="connsiteX6548" fmla="*/ 1928424 w 9586368"/>
                <a:gd name="connsiteY6548" fmla="*/ 1932471 h 6479439"/>
                <a:gd name="connsiteX6549" fmla="*/ 1918513 w 9586368"/>
                <a:gd name="connsiteY6549" fmla="*/ 1932471 h 6479439"/>
                <a:gd name="connsiteX6550" fmla="*/ 1914494 w 9586368"/>
                <a:gd name="connsiteY6550" fmla="*/ 1928432 h 6479439"/>
                <a:gd name="connsiteX6551" fmla="*/ 1914494 w 9586368"/>
                <a:gd name="connsiteY6551" fmla="*/ 1918562 h 6479439"/>
                <a:gd name="connsiteX6552" fmla="*/ 2157821 w 9586368"/>
                <a:gd name="connsiteY6552" fmla="*/ 1914520 h 6479439"/>
                <a:gd name="connsiteX6553" fmla="*/ 2167732 w 9586368"/>
                <a:gd name="connsiteY6553" fmla="*/ 1914520 h 6479439"/>
                <a:gd name="connsiteX6554" fmla="*/ 2171751 w 9586368"/>
                <a:gd name="connsiteY6554" fmla="*/ 1918558 h 6479439"/>
                <a:gd name="connsiteX6555" fmla="*/ 2171751 w 9586368"/>
                <a:gd name="connsiteY6555" fmla="*/ 1928428 h 6479439"/>
                <a:gd name="connsiteX6556" fmla="*/ 2167732 w 9586368"/>
                <a:gd name="connsiteY6556" fmla="*/ 1932467 h 6479439"/>
                <a:gd name="connsiteX6557" fmla="*/ 2157821 w 9586368"/>
                <a:gd name="connsiteY6557" fmla="*/ 1932467 h 6479439"/>
                <a:gd name="connsiteX6558" fmla="*/ 2153803 w 9586368"/>
                <a:gd name="connsiteY6558" fmla="*/ 1928428 h 6479439"/>
                <a:gd name="connsiteX6559" fmla="*/ 2153803 w 9586368"/>
                <a:gd name="connsiteY6559" fmla="*/ 1918558 h 6479439"/>
                <a:gd name="connsiteX6560" fmla="*/ 2871737 w 9586368"/>
                <a:gd name="connsiteY6560" fmla="*/ 1675350 h 6479439"/>
                <a:gd name="connsiteX6561" fmla="*/ 2881646 w 9586368"/>
                <a:gd name="connsiteY6561" fmla="*/ 1675350 h 6479439"/>
                <a:gd name="connsiteX6562" fmla="*/ 2885666 w 9586368"/>
                <a:gd name="connsiteY6562" fmla="*/ 1679389 h 6479439"/>
                <a:gd name="connsiteX6563" fmla="*/ 2885666 w 9586368"/>
                <a:gd name="connsiteY6563" fmla="*/ 1689260 h 6479439"/>
                <a:gd name="connsiteX6564" fmla="*/ 2881646 w 9586368"/>
                <a:gd name="connsiteY6564" fmla="*/ 1693299 h 6479439"/>
                <a:gd name="connsiteX6565" fmla="*/ 2871737 w 9586368"/>
                <a:gd name="connsiteY6565" fmla="*/ 1693299 h 6479439"/>
                <a:gd name="connsiteX6566" fmla="*/ 2867717 w 9586368"/>
                <a:gd name="connsiteY6566" fmla="*/ 1689260 h 6479439"/>
                <a:gd name="connsiteX6567" fmla="*/ 2867717 w 9586368"/>
                <a:gd name="connsiteY6567" fmla="*/ 1679389 h 6479439"/>
                <a:gd name="connsiteX6568" fmla="*/ 2632423 w 9586368"/>
                <a:gd name="connsiteY6568" fmla="*/ 1675350 h 6479439"/>
                <a:gd name="connsiteX6569" fmla="*/ 2642334 w 9586368"/>
                <a:gd name="connsiteY6569" fmla="*/ 1675350 h 6479439"/>
                <a:gd name="connsiteX6570" fmla="*/ 2646352 w 9586368"/>
                <a:gd name="connsiteY6570" fmla="*/ 1679389 h 6479439"/>
                <a:gd name="connsiteX6571" fmla="*/ 2646352 w 9586368"/>
                <a:gd name="connsiteY6571" fmla="*/ 1689260 h 6479439"/>
                <a:gd name="connsiteX6572" fmla="*/ 2642334 w 9586368"/>
                <a:gd name="connsiteY6572" fmla="*/ 1693299 h 6479439"/>
                <a:gd name="connsiteX6573" fmla="*/ 2632423 w 9586368"/>
                <a:gd name="connsiteY6573" fmla="*/ 1693299 h 6479439"/>
                <a:gd name="connsiteX6574" fmla="*/ 2628404 w 9586368"/>
                <a:gd name="connsiteY6574" fmla="*/ 1689260 h 6479439"/>
                <a:gd name="connsiteX6575" fmla="*/ 2628404 w 9586368"/>
                <a:gd name="connsiteY6575" fmla="*/ 1679389 h 6479439"/>
                <a:gd name="connsiteX6576" fmla="*/ 2393104 w 9586368"/>
                <a:gd name="connsiteY6576" fmla="*/ 1675350 h 6479439"/>
                <a:gd name="connsiteX6577" fmla="*/ 2403015 w 9586368"/>
                <a:gd name="connsiteY6577" fmla="*/ 1675350 h 6479439"/>
                <a:gd name="connsiteX6578" fmla="*/ 2407034 w 9586368"/>
                <a:gd name="connsiteY6578" fmla="*/ 1679389 h 6479439"/>
                <a:gd name="connsiteX6579" fmla="*/ 2407034 w 9586368"/>
                <a:gd name="connsiteY6579" fmla="*/ 1689260 h 6479439"/>
                <a:gd name="connsiteX6580" fmla="*/ 2403015 w 9586368"/>
                <a:gd name="connsiteY6580" fmla="*/ 1693299 h 6479439"/>
                <a:gd name="connsiteX6581" fmla="*/ 2393104 w 9586368"/>
                <a:gd name="connsiteY6581" fmla="*/ 1693299 h 6479439"/>
                <a:gd name="connsiteX6582" fmla="*/ 2389087 w 9586368"/>
                <a:gd name="connsiteY6582" fmla="*/ 1689260 h 6479439"/>
                <a:gd name="connsiteX6583" fmla="*/ 2389087 w 9586368"/>
                <a:gd name="connsiteY6583" fmla="*/ 1679389 h 6479439"/>
                <a:gd name="connsiteX6584" fmla="*/ 3350359 w 9586368"/>
                <a:gd name="connsiteY6584" fmla="*/ 1675349 h 6479439"/>
                <a:gd name="connsiteX6585" fmla="*/ 3360268 w 9586368"/>
                <a:gd name="connsiteY6585" fmla="*/ 1675349 h 6479439"/>
                <a:gd name="connsiteX6586" fmla="*/ 3364287 w 9586368"/>
                <a:gd name="connsiteY6586" fmla="*/ 1679388 h 6479439"/>
                <a:gd name="connsiteX6587" fmla="*/ 3364287 w 9586368"/>
                <a:gd name="connsiteY6587" fmla="*/ 1689260 h 6479439"/>
                <a:gd name="connsiteX6588" fmla="*/ 3360268 w 9586368"/>
                <a:gd name="connsiteY6588" fmla="*/ 1693298 h 6479439"/>
                <a:gd name="connsiteX6589" fmla="*/ 3350359 w 9586368"/>
                <a:gd name="connsiteY6589" fmla="*/ 1693298 h 6479439"/>
                <a:gd name="connsiteX6590" fmla="*/ 3346340 w 9586368"/>
                <a:gd name="connsiteY6590" fmla="*/ 1689260 h 6479439"/>
                <a:gd name="connsiteX6591" fmla="*/ 3346340 w 9586368"/>
                <a:gd name="connsiteY6591" fmla="*/ 1679388 h 6479439"/>
                <a:gd name="connsiteX6592" fmla="*/ 3111048 w 9586368"/>
                <a:gd name="connsiteY6592" fmla="*/ 1675349 h 6479439"/>
                <a:gd name="connsiteX6593" fmla="*/ 3120959 w 9586368"/>
                <a:gd name="connsiteY6593" fmla="*/ 1675349 h 6479439"/>
                <a:gd name="connsiteX6594" fmla="*/ 3124977 w 9586368"/>
                <a:gd name="connsiteY6594" fmla="*/ 1679388 h 6479439"/>
                <a:gd name="connsiteX6595" fmla="*/ 3124977 w 9586368"/>
                <a:gd name="connsiteY6595" fmla="*/ 1689260 h 6479439"/>
                <a:gd name="connsiteX6596" fmla="*/ 3120959 w 9586368"/>
                <a:gd name="connsiteY6596" fmla="*/ 1693299 h 6479439"/>
                <a:gd name="connsiteX6597" fmla="*/ 3111048 w 9586368"/>
                <a:gd name="connsiteY6597" fmla="*/ 1693299 h 6479439"/>
                <a:gd name="connsiteX6598" fmla="*/ 3107029 w 9586368"/>
                <a:gd name="connsiteY6598" fmla="*/ 1689260 h 6479439"/>
                <a:gd name="connsiteX6599" fmla="*/ 3107029 w 9586368"/>
                <a:gd name="connsiteY6599" fmla="*/ 1679388 h 6479439"/>
                <a:gd name="connsiteX6600" fmla="*/ 4068297 w 9586368"/>
                <a:gd name="connsiteY6600" fmla="*/ 1675334 h 6479439"/>
                <a:gd name="connsiteX6601" fmla="*/ 4078210 w 9586368"/>
                <a:gd name="connsiteY6601" fmla="*/ 1675334 h 6479439"/>
                <a:gd name="connsiteX6602" fmla="*/ 4082229 w 9586368"/>
                <a:gd name="connsiteY6602" fmla="*/ 1679373 h 6479439"/>
                <a:gd name="connsiteX6603" fmla="*/ 4082229 w 9586368"/>
                <a:gd name="connsiteY6603" fmla="*/ 1689243 h 6479439"/>
                <a:gd name="connsiteX6604" fmla="*/ 4078210 w 9586368"/>
                <a:gd name="connsiteY6604" fmla="*/ 1693282 h 6479439"/>
                <a:gd name="connsiteX6605" fmla="*/ 4068297 w 9586368"/>
                <a:gd name="connsiteY6605" fmla="*/ 1693282 h 6479439"/>
                <a:gd name="connsiteX6606" fmla="*/ 4064278 w 9586368"/>
                <a:gd name="connsiteY6606" fmla="*/ 1689243 h 6479439"/>
                <a:gd name="connsiteX6607" fmla="*/ 4064278 w 9586368"/>
                <a:gd name="connsiteY6607" fmla="*/ 1679373 h 6479439"/>
                <a:gd name="connsiteX6608" fmla="*/ 3828990 w 9586368"/>
                <a:gd name="connsiteY6608" fmla="*/ 1675334 h 6479439"/>
                <a:gd name="connsiteX6609" fmla="*/ 3838899 w 9586368"/>
                <a:gd name="connsiteY6609" fmla="*/ 1675334 h 6479439"/>
                <a:gd name="connsiteX6610" fmla="*/ 3842917 w 9586368"/>
                <a:gd name="connsiteY6610" fmla="*/ 1679373 h 6479439"/>
                <a:gd name="connsiteX6611" fmla="*/ 3842917 w 9586368"/>
                <a:gd name="connsiteY6611" fmla="*/ 1689243 h 6479439"/>
                <a:gd name="connsiteX6612" fmla="*/ 3838899 w 9586368"/>
                <a:gd name="connsiteY6612" fmla="*/ 1693282 h 6479439"/>
                <a:gd name="connsiteX6613" fmla="*/ 3828990 w 9586368"/>
                <a:gd name="connsiteY6613" fmla="*/ 1693282 h 6479439"/>
                <a:gd name="connsiteX6614" fmla="*/ 3824971 w 9586368"/>
                <a:gd name="connsiteY6614" fmla="*/ 1689243 h 6479439"/>
                <a:gd name="connsiteX6615" fmla="*/ 3824971 w 9586368"/>
                <a:gd name="connsiteY6615" fmla="*/ 1679373 h 6479439"/>
                <a:gd name="connsiteX6616" fmla="*/ 3589676 w 9586368"/>
                <a:gd name="connsiteY6616" fmla="*/ 1675334 h 6479439"/>
                <a:gd name="connsiteX6617" fmla="*/ 3599585 w 9586368"/>
                <a:gd name="connsiteY6617" fmla="*/ 1675334 h 6479439"/>
                <a:gd name="connsiteX6618" fmla="*/ 3603604 w 9586368"/>
                <a:gd name="connsiteY6618" fmla="*/ 1679373 h 6479439"/>
                <a:gd name="connsiteX6619" fmla="*/ 3603604 w 9586368"/>
                <a:gd name="connsiteY6619" fmla="*/ 1689243 h 6479439"/>
                <a:gd name="connsiteX6620" fmla="*/ 3599585 w 9586368"/>
                <a:gd name="connsiteY6620" fmla="*/ 1693282 h 6479439"/>
                <a:gd name="connsiteX6621" fmla="*/ 3589676 w 9586368"/>
                <a:gd name="connsiteY6621" fmla="*/ 1693282 h 6479439"/>
                <a:gd name="connsiteX6622" fmla="*/ 3585657 w 9586368"/>
                <a:gd name="connsiteY6622" fmla="*/ 1689243 h 6479439"/>
                <a:gd name="connsiteX6623" fmla="*/ 3585657 w 9586368"/>
                <a:gd name="connsiteY6623" fmla="*/ 1679373 h 6479439"/>
                <a:gd name="connsiteX6624" fmla="*/ 4546929 w 9586368"/>
                <a:gd name="connsiteY6624" fmla="*/ 1675333 h 6479439"/>
                <a:gd name="connsiteX6625" fmla="*/ 4556840 w 9586368"/>
                <a:gd name="connsiteY6625" fmla="*/ 1675333 h 6479439"/>
                <a:gd name="connsiteX6626" fmla="*/ 4560859 w 9586368"/>
                <a:gd name="connsiteY6626" fmla="*/ 1679372 h 6479439"/>
                <a:gd name="connsiteX6627" fmla="*/ 4560859 w 9586368"/>
                <a:gd name="connsiteY6627" fmla="*/ 1689243 h 6479439"/>
                <a:gd name="connsiteX6628" fmla="*/ 4556840 w 9586368"/>
                <a:gd name="connsiteY6628" fmla="*/ 1693281 h 6479439"/>
                <a:gd name="connsiteX6629" fmla="*/ 4546929 w 9586368"/>
                <a:gd name="connsiteY6629" fmla="*/ 1693281 h 6479439"/>
                <a:gd name="connsiteX6630" fmla="*/ 4542910 w 9586368"/>
                <a:gd name="connsiteY6630" fmla="*/ 1689243 h 6479439"/>
                <a:gd name="connsiteX6631" fmla="*/ 4542910 w 9586368"/>
                <a:gd name="connsiteY6631" fmla="*/ 1679372 h 6479439"/>
                <a:gd name="connsiteX6632" fmla="*/ 4307612 w 9586368"/>
                <a:gd name="connsiteY6632" fmla="*/ 1675333 h 6479439"/>
                <a:gd name="connsiteX6633" fmla="*/ 4317523 w 9586368"/>
                <a:gd name="connsiteY6633" fmla="*/ 1675333 h 6479439"/>
                <a:gd name="connsiteX6634" fmla="*/ 4321543 w 9586368"/>
                <a:gd name="connsiteY6634" fmla="*/ 1679372 h 6479439"/>
                <a:gd name="connsiteX6635" fmla="*/ 4321543 w 9586368"/>
                <a:gd name="connsiteY6635" fmla="*/ 1689243 h 6479439"/>
                <a:gd name="connsiteX6636" fmla="*/ 4317523 w 9586368"/>
                <a:gd name="connsiteY6636" fmla="*/ 1693282 h 6479439"/>
                <a:gd name="connsiteX6637" fmla="*/ 4307612 w 9586368"/>
                <a:gd name="connsiteY6637" fmla="*/ 1693282 h 6479439"/>
                <a:gd name="connsiteX6638" fmla="*/ 4303595 w 9586368"/>
                <a:gd name="connsiteY6638" fmla="*/ 1689243 h 6479439"/>
                <a:gd name="connsiteX6639" fmla="*/ 4303595 w 9586368"/>
                <a:gd name="connsiteY6639" fmla="*/ 1679372 h 6479439"/>
                <a:gd name="connsiteX6640" fmla="*/ 5264784 w 9586368"/>
                <a:gd name="connsiteY6640" fmla="*/ 1675318 h 6479439"/>
                <a:gd name="connsiteX6641" fmla="*/ 5274694 w 9586368"/>
                <a:gd name="connsiteY6641" fmla="*/ 1675318 h 6479439"/>
                <a:gd name="connsiteX6642" fmla="*/ 5278713 w 9586368"/>
                <a:gd name="connsiteY6642" fmla="*/ 1679357 h 6479439"/>
                <a:gd name="connsiteX6643" fmla="*/ 5278713 w 9586368"/>
                <a:gd name="connsiteY6643" fmla="*/ 1689227 h 6479439"/>
                <a:gd name="connsiteX6644" fmla="*/ 5274694 w 9586368"/>
                <a:gd name="connsiteY6644" fmla="*/ 1693266 h 6479439"/>
                <a:gd name="connsiteX6645" fmla="*/ 5264784 w 9586368"/>
                <a:gd name="connsiteY6645" fmla="*/ 1693266 h 6479439"/>
                <a:gd name="connsiteX6646" fmla="*/ 5260765 w 9586368"/>
                <a:gd name="connsiteY6646" fmla="*/ 1689227 h 6479439"/>
                <a:gd name="connsiteX6647" fmla="*/ 5260765 w 9586368"/>
                <a:gd name="connsiteY6647" fmla="*/ 1679357 h 6479439"/>
                <a:gd name="connsiteX6648" fmla="*/ 5025470 w 9586368"/>
                <a:gd name="connsiteY6648" fmla="*/ 1675318 h 6479439"/>
                <a:gd name="connsiteX6649" fmla="*/ 5035381 w 9586368"/>
                <a:gd name="connsiteY6649" fmla="*/ 1675318 h 6479439"/>
                <a:gd name="connsiteX6650" fmla="*/ 5039400 w 9586368"/>
                <a:gd name="connsiteY6650" fmla="*/ 1679357 h 6479439"/>
                <a:gd name="connsiteX6651" fmla="*/ 5039400 w 9586368"/>
                <a:gd name="connsiteY6651" fmla="*/ 1689227 h 6479439"/>
                <a:gd name="connsiteX6652" fmla="*/ 5035381 w 9586368"/>
                <a:gd name="connsiteY6652" fmla="*/ 1693266 h 6479439"/>
                <a:gd name="connsiteX6653" fmla="*/ 5025470 w 9586368"/>
                <a:gd name="connsiteY6653" fmla="*/ 1693266 h 6479439"/>
                <a:gd name="connsiteX6654" fmla="*/ 5021451 w 9586368"/>
                <a:gd name="connsiteY6654" fmla="*/ 1689227 h 6479439"/>
                <a:gd name="connsiteX6655" fmla="*/ 5021451 w 9586368"/>
                <a:gd name="connsiteY6655" fmla="*/ 1679357 h 6479439"/>
                <a:gd name="connsiteX6656" fmla="*/ 4786241 w 9586368"/>
                <a:gd name="connsiteY6656" fmla="*/ 1675318 h 6479439"/>
                <a:gd name="connsiteX6657" fmla="*/ 4796152 w 9586368"/>
                <a:gd name="connsiteY6657" fmla="*/ 1675318 h 6479439"/>
                <a:gd name="connsiteX6658" fmla="*/ 4800171 w 9586368"/>
                <a:gd name="connsiteY6658" fmla="*/ 1679357 h 6479439"/>
                <a:gd name="connsiteX6659" fmla="*/ 4800171 w 9586368"/>
                <a:gd name="connsiteY6659" fmla="*/ 1689227 h 6479439"/>
                <a:gd name="connsiteX6660" fmla="*/ 4796152 w 9586368"/>
                <a:gd name="connsiteY6660" fmla="*/ 1693266 h 6479439"/>
                <a:gd name="connsiteX6661" fmla="*/ 4786241 w 9586368"/>
                <a:gd name="connsiteY6661" fmla="*/ 1693266 h 6479439"/>
                <a:gd name="connsiteX6662" fmla="*/ 4782224 w 9586368"/>
                <a:gd name="connsiteY6662" fmla="*/ 1689227 h 6479439"/>
                <a:gd name="connsiteX6663" fmla="*/ 4782224 w 9586368"/>
                <a:gd name="connsiteY6663" fmla="*/ 1679357 h 6479439"/>
                <a:gd name="connsiteX6664" fmla="*/ 5743412 w 9586368"/>
                <a:gd name="connsiteY6664" fmla="*/ 1675316 h 6479439"/>
                <a:gd name="connsiteX6665" fmla="*/ 5753323 w 9586368"/>
                <a:gd name="connsiteY6665" fmla="*/ 1675316 h 6479439"/>
                <a:gd name="connsiteX6666" fmla="*/ 5757342 w 9586368"/>
                <a:gd name="connsiteY6666" fmla="*/ 1679356 h 6479439"/>
                <a:gd name="connsiteX6667" fmla="*/ 5757342 w 9586368"/>
                <a:gd name="connsiteY6667" fmla="*/ 1689227 h 6479439"/>
                <a:gd name="connsiteX6668" fmla="*/ 5753323 w 9586368"/>
                <a:gd name="connsiteY6668" fmla="*/ 1693266 h 6479439"/>
                <a:gd name="connsiteX6669" fmla="*/ 5743412 w 9586368"/>
                <a:gd name="connsiteY6669" fmla="*/ 1693266 h 6479439"/>
                <a:gd name="connsiteX6670" fmla="*/ 5739393 w 9586368"/>
                <a:gd name="connsiteY6670" fmla="*/ 1689227 h 6479439"/>
                <a:gd name="connsiteX6671" fmla="*/ 5739393 w 9586368"/>
                <a:gd name="connsiteY6671" fmla="*/ 1679356 h 6479439"/>
                <a:gd name="connsiteX6672" fmla="*/ 5504099 w 9586368"/>
                <a:gd name="connsiteY6672" fmla="*/ 1675316 h 6479439"/>
                <a:gd name="connsiteX6673" fmla="*/ 5514010 w 9586368"/>
                <a:gd name="connsiteY6673" fmla="*/ 1675316 h 6479439"/>
                <a:gd name="connsiteX6674" fmla="*/ 5518029 w 9586368"/>
                <a:gd name="connsiteY6674" fmla="*/ 1679356 h 6479439"/>
                <a:gd name="connsiteX6675" fmla="*/ 5518029 w 9586368"/>
                <a:gd name="connsiteY6675" fmla="*/ 1689227 h 6479439"/>
                <a:gd name="connsiteX6676" fmla="*/ 5514010 w 9586368"/>
                <a:gd name="connsiteY6676" fmla="*/ 1693266 h 6479439"/>
                <a:gd name="connsiteX6677" fmla="*/ 5504099 w 9586368"/>
                <a:gd name="connsiteY6677" fmla="*/ 1693266 h 6479439"/>
                <a:gd name="connsiteX6678" fmla="*/ 5500080 w 9586368"/>
                <a:gd name="connsiteY6678" fmla="*/ 1689227 h 6479439"/>
                <a:gd name="connsiteX6679" fmla="*/ 5500080 w 9586368"/>
                <a:gd name="connsiteY6679" fmla="*/ 1679356 h 6479439"/>
                <a:gd name="connsiteX6680" fmla="*/ 6461356 w 9586368"/>
                <a:gd name="connsiteY6680" fmla="*/ 1675301 h 6479439"/>
                <a:gd name="connsiteX6681" fmla="*/ 6471266 w 9586368"/>
                <a:gd name="connsiteY6681" fmla="*/ 1675301 h 6479439"/>
                <a:gd name="connsiteX6682" fmla="*/ 6475285 w 9586368"/>
                <a:gd name="connsiteY6682" fmla="*/ 1679339 h 6479439"/>
                <a:gd name="connsiteX6683" fmla="*/ 6475285 w 9586368"/>
                <a:gd name="connsiteY6683" fmla="*/ 1689210 h 6479439"/>
                <a:gd name="connsiteX6684" fmla="*/ 6471266 w 9586368"/>
                <a:gd name="connsiteY6684" fmla="*/ 1693249 h 6479439"/>
                <a:gd name="connsiteX6685" fmla="*/ 6461356 w 9586368"/>
                <a:gd name="connsiteY6685" fmla="*/ 1693249 h 6479439"/>
                <a:gd name="connsiteX6686" fmla="*/ 6457337 w 9586368"/>
                <a:gd name="connsiteY6686" fmla="*/ 1689210 h 6479439"/>
                <a:gd name="connsiteX6687" fmla="*/ 6457337 w 9586368"/>
                <a:gd name="connsiteY6687" fmla="*/ 1679339 h 6479439"/>
                <a:gd name="connsiteX6688" fmla="*/ 6222042 w 9586368"/>
                <a:gd name="connsiteY6688" fmla="*/ 1675301 h 6479439"/>
                <a:gd name="connsiteX6689" fmla="*/ 6231952 w 9586368"/>
                <a:gd name="connsiteY6689" fmla="*/ 1675301 h 6479439"/>
                <a:gd name="connsiteX6690" fmla="*/ 6235971 w 9586368"/>
                <a:gd name="connsiteY6690" fmla="*/ 1679339 h 6479439"/>
                <a:gd name="connsiteX6691" fmla="*/ 6235971 w 9586368"/>
                <a:gd name="connsiteY6691" fmla="*/ 1689211 h 6479439"/>
                <a:gd name="connsiteX6692" fmla="*/ 6231952 w 9586368"/>
                <a:gd name="connsiteY6692" fmla="*/ 1693249 h 6479439"/>
                <a:gd name="connsiteX6693" fmla="*/ 6222042 w 9586368"/>
                <a:gd name="connsiteY6693" fmla="*/ 1693249 h 6479439"/>
                <a:gd name="connsiteX6694" fmla="*/ 6218023 w 9586368"/>
                <a:gd name="connsiteY6694" fmla="*/ 1689211 h 6479439"/>
                <a:gd name="connsiteX6695" fmla="*/ 6218023 w 9586368"/>
                <a:gd name="connsiteY6695" fmla="*/ 1679339 h 6479439"/>
                <a:gd name="connsiteX6696" fmla="*/ 5982729 w 9586368"/>
                <a:gd name="connsiteY6696" fmla="*/ 1675301 h 6479439"/>
                <a:gd name="connsiteX6697" fmla="*/ 5992639 w 9586368"/>
                <a:gd name="connsiteY6697" fmla="*/ 1675301 h 6479439"/>
                <a:gd name="connsiteX6698" fmla="*/ 5996658 w 9586368"/>
                <a:gd name="connsiteY6698" fmla="*/ 1679339 h 6479439"/>
                <a:gd name="connsiteX6699" fmla="*/ 5996658 w 9586368"/>
                <a:gd name="connsiteY6699" fmla="*/ 1689211 h 6479439"/>
                <a:gd name="connsiteX6700" fmla="*/ 5992639 w 9586368"/>
                <a:gd name="connsiteY6700" fmla="*/ 1693251 h 6479439"/>
                <a:gd name="connsiteX6701" fmla="*/ 5982729 w 9586368"/>
                <a:gd name="connsiteY6701" fmla="*/ 1693251 h 6479439"/>
                <a:gd name="connsiteX6702" fmla="*/ 5978710 w 9586368"/>
                <a:gd name="connsiteY6702" fmla="*/ 1689211 h 6479439"/>
                <a:gd name="connsiteX6703" fmla="*/ 5978710 w 9586368"/>
                <a:gd name="connsiteY6703" fmla="*/ 1679339 h 6479439"/>
                <a:gd name="connsiteX6704" fmla="*/ 6939983 w 9586368"/>
                <a:gd name="connsiteY6704" fmla="*/ 1675300 h 6479439"/>
                <a:gd name="connsiteX6705" fmla="*/ 6949894 w 9586368"/>
                <a:gd name="connsiteY6705" fmla="*/ 1675300 h 6479439"/>
                <a:gd name="connsiteX6706" fmla="*/ 6953913 w 9586368"/>
                <a:gd name="connsiteY6706" fmla="*/ 1679339 h 6479439"/>
                <a:gd name="connsiteX6707" fmla="*/ 6953913 w 9586368"/>
                <a:gd name="connsiteY6707" fmla="*/ 1689210 h 6479439"/>
                <a:gd name="connsiteX6708" fmla="*/ 6949894 w 9586368"/>
                <a:gd name="connsiteY6708" fmla="*/ 1693249 h 6479439"/>
                <a:gd name="connsiteX6709" fmla="*/ 6939983 w 9586368"/>
                <a:gd name="connsiteY6709" fmla="*/ 1693249 h 6479439"/>
                <a:gd name="connsiteX6710" fmla="*/ 6935964 w 9586368"/>
                <a:gd name="connsiteY6710" fmla="*/ 1689210 h 6479439"/>
                <a:gd name="connsiteX6711" fmla="*/ 6935964 w 9586368"/>
                <a:gd name="connsiteY6711" fmla="*/ 1679339 h 6479439"/>
                <a:gd name="connsiteX6712" fmla="*/ 6700670 w 9586368"/>
                <a:gd name="connsiteY6712" fmla="*/ 1675300 h 6479439"/>
                <a:gd name="connsiteX6713" fmla="*/ 6710581 w 9586368"/>
                <a:gd name="connsiteY6713" fmla="*/ 1675300 h 6479439"/>
                <a:gd name="connsiteX6714" fmla="*/ 6714600 w 9586368"/>
                <a:gd name="connsiteY6714" fmla="*/ 1679339 h 6479439"/>
                <a:gd name="connsiteX6715" fmla="*/ 6714600 w 9586368"/>
                <a:gd name="connsiteY6715" fmla="*/ 1689210 h 6479439"/>
                <a:gd name="connsiteX6716" fmla="*/ 6710581 w 9586368"/>
                <a:gd name="connsiteY6716" fmla="*/ 1693249 h 6479439"/>
                <a:gd name="connsiteX6717" fmla="*/ 6700670 w 9586368"/>
                <a:gd name="connsiteY6717" fmla="*/ 1693249 h 6479439"/>
                <a:gd name="connsiteX6718" fmla="*/ 6696651 w 9586368"/>
                <a:gd name="connsiteY6718" fmla="*/ 1689210 h 6479439"/>
                <a:gd name="connsiteX6719" fmla="*/ 6696651 w 9586368"/>
                <a:gd name="connsiteY6719" fmla="*/ 1679339 h 6479439"/>
                <a:gd name="connsiteX6720" fmla="*/ 8136553 w 9586368"/>
                <a:gd name="connsiteY6720" fmla="*/ 1675285 h 6479439"/>
                <a:gd name="connsiteX6721" fmla="*/ 8146464 w 9586368"/>
                <a:gd name="connsiteY6721" fmla="*/ 1675285 h 6479439"/>
                <a:gd name="connsiteX6722" fmla="*/ 8150483 w 9586368"/>
                <a:gd name="connsiteY6722" fmla="*/ 1679323 h 6479439"/>
                <a:gd name="connsiteX6723" fmla="*/ 8150483 w 9586368"/>
                <a:gd name="connsiteY6723" fmla="*/ 1689193 h 6479439"/>
                <a:gd name="connsiteX6724" fmla="*/ 8146464 w 9586368"/>
                <a:gd name="connsiteY6724" fmla="*/ 1693232 h 6479439"/>
                <a:gd name="connsiteX6725" fmla="*/ 8136553 w 9586368"/>
                <a:gd name="connsiteY6725" fmla="*/ 1693232 h 6479439"/>
                <a:gd name="connsiteX6726" fmla="*/ 8132534 w 9586368"/>
                <a:gd name="connsiteY6726" fmla="*/ 1689193 h 6479439"/>
                <a:gd name="connsiteX6727" fmla="*/ 8132534 w 9586368"/>
                <a:gd name="connsiteY6727" fmla="*/ 1679323 h 6479439"/>
                <a:gd name="connsiteX6728" fmla="*/ 7897241 w 9586368"/>
                <a:gd name="connsiteY6728" fmla="*/ 1675285 h 6479439"/>
                <a:gd name="connsiteX6729" fmla="*/ 7907151 w 9586368"/>
                <a:gd name="connsiteY6729" fmla="*/ 1675285 h 6479439"/>
                <a:gd name="connsiteX6730" fmla="*/ 7911170 w 9586368"/>
                <a:gd name="connsiteY6730" fmla="*/ 1679323 h 6479439"/>
                <a:gd name="connsiteX6731" fmla="*/ 7911170 w 9586368"/>
                <a:gd name="connsiteY6731" fmla="*/ 1689193 h 6479439"/>
                <a:gd name="connsiteX6732" fmla="*/ 7907151 w 9586368"/>
                <a:gd name="connsiteY6732" fmla="*/ 1693232 h 6479439"/>
                <a:gd name="connsiteX6733" fmla="*/ 7897241 w 9586368"/>
                <a:gd name="connsiteY6733" fmla="*/ 1693232 h 6479439"/>
                <a:gd name="connsiteX6734" fmla="*/ 7893222 w 9586368"/>
                <a:gd name="connsiteY6734" fmla="*/ 1689193 h 6479439"/>
                <a:gd name="connsiteX6735" fmla="*/ 7893222 w 9586368"/>
                <a:gd name="connsiteY6735" fmla="*/ 1679323 h 6479439"/>
                <a:gd name="connsiteX6736" fmla="*/ 7657926 w 9586368"/>
                <a:gd name="connsiteY6736" fmla="*/ 1675285 h 6479439"/>
                <a:gd name="connsiteX6737" fmla="*/ 7667836 w 9586368"/>
                <a:gd name="connsiteY6737" fmla="*/ 1675285 h 6479439"/>
                <a:gd name="connsiteX6738" fmla="*/ 7671855 w 9586368"/>
                <a:gd name="connsiteY6738" fmla="*/ 1679323 h 6479439"/>
                <a:gd name="connsiteX6739" fmla="*/ 7671855 w 9586368"/>
                <a:gd name="connsiteY6739" fmla="*/ 1689193 h 6479439"/>
                <a:gd name="connsiteX6740" fmla="*/ 7667836 w 9586368"/>
                <a:gd name="connsiteY6740" fmla="*/ 1693232 h 6479439"/>
                <a:gd name="connsiteX6741" fmla="*/ 7657926 w 9586368"/>
                <a:gd name="connsiteY6741" fmla="*/ 1693232 h 6479439"/>
                <a:gd name="connsiteX6742" fmla="*/ 7653906 w 9586368"/>
                <a:gd name="connsiteY6742" fmla="*/ 1689193 h 6479439"/>
                <a:gd name="connsiteX6743" fmla="*/ 7653906 w 9586368"/>
                <a:gd name="connsiteY6743" fmla="*/ 1679323 h 6479439"/>
                <a:gd name="connsiteX6744" fmla="*/ 7418611 w 9586368"/>
                <a:gd name="connsiteY6744" fmla="*/ 1675285 h 6479439"/>
                <a:gd name="connsiteX6745" fmla="*/ 7428521 w 9586368"/>
                <a:gd name="connsiteY6745" fmla="*/ 1675285 h 6479439"/>
                <a:gd name="connsiteX6746" fmla="*/ 7432540 w 9586368"/>
                <a:gd name="connsiteY6746" fmla="*/ 1679323 h 6479439"/>
                <a:gd name="connsiteX6747" fmla="*/ 7432540 w 9586368"/>
                <a:gd name="connsiteY6747" fmla="*/ 1689195 h 6479439"/>
                <a:gd name="connsiteX6748" fmla="*/ 7428521 w 9586368"/>
                <a:gd name="connsiteY6748" fmla="*/ 1693232 h 6479439"/>
                <a:gd name="connsiteX6749" fmla="*/ 7418611 w 9586368"/>
                <a:gd name="connsiteY6749" fmla="*/ 1693232 h 6479439"/>
                <a:gd name="connsiteX6750" fmla="*/ 7414592 w 9586368"/>
                <a:gd name="connsiteY6750" fmla="*/ 1689195 h 6479439"/>
                <a:gd name="connsiteX6751" fmla="*/ 7414592 w 9586368"/>
                <a:gd name="connsiteY6751" fmla="*/ 1679323 h 6479439"/>
                <a:gd name="connsiteX6752" fmla="*/ 7179298 w 9586368"/>
                <a:gd name="connsiteY6752" fmla="*/ 1675285 h 6479439"/>
                <a:gd name="connsiteX6753" fmla="*/ 7189209 w 9586368"/>
                <a:gd name="connsiteY6753" fmla="*/ 1675285 h 6479439"/>
                <a:gd name="connsiteX6754" fmla="*/ 7193228 w 9586368"/>
                <a:gd name="connsiteY6754" fmla="*/ 1679323 h 6479439"/>
                <a:gd name="connsiteX6755" fmla="*/ 7193228 w 9586368"/>
                <a:gd name="connsiteY6755" fmla="*/ 1689195 h 6479439"/>
                <a:gd name="connsiteX6756" fmla="*/ 7189209 w 9586368"/>
                <a:gd name="connsiteY6756" fmla="*/ 1693234 h 6479439"/>
                <a:gd name="connsiteX6757" fmla="*/ 7179298 w 9586368"/>
                <a:gd name="connsiteY6757" fmla="*/ 1693234 h 6479439"/>
                <a:gd name="connsiteX6758" fmla="*/ 7175279 w 9586368"/>
                <a:gd name="connsiteY6758" fmla="*/ 1689195 h 6479439"/>
                <a:gd name="connsiteX6759" fmla="*/ 7175279 w 9586368"/>
                <a:gd name="connsiteY6759" fmla="*/ 1679323 h 6479439"/>
                <a:gd name="connsiteX6760" fmla="*/ 9333125 w 9586368"/>
                <a:gd name="connsiteY6760" fmla="*/ 1675268 h 6479439"/>
                <a:gd name="connsiteX6761" fmla="*/ 9343036 w 9586368"/>
                <a:gd name="connsiteY6761" fmla="*/ 1675268 h 6479439"/>
                <a:gd name="connsiteX6762" fmla="*/ 9347055 w 9586368"/>
                <a:gd name="connsiteY6762" fmla="*/ 1679306 h 6479439"/>
                <a:gd name="connsiteX6763" fmla="*/ 9347055 w 9586368"/>
                <a:gd name="connsiteY6763" fmla="*/ 1689177 h 6479439"/>
                <a:gd name="connsiteX6764" fmla="*/ 9343036 w 9586368"/>
                <a:gd name="connsiteY6764" fmla="*/ 1693216 h 6479439"/>
                <a:gd name="connsiteX6765" fmla="*/ 9333125 w 9586368"/>
                <a:gd name="connsiteY6765" fmla="*/ 1693216 h 6479439"/>
                <a:gd name="connsiteX6766" fmla="*/ 9329106 w 9586368"/>
                <a:gd name="connsiteY6766" fmla="*/ 1689177 h 6479439"/>
                <a:gd name="connsiteX6767" fmla="*/ 9329106 w 9586368"/>
                <a:gd name="connsiteY6767" fmla="*/ 1679306 h 6479439"/>
                <a:gd name="connsiteX6768" fmla="*/ 9093811 w 9586368"/>
                <a:gd name="connsiteY6768" fmla="*/ 1675268 h 6479439"/>
                <a:gd name="connsiteX6769" fmla="*/ 9103722 w 9586368"/>
                <a:gd name="connsiteY6769" fmla="*/ 1675268 h 6479439"/>
                <a:gd name="connsiteX6770" fmla="*/ 9107741 w 9586368"/>
                <a:gd name="connsiteY6770" fmla="*/ 1679306 h 6479439"/>
                <a:gd name="connsiteX6771" fmla="*/ 9107741 w 9586368"/>
                <a:gd name="connsiteY6771" fmla="*/ 1689177 h 6479439"/>
                <a:gd name="connsiteX6772" fmla="*/ 9103722 w 9586368"/>
                <a:gd name="connsiteY6772" fmla="*/ 1693217 h 6479439"/>
                <a:gd name="connsiteX6773" fmla="*/ 9093811 w 9586368"/>
                <a:gd name="connsiteY6773" fmla="*/ 1693217 h 6479439"/>
                <a:gd name="connsiteX6774" fmla="*/ 9089792 w 9586368"/>
                <a:gd name="connsiteY6774" fmla="*/ 1689177 h 6479439"/>
                <a:gd name="connsiteX6775" fmla="*/ 9089792 w 9586368"/>
                <a:gd name="connsiteY6775" fmla="*/ 1679306 h 6479439"/>
                <a:gd name="connsiteX6776" fmla="*/ 8854496 w 9586368"/>
                <a:gd name="connsiteY6776" fmla="*/ 1675268 h 6479439"/>
                <a:gd name="connsiteX6777" fmla="*/ 8864407 w 9586368"/>
                <a:gd name="connsiteY6777" fmla="*/ 1675268 h 6479439"/>
                <a:gd name="connsiteX6778" fmla="*/ 8868426 w 9586368"/>
                <a:gd name="connsiteY6778" fmla="*/ 1679307 h 6479439"/>
                <a:gd name="connsiteX6779" fmla="*/ 8868426 w 9586368"/>
                <a:gd name="connsiteY6779" fmla="*/ 1689177 h 6479439"/>
                <a:gd name="connsiteX6780" fmla="*/ 8864407 w 9586368"/>
                <a:gd name="connsiteY6780" fmla="*/ 1693217 h 6479439"/>
                <a:gd name="connsiteX6781" fmla="*/ 8854496 w 9586368"/>
                <a:gd name="connsiteY6781" fmla="*/ 1693217 h 6479439"/>
                <a:gd name="connsiteX6782" fmla="*/ 8850477 w 9586368"/>
                <a:gd name="connsiteY6782" fmla="*/ 1689177 h 6479439"/>
                <a:gd name="connsiteX6783" fmla="*/ 8850477 w 9586368"/>
                <a:gd name="connsiteY6783" fmla="*/ 1679307 h 6479439"/>
                <a:gd name="connsiteX6784" fmla="*/ 8615184 w 9586368"/>
                <a:gd name="connsiteY6784" fmla="*/ 1675268 h 6479439"/>
                <a:gd name="connsiteX6785" fmla="*/ 8625095 w 9586368"/>
                <a:gd name="connsiteY6785" fmla="*/ 1675268 h 6479439"/>
                <a:gd name="connsiteX6786" fmla="*/ 8629114 w 9586368"/>
                <a:gd name="connsiteY6786" fmla="*/ 1679307 h 6479439"/>
                <a:gd name="connsiteX6787" fmla="*/ 8629114 w 9586368"/>
                <a:gd name="connsiteY6787" fmla="*/ 1689178 h 6479439"/>
                <a:gd name="connsiteX6788" fmla="*/ 8625095 w 9586368"/>
                <a:gd name="connsiteY6788" fmla="*/ 1693217 h 6479439"/>
                <a:gd name="connsiteX6789" fmla="*/ 8615184 w 9586368"/>
                <a:gd name="connsiteY6789" fmla="*/ 1693217 h 6479439"/>
                <a:gd name="connsiteX6790" fmla="*/ 8611165 w 9586368"/>
                <a:gd name="connsiteY6790" fmla="*/ 1689178 h 6479439"/>
                <a:gd name="connsiteX6791" fmla="*/ 8611165 w 9586368"/>
                <a:gd name="connsiteY6791" fmla="*/ 1679307 h 6479439"/>
                <a:gd name="connsiteX6792" fmla="*/ 8375869 w 9586368"/>
                <a:gd name="connsiteY6792" fmla="*/ 1675268 h 6479439"/>
                <a:gd name="connsiteX6793" fmla="*/ 8385779 w 9586368"/>
                <a:gd name="connsiteY6793" fmla="*/ 1675268 h 6479439"/>
                <a:gd name="connsiteX6794" fmla="*/ 8389799 w 9586368"/>
                <a:gd name="connsiteY6794" fmla="*/ 1679307 h 6479439"/>
                <a:gd name="connsiteX6795" fmla="*/ 8389799 w 9586368"/>
                <a:gd name="connsiteY6795" fmla="*/ 1689178 h 6479439"/>
                <a:gd name="connsiteX6796" fmla="*/ 8385779 w 9586368"/>
                <a:gd name="connsiteY6796" fmla="*/ 1693217 h 6479439"/>
                <a:gd name="connsiteX6797" fmla="*/ 8375869 w 9586368"/>
                <a:gd name="connsiteY6797" fmla="*/ 1693217 h 6479439"/>
                <a:gd name="connsiteX6798" fmla="*/ 8371850 w 9586368"/>
                <a:gd name="connsiteY6798" fmla="*/ 1689178 h 6479439"/>
                <a:gd name="connsiteX6799" fmla="*/ 8371850 w 9586368"/>
                <a:gd name="connsiteY6799" fmla="*/ 1679307 h 6479439"/>
                <a:gd name="connsiteX6800" fmla="*/ 961270 w 9586368"/>
                <a:gd name="connsiteY6800" fmla="*/ 1675255 h 6479439"/>
                <a:gd name="connsiteX6801" fmla="*/ 971180 w 9586368"/>
                <a:gd name="connsiteY6801" fmla="*/ 1675255 h 6479439"/>
                <a:gd name="connsiteX6802" fmla="*/ 975199 w 9586368"/>
                <a:gd name="connsiteY6802" fmla="*/ 1679292 h 6479439"/>
                <a:gd name="connsiteX6803" fmla="*/ 975199 w 9586368"/>
                <a:gd name="connsiteY6803" fmla="*/ 1689163 h 6479439"/>
                <a:gd name="connsiteX6804" fmla="*/ 971180 w 9586368"/>
                <a:gd name="connsiteY6804" fmla="*/ 1693202 h 6479439"/>
                <a:gd name="connsiteX6805" fmla="*/ 961270 w 9586368"/>
                <a:gd name="connsiteY6805" fmla="*/ 1693202 h 6479439"/>
                <a:gd name="connsiteX6806" fmla="*/ 957251 w 9586368"/>
                <a:gd name="connsiteY6806" fmla="*/ 1689163 h 6479439"/>
                <a:gd name="connsiteX6807" fmla="*/ 957251 w 9586368"/>
                <a:gd name="connsiteY6807" fmla="*/ 1679292 h 6479439"/>
                <a:gd name="connsiteX6808" fmla="*/ 1679215 w 9586368"/>
                <a:gd name="connsiteY6808" fmla="*/ 1675254 h 6479439"/>
                <a:gd name="connsiteX6809" fmla="*/ 1689126 w 9586368"/>
                <a:gd name="connsiteY6809" fmla="*/ 1675254 h 6479439"/>
                <a:gd name="connsiteX6810" fmla="*/ 1693145 w 9586368"/>
                <a:gd name="connsiteY6810" fmla="*/ 1679292 h 6479439"/>
                <a:gd name="connsiteX6811" fmla="*/ 1693145 w 9586368"/>
                <a:gd name="connsiteY6811" fmla="*/ 1689163 h 6479439"/>
                <a:gd name="connsiteX6812" fmla="*/ 1689126 w 9586368"/>
                <a:gd name="connsiteY6812" fmla="*/ 1693202 h 6479439"/>
                <a:gd name="connsiteX6813" fmla="*/ 1679215 w 9586368"/>
                <a:gd name="connsiteY6813" fmla="*/ 1693202 h 6479439"/>
                <a:gd name="connsiteX6814" fmla="*/ 1675196 w 9586368"/>
                <a:gd name="connsiteY6814" fmla="*/ 1689163 h 6479439"/>
                <a:gd name="connsiteX6815" fmla="*/ 1675196 w 9586368"/>
                <a:gd name="connsiteY6815" fmla="*/ 1679292 h 6479439"/>
                <a:gd name="connsiteX6816" fmla="*/ 1439898 w 9586368"/>
                <a:gd name="connsiteY6816" fmla="*/ 1675254 h 6479439"/>
                <a:gd name="connsiteX6817" fmla="*/ 1449808 w 9586368"/>
                <a:gd name="connsiteY6817" fmla="*/ 1675254 h 6479439"/>
                <a:gd name="connsiteX6818" fmla="*/ 1453828 w 9586368"/>
                <a:gd name="connsiteY6818" fmla="*/ 1679292 h 6479439"/>
                <a:gd name="connsiteX6819" fmla="*/ 1453828 w 9586368"/>
                <a:gd name="connsiteY6819" fmla="*/ 1689163 h 6479439"/>
                <a:gd name="connsiteX6820" fmla="*/ 1449808 w 9586368"/>
                <a:gd name="connsiteY6820" fmla="*/ 1693202 h 6479439"/>
                <a:gd name="connsiteX6821" fmla="*/ 1439898 w 9586368"/>
                <a:gd name="connsiteY6821" fmla="*/ 1693202 h 6479439"/>
                <a:gd name="connsiteX6822" fmla="*/ 1435880 w 9586368"/>
                <a:gd name="connsiteY6822" fmla="*/ 1689163 h 6479439"/>
                <a:gd name="connsiteX6823" fmla="*/ 1435880 w 9586368"/>
                <a:gd name="connsiteY6823" fmla="*/ 1679292 h 6479439"/>
                <a:gd name="connsiteX6824" fmla="*/ 1200583 w 9586368"/>
                <a:gd name="connsiteY6824" fmla="*/ 1675254 h 6479439"/>
                <a:gd name="connsiteX6825" fmla="*/ 1210493 w 9586368"/>
                <a:gd name="connsiteY6825" fmla="*/ 1675254 h 6479439"/>
                <a:gd name="connsiteX6826" fmla="*/ 1214511 w 9586368"/>
                <a:gd name="connsiteY6826" fmla="*/ 1679292 h 6479439"/>
                <a:gd name="connsiteX6827" fmla="*/ 1214511 w 9586368"/>
                <a:gd name="connsiteY6827" fmla="*/ 1689163 h 6479439"/>
                <a:gd name="connsiteX6828" fmla="*/ 1210493 w 9586368"/>
                <a:gd name="connsiteY6828" fmla="*/ 1693202 h 6479439"/>
                <a:gd name="connsiteX6829" fmla="*/ 1200583 w 9586368"/>
                <a:gd name="connsiteY6829" fmla="*/ 1693202 h 6479439"/>
                <a:gd name="connsiteX6830" fmla="*/ 1196564 w 9586368"/>
                <a:gd name="connsiteY6830" fmla="*/ 1689163 h 6479439"/>
                <a:gd name="connsiteX6831" fmla="*/ 1196564 w 9586368"/>
                <a:gd name="connsiteY6831" fmla="*/ 1679292 h 6479439"/>
                <a:gd name="connsiteX6832" fmla="*/ 9572438 w 9586368"/>
                <a:gd name="connsiteY6832" fmla="*/ 1675251 h 6479439"/>
                <a:gd name="connsiteX6833" fmla="*/ 9582349 w 9586368"/>
                <a:gd name="connsiteY6833" fmla="*/ 1675251 h 6479439"/>
                <a:gd name="connsiteX6834" fmla="*/ 9586368 w 9586368"/>
                <a:gd name="connsiteY6834" fmla="*/ 1679290 h 6479439"/>
                <a:gd name="connsiteX6835" fmla="*/ 9586368 w 9586368"/>
                <a:gd name="connsiteY6835" fmla="*/ 1689161 h 6479439"/>
                <a:gd name="connsiteX6836" fmla="*/ 9582349 w 9586368"/>
                <a:gd name="connsiteY6836" fmla="*/ 1693201 h 6479439"/>
                <a:gd name="connsiteX6837" fmla="*/ 9572438 w 9586368"/>
                <a:gd name="connsiteY6837" fmla="*/ 1693201 h 6479439"/>
                <a:gd name="connsiteX6838" fmla="*/ 9568419 w 9586368"/>
                <a:gd name="connsiteY6838" fmla="*/ 1689161 h 6479439"/>
                <a:gd name="connsiteX6839" fmla="*/ 9568419 w 9586368"/>
                <a:gd name="connsiteY6839" fmla="*/ 1679290 h 6479439"/>
                <a:gd name="connsiteX6840" fmla="*/ 1918514 w 9586368"/>
                <a:gd name="connsiteY6840" fmla="*/ 1675243 h 6479439"/>
                <a:gd name="connsiteX6841" fmla="*/ 1928424 w 9586368"/>
                <a:gd name="connsiteY6841" fmla="*/ 1675243 h 6479439"/>
                <a:gd name="connsiteX6842" fmla="*/ 1932443 w 9586368"/>
                <a:gd name="connsiteY6842" fmla="*/ 1679282 h 6479439"/>
                <a:gd name="connsiteX6843" fmla="*/ 1932443 w 9586368"/>
                <a:gd name="connsiteY6843" fmla="*/ 1689153 h 6479439"/>
                <a:gd name="connsiteX6844" fmla="*/ 1928424 w 9586368"/>
                <a:gd name="connsiteY6844" fmla="*/ 1693191 h 6479439"/>
                <a:gd name="connsiteX6845" fmla="*/ 1918514 w 9586368"/>
                <a:gd name="connsiteY6845" fmla="*/ 1693191 h 6479439"/>
                <a:gd name="connsiteX6846" fmla="*/ 1914494 w 9586368"/>
                <a:gd name="connsiteY6846" fmla="*/ 1689153 h 6479439"/>
                <a:gd name="connsiteX6847" fmla="*/ 1914494 w 9586368"/>
                <a:gd name="connsiteY6847" fmla="*/ 1679282 h 6479439"/>
                <a:gd name="connsiteX6848" fmla="*/ 2157821 w 9586368"/>
                <a:gd name="connsiteY6848" fmla="*/ 1675240 h 6479439"/>
                <a:gd name="connsiteX6849" fmla="*/ 2167732 w 9586368"/>
                <a:gd name="connsiteY6849" fmla="*/ 1675240 h 6479439"/>
                <a:gd name="connsiteX6850" fmla="*/ 2171751 w 9586368"/>
                <a:gd name="connsiteY6850" fmla="*/ 1679279 h 6479439"/>
                <a:gd name="connsiteX6851" fmla="*/ 2171751 w 9586368"/>
                <a:gd name="connsiteY6851" fmla="*/ 1689149 h 6479439"/>
                <a:gd name="connsiteX6852" fmla="*/ 2167732 w 9586368"/>
                <a:gd name="connsiteY6852" fmla="*/ 1693188 h 6479439"/>
                <a:gd name="connsiteX6853" fmla="*/ 2157821 w 9586368"/>
                <a:gd name="connsiteY6853" fmla="*/ 1693188 h 6479439"/>
                <a:gd name="connsiteX6854" fmla="*/ 2153803 w 9586368"/>
                <a:gd name="connsiteY6854" fmla="*/ 1689149 h 6479439"/>
                <a:gd name="connsiteX6855" fmla="*/ 2153803 w 9586368"/>
                <a:gd name="connsiteY6855" fmla="*/ 1679279 h 6479439"/>
                <a:gd name="connsiteX6856" fmla="*/ 243346 w 9586368"/>
                <a:gd name="connsiteY6856" fmla="*/ 1675216 h 6479439"/>
                <a:gd name="connsiteX6857" fmla="*/ 253257 w 9586368"/>
                <a:gd name="connsiteY6857" fmla="*/ 1675216 h 6479439"/>
                <a:gd name="connsiteX6858" fmla="*/ 257276 w 9586368"/>
                <a:gd name="connsiteY6858" fmla="*/ 1679254 h 6479439"/>
                <a:gd name="connsiteX6859" fmla="*/ 257276 w 9586368"/>
                <a:gd name="connsiteY6859" fmla="*/ 1689125 h 6479439"/>
                <a:gd name="connsiteX6860" fmla="*/ 253257 w 9586368"/>
                <a:gd name="connsiteY6860" fmla="*/ 1693164 h 6479439"/>
                <a:gd name="connsiteX6861" fmla="*/ 243346 w 9586368"/>
                <a:gd name="connsiteY6861" fmla="*/ 1693164 h 6479439"/>
                <a:gd name="connsiteX6862" fmla="*/ 239327 w 9586368"/>
                <a:gd name="connsiteY6862" fmla="*/ 1689125 h 6479439"/>
                <a:gd name="connsiteX6863" fmla="*/ 239327 w 9586368"/>
                <a:gd name="connsiteY6863" fmla="*/ 1679254 h 6479439"/>
                <a:gd name="connsiteX6864" fmla="*/ 4034 w 9586368"/>
                <a:gd name="connsiteY6864" fmla="*/ 1675216 h 6479439"/>
                <a:gd name="connsiteX6865" fmla="*/ 13943 w 9586368"/>
                <a:gd name="connsiteY6865" fmla="*/ 1675216 h 6479439"/>
                <a:gd name="connsiteX6866" fmla="*/ 17962 w 9586368"/>
                <a:gd name="connsiteY6866" fmla="*/ 1679254 h 6479439"/>
                <a:gd name="connsiteX6867" fmla="*/ 17962 w 9586368"/>
                <a:gd name="connsiteY6867" fmla="*/ 1689125 h 6479439"/>
                <a:gd name="connsiteX6868" fmla="*/ 13943 w 9586368"/>
                <a:gd name="connsiteY6868" fmla="*/ 1693164 h 6479439"/>
                <a:gd name="connsiteX6869" fmla="*/ 4034 w 9586368"/>
                <a:gd name="connsiteY6869" fmla="*/ 1693164 h 6479439"/>
                <a:gd name="connsiteX6870" fmla="*/ 14 w 9586368"/>
                <a:gd name="connsiteY6870" fmla="*/ 1689125 h 6479439"/>
                <a:gd name="connsiteX6871" fmla="*/ 14 w 9586368"/>
                <a:gd name="connsiteY6871" fmla="*/ 1679254 h 6479439"/>
                <a:gd name="connsiteX6872" fmla="*/ 721972 w 9586368"/>
                <a:gd name="connsiteY6872" fmla="*/ 1675216 h 6479439"/>
                <a:gd name="connsiteX6873" fmla="*/ 731882 w 9586368"/>
                <a:gd name="connsiteY6873" fmla="*/ 1675216 h 6479439"/>
                <a:gd name="connsiteX6874" fmla="*/ 735902 w 9586368"/>
                <a:gd name="connsiteY6874" fmla="*/ 1679254 h 6479439"/>
                <a:gd name="connsiteX6875" fmla="*/ 735902 w 9586368"/>
                <a:gd name="connsiteY6875" fmla="*/ 1689125 h 6479439"/>
                <a:gd name="connsiteX6876" fmla="*/ 731882 w 9586368"/>
                <a:gd name="connsiteY6876" fmla="*/ 1693164 h 6479439"/>
                <a:gd name="connsiteX6877" fmla="*/ 721972 w 9586368"/>
                <a:gd name="connsiteY6877" fmla="*/ 1693164 h 6479439"/>
                <a:gd name="connsiteX6878" fmla="*/ 717954 w 9586368"/>
                <a:gd name="connsiteY6878" fmla="*/ 1689125 h 6479439"/>
                <a:gd name="connsiteX6879" fmla="*/ 717954 w 9586368"/>
                <a:gd name="connsiteY6879" fmla="*/ 1679254 h 6479439"/>
                <a:gd name="connsiteX6880" fmla="*/ 482660 w 9586368"/>
                <a:gd name="connsiteY6880" fmla="*/ 1675216 h 6479439"/>
                <a:gd name="connsiteX6881" fmla="*/ 492571 w 9586368"/>
                <a:gd name="connsiteY6881" fmla="*/ 1675216 h 6479439"/>
                <a:gd name="connsiteX6882" fmla="*/ 496589 w 9586368"/>
                <a:gd name="connsiteY6882" fmla="*/ 1679254 h 6479439"/>
                <a:gd name="connsiteX6883" fmla="*/ 496589 w 9586368"/>
                <a:gd name="connsiteY6883" fmla="*/ 1689125 h 6479439"/>
                <a:gd name="connsiteX6884" fmla="*/ 492571 w 9586368"/>
                <a:gd name="connsiteY6884" fmla="*/ 1693164 h 6479439"/>
                <a:gd name="connsiteX6885" fmla="*/ 482660 w 9586368"/>
                <a:gd name="connsiteY6885" fmla="*/ 1693164 h 6479439"/>
                <a:gd name="connsiteX6886" fmla="*/ 478641 w 9586368"/>
                <a:gd name="connsiteY6886" fmla="*/ 1689125 h 6479439"/>
                <a:gd name="connsiteX6887" fmla="*/ 478641 w 9586368"/>
                <a:gd name="connsiteY6887" fmla="*/ 1679254 h 6479439"/>
                <a:gd name="connsiteX6888" fmla="*/ 2393104 w 9586368"/>
                <a:gd name="connsiteY6888" fmla="*/ 1436001 h 6479439"/>
                <a:gd name="connsiteX6889" fmla="*/ 2403015 w 9586368"/>
                <a:gd name="connsiteY6889" fmla="*/ 1436001 h 6479439"/>
                <a:gd name="connsiteX6890" fmla="*/ 2407034 w 9586368"/>
                <a:gd name="connsiteY6890" fmla="*/ 1440038 h 6479439"/>
                <a:gd name="connsiteX6891" fmla="*/ 2407034 w 9586368"/>
                <a:gd name="connsiteY6891" fmla="*/ 1449910 h 6479439"/>
                <a:gd name="connsiteX6892" fmla="*/ 2403015 w 9586368"/>
                <a:gd name="connsiteY6892" fmla="*/ 1453949 h 6479439"/>
                <a:gd name="connsiteX6893" fmla="*/ 2393104 w 9586368"/>
                <a:gd name="connsiteY6893" fmla="*/ 1453949 h 6479439"/>
                <a:gd name="connsiteX6894" fmla="*/ 2389087 w 9586368"/>
                <a:gd name="connsiteY6894" fmla="*/ 1449910 h 6479439"/>
                <a:gd name="connsiteX6895" fmla="*/ 2389087 w 9586368"/>
                <a:gd name="connsiteY6895" fmla="*/ 1440038 h 6479439"/>
                <a:gd name="connsiteX6896" fmla="*/ 3350359 w 9586368"/>
                <a:gd name="connsiteY6896" fmla="*/ 1436000 h 6479439"/>
                <a:gd name="connsiteX6897" fmla="*/ 3360268 w 9586368"/>
                <a:gd name="connsiteY6897" fmla="*/ 1436000 h 6479439"/>
                <a:gd name="connsiteX6898" fmla="*/ 3364287 w 9586368"/>
                <a:gd name="connsiteY6898" fmla="*/ 1440038 h 6479439"/>
                <a:gd name="connsiteX6899" fmla="*/ 3364287 w 9586368"/>
                <a:gd name="connsiteY6899" fmla="*/ 1449909 h 6479439"/>
                <a:gd name="connsiteX6900" fmla="*/ 3360268 w 9586368"/>
                <a:gd name="connsiteY6900" fmla="*/ 1453949 h 6479439"/>
                <a:gd name="connsiteX6901" fmla="*/ 3350359 w 9586368"/>
                <a:gd name="connsiteY6901" fmla="*/ 1453949 h 6479439"/>
                <a:gd name="connsiteX6902" fmla="*/ 3346340 w 9586368"/>
                <a:gd name="connsiteY6902" fmla="*/ 1449909 h 6479439"/>
                <a:gd name="connsiteX6903" fmla="*/ 3346340 w 9586368"/>
                <a:gd name="connsiteY6903" fmla="*/ 1440038 h 6479439"/>
                <a:gd name="connsiteX6904" fmla="*/ 3111048 w 9586368"/>
                <a:gd name="connsiteY6904" fmla="*/ 1436000 h 6479439"/>
                <a:gd name="connsiteX6905" fmla="*/ 3120959 w 9586368"/>
                <a:gd name="connsiteY6905" fmla="*/ 1436000 h 6479439"/>
                <a:gd name="connsiteX6906" fmla="*/ 3124977 w 9586368"/>
                <a:gd name="connsiteY6906" fmla="*/ 1440038 h 6479439"/>
                <a:gd name="connsiteX6907" fmla="*/ 3124977 w 9586368"/>
                <a:gd name="connsiteY6907" fmla="*/ 1449910 h 6479439"/>
                <a:gd name="connsiteX6908" fmla="*/ 3120959 w 9586368"/>
                <a:gd name="connsiteY6908" fmla="*/ 1453949 h 6479439"/>
                <a:gd name="connsiteX6909" fmla="*/ 3111048 w 9586368"/>
                <a:gd name="connsiteY6909" fmla="*/ 1453949 h 6479439"/>
                <a:gd name="connsiteX6910" fmla="*/ 3107029 w 9586368"/>
                <a:gd name="connsiteY6910" fmla="*/ 1449910 h 6479439"/>
                <a:gd name="connsiteX6911" fmla="*/ 3107029 w 9586368"/>
                <a:gd name="connsiteY6911" fmla="*/ 1440038 h 6479439"/>
                <a:gd name="connsiteX6912" fmla="*/ 2871737 w 9586368"/>
                <a:gd name="connsiteY6912" fmla="*/ 1436000 h 6479439"/>
                <a:gd name="connsiteX6913" fmla="*/ 2881646 w 9586368"/>
                <a:gd name="connsiteY6913" fmla="*/ 1436000 h 6479439"/>
                <a:gd name="connsiteX6914" fmla="*/ 2885666 w 9586368"/>
                <a:gd name="connsiteY6914" fmla="*/ 1440038 h 6479439"/>
                <a:gd name="connsiteX6915" fmla="*/ 2885666 w 9586368"/>
                <a:gd name="connsiteY6915" fmla="*/ 1449910 h 6479439"/>
                <a:gd name="connsiteX6916" fmla="*/ 2881646 w 9586368"/>
                <a:gd name="connsiteY6916" fmla="*/ 1453949 h 6479439"/>
                <a:gd name="connsiteX6917" fmla="*/ 2871737 w 9586368"/>
                <a:gd name="connsiteY6917" fmla="*/ 1453949 h 6479439"/>
                <a:gd name="connsiteX6918" fmla="*/ 2867717 w 9586368"/>
                <a:gd name="connsiteY6918" fmla="*/ 1449910 h 6479439"/>
                <a:gd name="connsiteX6919" fmla="*/ 2867717 w 9586368"/>
                <a:gd name="connsiteY6919" fmla="*/ 1440038 h 6479439"/>
                <a:gd name="connsiteX6920" fmla="*/ 2632423 w 9586368"/>
                <a:gd name="connsiteY6920" fmla="*/ 1436000 h 6479439"/>
                <a:gd name="connsiteX6921" fmla="*/ 2642334 w 9586368"/>
                <a:gd name="connsiteY6921" fmla="*/ 1436000 h 6479439"/>
                <a:gd name="connsiteX6922" fmla="*/ 2646352 w 9586368"/>
                <a:gd name="connsiteY6922" fmla="*/ 1440038 h 6479439"/>
                <a:gd name="connsiteX6923" fmla="*/ 2646352 w 9586368"/>
                <a:gd name="connsiteY6923" fmla="*/ 1449910 h 6479439"/>
                <a:gd name="connsiteX6924" fmla="*/ 2642334 w 9586368"/>
                <a:gd name="connsiteY6924" fmla="*/ 1453949 h 6479439"/>
                <a:gd name="connsiteX6925" fmla="*/ 2632423 w 9586368"/>
                <a:gd name="connsiteY6925" fmla="*/ 1453949 h 6479439"/>
                <a:gd name="connsiteX6926" fmla="*/ 2628404 w 9586368"/>
                <a:gd name="connsiteY6926" fmla="*/ 1449910 h 6479439"/>
                <a:gd name="connsiteX6927" fmla="*/ 2628404 w 9586368"/>
                <a:gd name="connsiteY6927" fmla="*/ 1440038 h 6479439"/>
                <a:gd name="connsiteX6928" fmla="*/ 3589676 w 9586368"/>
                <a:gd name="connsiteY6928" fmla="*/ 1435986 h 6479439"/>
                <a:gd name="connsiteX6929" fmla="*/ 3599585 w 9586368"/>
                <a:gd name="connsiteY6929" fmla="*/ 1435986 h 6479439"/>
                <a:gd name="connsiteX6930" fmla="*/ 3603604 w 9586368"/>
                <a:gd name="connsiteY6930" fmla="*/ 1440024 h 6479439"/>
                <a:gd name="connsiteX6931" fmla="*/ 3603604 w 9586368"/>
                <a:gd name="connsiteY6931" fmla="*/ 1449895 h 6479439"/>
                <a:gd name="connsiteX6932" fmla="*/ 3599585 w 9586368"/>
                <a:gd name="connsiteY6932" fmla="*/ 1453934 h 6479439"/>
                <a:gd name="connsiteX6933" fmla="*/ 3589676 w 9586368"/>
                <a:gd name="connsiteY6933" fmla="*/ 1453934 h 6479439"/>
                <a:gd name="connsiteX6934" fmla="*/ 3585657 w 9586368"/>
                <a:gd name="connsiteY6934" fmla="*/ 1449895 h 6479439"/>
                <a:gd name="connsiteX6935" fmla="*/ 3585657 w 9586368"/>
                <a:gd name="connsiteY6935" fmla="*/ 1440024 h 6479439"/>
                <a:gd name="connsiteX6936" fmla="*/ 4546929 w 9586368"/>
                <a:gd name="connsiteY6936" fmla="*/ 1435986 h 6479439"/>
                <a:gd name="connsiteX6937" fmla="*/ 4556840 w 9586368"/>
                <a:gd name="connsiteY6937" fmla="*/ 1435986 h 6479439"/>
                <a:gd name="connsiteX6938" fmla="*/ 4560859 w 9586368"/>
                <a:gd name="connsiteY6938" fmla="*/ 1440024 h 6479439"/>
                <a:gd name="connsiteX6939" fmla="*/ 4560859 w 9586368"/>
                <a:gd name="connsiteY6939" fmla="*/ 1449895 h 6479439"/>
                <a:gd name="connsiteX6940" fmla="*/ 4556840 w 9586368"/>
                <a:gd name="connsiteY6940" fmla="*/ 1453934 h 6479439"/>
                <a:gd name="connsiteX6941" fmla="*/ 4546929 w 9586368"/>
                <a:gd name="connsiteY6941" fmla="*/ 1453934 h 6479439"/>
                <a:gd name="connsiteX6942" fmla="*/ 4542910 w 9586368"/>
                <a:gd name="connsiteY6942" fmla="*/ 1449895 h 6479439"/>
                <a:gd name="connsiteX6943" fmla="*/ 4542910 w 9586368"/>
                <a:gd name="connsiteY6943" fmla="*/ 1440024 h 6479439"/>
                <a:gd name="connsiteX6944" fmla="*/ 4307612 w 9586368"/>
                <a:gd name="connsiteY6944" fmla="*/ 1435986 h 6479439"/>
                <a:gd name="connsiteX6945" fmla="*/ 4317523 w 9586368"/>
                <a:gd name="connsiteY6945" fmla="*/ 1435986 h 6479439"/>
                <a:gd name="connsiteX6946" fmla="*/ 4321543 w 9586368"/>
                <a:gd name="connsiteY6946" fmla="*/ 1440024 h 6479439"/>
                <a:gd name="connsiteX6947" fmla="*/ 4321543 w 9586368"/>
                <a:gd name="connsiteY6947" fmla="*/ 1449895 h 6479439"/>
                <a:gd name="connsiteX6948" fmla="*/ 4317523 w 9586368"/>
                <a:gd name="connsiteY6948" fmla="*/ 1453934 h 6479439"/>
                <a:gd name="connsiteX6949" fmla="*/ 4307612 w 9586368"/>
                <a:gd name="connsiteY6949" fmla="*/ 1453934 h 6479439"/>
                <a:gd name="connsiteX6950" fmla="*/ 4303595 w 9586368"/>
                <a:gd name="connsiteY6950" fmla="*/ 1449895 h 6479439"/>
                <a:gd name="connsiteX6951" fmla="*/ 4303595 w 9586368"/>
                <a:gd name="connsiteY6951" fmla="*/ 1440024 h 6479439"/>
                <a:gd name="connsiteX6952" fmla="*/ 4068297 w 9586368"/>
                <a:gd name="connsiteY6952" fmla="*/ 1435986 h 6479439"/>
                <a:gd name="connsiteX6953" fmla="*/ 4078210 w 9586368"/>
                <a:gd name="connsiteY6953" fmla="*/ 1435986 h 6479439"/>
                <a:gd name="connsiteX6954" fmla="*/ 4082229 w 9586368"/>
                <a:gd name="connsiteY6954" fmla="*/ 1440024 h 6479439"/>
                <a:gd name="connsiteX6955" fmla="*/ 4082229 w 9586368"/>
                <a:gd name="connsiteY6955" fmla="*/ 1449895 h 6479439"/>
                <a:gd name="connsiteX6956" fmla="*/ 4078210 w 9586368"/>
                <a:gd name="connsiteY6956" fmla="*/ 1453934 h 6479439"/>
                <a:gd name="connsiteX6957" fmla="*/ 4068297 w 9586368"/>
                <a:gd name="connsiteY6957" fmla="*/ 1453934 h 6479439"/>
                <a:gd name="connsiteX6958" fmla="*/ 4064278 w 9586368"/>
                <a:gd name="connsiteY6958" fmla="*/ 1449895 h 6479439"/>
                <a:gd name="connsiteX6959" fmla="*/ 4064278 w 9586368"/>
                <a:gd name="connsiteY6959" fmla="*/ 1440024 h 6479439"/>
                <a:gd name="connsiteX6960" fmla="*/ 3828990 w 9586368"/>
                <a:gd name="connsiteY6960" fmla="*/ 1435986 h 6479439"/>
                <a:gd name="connsiteX6961" fmla="*/ 3838899 w 9586368"/>
                <a:gd name="connsiteY6961" fmla="*/ 1435986 h 6479439"/>
                <a:gd name="connsiteX6962" fmla="*/ 3842917 w 9586368"/>
                <a:gd name="connsiteY6962" fmla="*/ 1440024 h 6479439"/>
                <a:gd name="connsiteX6963" fmla="*/ 3842917 w 9586368"/>
                <a:gd name="connsiteY6963" fmla="*/ 1449895 h 6479439"/>
                <a:gd name="connsiteX6964" fmla="*/ 3838899 w 9586368"/>
                <a:gd name="connsiteY6964" fmla="*/ 1453934 h 6479439"/>
                <a:gd name="connsiteX6965" fmla="*/ 3828990 w 9586368"/>
                <a:gd name="connsiteY6965" fmla="*/ 1453934 h 6479439"/>
                <a:gd name="connsiteX6966" fmla="*/ 3824971 w 9586368"/>
                <a:gd name="connsiteY6966" fmla="*/ 1449895 h 6479439"/>
                <a:gd name="connsiteX6967" fmla="*/ 3824971 w 9586368"/>
                <a:gd name="connsiteY6967" fmla="*/ 1440024 h 6479439"/>
                <a:gd name="connsiteX6968" fmla="*/ 4786241 w 9586368"/>
                <a:gd name="connsiteY6968" fmla="*/ 1435972 h 6479439"/>
                <a:gd name="connsiteX6969" fmla="*/ 4796152 w 9586368"/>
                <a:gd name="connsiteY6969" fmla="*/ 1435972 h 6479439"/>
                <a:gd name="connsiteX6970" fmla="*/ 4800171 w 9586368"/>
                <a:gd name="connsiteY6970" fmla="*/ 1440010 h 6479439"/>
                <a:gd name="connsiteX6971" fmla="*/ 4800171 w 9586368"/>
                <a:gd name="connsiteY6971" fmla="*/ 1449881 h 6479439"/>
                <a:gd name="connsiteX6972" fmla="*/ 4796152 w 9586368"/>
                <a:gd name="connsiteY6972" fmla="*/ 1453920 h 6479439"/>
                <a:gd name="connsiteX6973" fmla="*/ 4786241 w 9586368"/>
                <a:gd name="connsiteY6973" fmla="*/ 1453920 h 6479439"/>
                <a:gd name="connsiteX6974" fmla="*/ 4782224 w 9586368"/>
                <a:gd name="connsiteY6974" fmla="*/ 1449881 h 6479439"/>
                <a:gd name="connsiteX6975" fmla="*/ 4782224 w 9586368"/>
                <a:gd name="connsiteY6975" fmla="*/ 1440010 h 6479439"/>
                <a:gd name="connsiteX6976" fmla="*/ 5743412 w 9586368"/>
                <a:gd name="connsiteY6976" fmla="*/ 1435971 h 6479439"/>
                <a:gd name="connsiteX6977" fmla="*/ 5753323 w 9586368"/>
                <a:gd name="connsiteY6977" fmla="*/ 1435971 h 6479439"/>
                <a:gd name="connsiteX6978" fmla="*/ 5757342 w 9586368"/>
                <a:gd name="connsiteY6978" fmla="*/ 1440010 h 6479439"/>
                <a:gd name="connsiteX6979" fmla="*/ 5757342 w 9586368"/>
                <a:gd name="connsiteY6979" fmla="*/ 1449880 h 6479439"/>
                <a:gd name="connsiteX6980" fmla="*/ 5753323 w 9586368"/>
                <a:gd name="connsiteY6980" fmla="*/ 1453919 h 6479439"/>
                <a:gd name="connsiteX6981" fmla="*/ 5743412 w 9586368"/>
                <a:gd name="connsiteY6981" fmla="*/ 1453919 h 6479439"/>
                <a:gd name="connsiteX6982" fmla="*/ 5739393 w 9586368"/>
                <a:gd name="connsiteY6982" fmla="*/ 1449880 h 6479439"/>
                <a:gd name="connsiteX6983" fmla="*/ 5739393 w 9586368"/>
                <a:gd name="connsiteY6983" fmla="*/ 1440010 h 6479439"/>
                <a:gd name="connsiteX6984" fmla="*/ 5504099 w 9586368"/>
                <a:gd name="connsiteY6984" fmla="*/ 1435971 h 6479439"/>
                <a:gd name="connsiteX6985" fmla="*/ 5514010 w 9586368"/>
                <a:gd name="connsiteY6985" fmla="*/ 1435971 h 6479439"/>
                <a:gd name="connsiteX6986" fmla="*/ 5518029 w 9586368"/>
                <a:gd name="connsiteY6986" fmla="*/ 1440010 h 6479439"/>
                <a:gd name="connsiteX6987" fmla="*/ 5518029 w 9586368"/>
                <a:gd name="connsiteY6987" fmla="*/ 1449881 h 6479439"/>
                <a:gd name="connsiteX6988" fmla="*/ 5514010 w 9586368"/>
                <a:gd name="connsiteY6988" fmla="*/ 1453919 h 6479439"/>
                <a:gd name="connsiteX6989" fmla="*/ 5504099 w 9586368"/>
                <a:gd name="connsiteY6989" fmla="*/ 1453919 h 6479439"/>
                <a:gd name="connsiteX6990" fmla="*/ 5500080 w 9586368"/>
                <a:gd name="connsiteY6990" fmla="*/ 1449881 h 6479439"/>
                <a:gd name="connsiteX6991" fmla="*/ 5500080 w 9586368"/>
                <a:gd name="connsiteY6991" fmla="*/ 1440010 h 6479439"/>
                <a:gd name="connsiteX6992" fmla="*/ 5264784 w 9586368"/>
                <a:gd name="connsiteY6992" fmla="*/ 1435971 h 6479439"/>
                <a:gd name="connsiteX6993" fmla="*/ 5274694 w 9586368"/>
                <a:gd name="connsiteY6993" fmla="*/ 1435971 h 6479439"/>
                <a:gd name="connsiteX6994" fmla="*/ 5278713 w 9586368"/>
                <a:gd name="connsiteY6994" fmla="*/ 1440010 h 6479439"/>
                <a:gd name="connsiteX6995" fmla="*/ 5278713 w 9586368"/>
                <a:gd name="connsiteY6995" fmla="*/ 1449881 h 6479439"/>
                <a:gd name="connsiteX6996" fmla="*/ 5274694 w 9586368"/>
                <a:gd name="connsiteY6996" fmla="*/ 1453920 h 6479439"/>
                <a:gd name="connsiteX6997" fmla="*/ 5264784 w 9586368"/>
                <a:gd name="connsiteY6997" fmla="*/ 1453920 h 6479439"/>
                <a:gd name="connsiteX6998" fmla="*/ 5260765 w 9586368"/>
                <a:gd name="connsiteY6998" fmla="*/ 1449881 h 6479439"/>
                <a:gd name="connsiteX6999" fmla="*/ 5260765 w 9586368"/>
                <a:gd name="connsiteY6999" fmla="*/ 1440010 h 6479439"/>
                <a:gd name="connsiteX7000" fmla="*/ 5025470 w 9586368"/>
                <a:gd name="connsiteY7000" fmla="*/ 1435971 h 6479439"/>
                <a:gd name="connsiteX7001" fmla="*/ 5035381 w 9586368"/>
                <a:gd name="connsiteY7001" fmla="*/ 1435971 h 6479439"/>
                <a:gd name="connsiteX7002" fmla="*/ 5039400 w 9586368"/>
                <a:gd name="connsiteY7002" fmla="*/ 1440010 h 6479439"/>
                <a:gd name="connsiteX7003" fmla="*/ 5039400 w 9586368"/>
                <a:gd name="connsiteY7003" fmla="*/ 1449881 h 6479439"/>
                <a:gd name="connsiteX7004" fmla="*/ 5035381 w 9586368"/>
                <a:gd name="connsiteY7004" fmla="*/ 1453920 h 6479439"/>
                <a:gd name="connsiteX7005" fmla="*/ 5025470 w 9586368"/>
                <a:gd name="connsiteY7005" fmla="*/ 1453920 h 6479439"/>
                <a:gd name="connsiteX7006" fmla="*/ 5021451 w 9586368"/>
                <a:gd name="connsiteY7006" fmla="*/ 1449881 h 6479439"/>
                <a:gd name="connsiteX7007" fmla="*/ 5021451 w 9586368"/>
                <a:gd name="connsiteY7007" fmla="*/ 1440010 h 6479439"/>
                <a:gd name="connsiteX7008" fmla="*/ 5982729 w 9586368"/>
                <a:gd name="connsiteY7008" fmla="*/ 1435958 h 6479439"/>
                <a:gd name="connsiteX7009" fmla="*/ 5992639 w 9586368"/>
                <a:gd name="connsiteY7009" fmla="*/ 1435958 h 6479439"/>
                <a:gd name="connsiteX7010" fmla="*/ 5996658 w 9586368"/>
                <a:gd name="connsiteY7010" fmla="*/ 1439995 h 6479439"/>
                <a:gd name="connsiteX7011" fmla="*/ 5996658 w 9586368"/>
                <a:gd name="connsiteY7011" fmla="*/ 1449866 h 6479439"/>
                <a:gd name="connsiteX7012" fmla="*/ 5992639 w 9586368"/>
                <a:gd name="connsiteY7012" fmla="*/ 1453905 h 6479439"/>
                <a:gd name="connsiteX7013" fmla="*/ 5982729 w 9586368"/>
                <a:gd name="connsiteY7013" fmla="*/ 1453905 h 6479439"/>
                <a:gd name="connsiteX7014" fmla="*/ 5978710 w 9586368"/>
                <a:gd name="connsiteY7014" fmla="*/ 1449866 h 6479439"/>
                <a:gd name="connsiteX7015" fmla="*/ 5978710 w 9586368"/>
                <a:gd name="connsiteY7015" fmla="*/ 1439995 h 6479439"/>
                <a:gd name="connsiteX7016" fmla="*/ 6939983 w 9586368"/>
                <a:gd name="connsiteY7016" fmla="*/ 1435956 h 6479439"/>
                <a:gd name="connsiteX7017" fmla="*/ 6949894 w 9586368"/>
                <a:gd name="connsiteY7017" fmla="*/ 1435956 h 6479439"/>
                <a:gd name="connsiteX7018" fmla="*/ 6953913 w 9586368"/>
                <a:gd name="connsiteY7018" fmla="*/ 1439995 h 6479439"/>
                <a:gd name="connsiteX7019" fmla="*/ 6953913 w 9586368"/>
                <a:gd name="connsiteY7019" fmla="*/ 1449865 h 6479439"/>
                <a:gd name="connsiteX7020" fmla="*/ 6949894 w 9586368"/>
                <a:gd name="connsiteY7020" fmla="*/ 1453905 h 6479439"/>
                <a:gd name="connsiteX7021" fmla="*/ 6939983 w 9586368"/>
                <a:gd name="connsiteY7021" fmla="*/ 1453905 h 6479439"/>
                <a:gd name="connsiteX7022" fmla="*/ 6935964 w 9586368"/>
                <a:gd name="connsiteY7022" fmla="*/ 1449865 h 6479439"/>
                <a:gd name="connsiteX7023" fmla="*/ 6935964 w 9586368"/>
                <a:gd name="connsiteY7023" fmla="*/ 1439995 h 6479439"/>
                <a:gd name="connsiteX7024" fmla="*/ 6700670 w 9586368"/>
                <a:gd name="connsiteY7024" fmla="*/ 1435956 h 6479439"/>
                <a:gd name="connsiteX7025" fmla="*/ 6710581 w 9586368"/>
                <a:gd name="connsiteY7025" fmla="*/ 1435956 h 6479439"/>
                <a:gd name="connsiteX7026" fmla="*/ 6714600 w 9586368"/>
                <a:gd name="connsiteY7026" fmla="*/ 1439995 h 6479439"/>
                <a:gd name="connsiteX7027" fmla="*/ 6714600 w 9586368"/>
                <a:gd name="connsiteY7027" fmla="*/ 1449866 h 6479439"/>
                <a:gd name="connsiteX7028" fmla="*/ 6710581 w 9586368"/>
                <a:gd name="connsiteY7028" fmla="*/ 1453905 h 6479439"/>
                <a:gd name="connsiteX7029" fmla="*/ 6700670 w 9586368"/>
                <a:gd name="connsiteY7029" fmla="*/ 1453905 h 6479439"/>
                <a:gd name="connsiteX7030" fmla="*/ 6696651 w 9586368"/>
                <a:gd name="connsiteY7030" fmla="*/ 1449866 h 6479439"/>
                <a:gd name="connsiteX7031" fmla="*/ 6696651 w 9586368"/>
                <a:gd name="connsiteY7031" fmla="*/ 1439995 h 6479439"/>
                <a:gd name="connsiteX7032" fmla="*/ 6461356 w 9586368"/>
                <a:gd name="connsiteY7032" fmla="*/ 1435956 h 6479439"/>
                <a:gd name="connsiteX7033" fmla="*/ 6471266 w 9586368"/>
                <a:gd name="connsiteY7033" fmla="*/ 1435956 h 6479439"/>
                <a:gd name="connsiteX7034" fmla="*/ 6475285 w 9586368"/>
                <a:gd name="connsiteY7034" fmla="*/ 1439995 h 6479439"/>
                <a:gd name="connsiteX7035" fmla="*/ 6475285 w 9586368"/>
                <a:gd name="connsiteY7035" fmla="*/ 1449866 h 6479439"/>
                <a:gd name="connsiteX7036" fmla="*/ 6471266 w 9586368"/>
                <a:gd name="connsiteY7036" fmla="*/ 1453905 h 6479439"/>
                <a:gd name="connsiteX7037" fmla="*/ 6461356 w 9586368"/>
                <a:gd name="connsiteY7037" fmla="*/ 1453905 h 6479439"/>
                <a:gd name="connsiteX7038" fmla="*/ 6457337 w 9586368"/>
                <a:gd name="connsiteY7038" fmla="*/ 1449866 h 6479439"/>
                <a:gd name="connsiteX7039" fmla="*/ 6457337 w 9586368"/>
                <a:gd name="connsiteY7039" fmla="*/ 1439995 h 6479439"/>
                <a:gd name="connsiteX7040" fmla="*/ 6222042 w 9586368"/>
                <a:gd name="connsiteY7040" fmla="*/ 1435956 h 6479439"/>
                <a:gd name="connsiteX7041" fmla="*/ 6231952 w 9586368"/>
                <a:gd name="connsiteY7041" fmla="*/ 1435956 h 6479439"/>
                <a:gd name="connsiteX7042" fmla="*/ 6235971 w 9586368"/>
                <a:gd name="connsiteY7042" fmla="*/ 1439995 h 6479439"/>
                <a:gd name="connsiteX7043" fmla="*/ 6235971 w 9586368"/>
                <a:gd name="connsiteY7043" fmla="*/ 1449866 h 6479439"/>
                <a:gd name="connsiteX7044" fmla="*/ 6231952 w 9586368"/>
                <a:gd name="connsiteY7044" fmla="*/ 1453905 h 6479439"/>
                <a:gd name="connsiteX7045" fmla="*/ 6222042 w 9586368"/>
                <a:gd name="connsiteY7045" fmla="*/ 1453905 h 6479439"/>
                <a:gd name="connsiteX7046" fmla="*/ 6218023 w 9586368"/>
                <a:gd name="connsiteY7046" fmla="*/ 1449866 h 6479439"/>
                <a:gd name="connsiteX7047" fmla="*/ 6218023 w 9586368"/>
                <a:gd name="connsiteY7047" fmla="*/ 1439995 h 6479439"/>
                <a:gd name="connsiteX7048" fmla="*/ 7179298 w 9586368"/>
                <a:gd name="connsiteY7048" fmla="*/ 1435943 h 6479439"/>
                <a:gd name="connsiteX7049" fmla="*/ 7189209 w 9586368"/>
                <a:gd name="connsiteY7049" fmla="*/ 1435943 h 6479439"/>
                <a:gd name="connsiteX7050" fmla="*/ 7193228 w 9586368"/>
                <a:gd name="connsiteY7050" fmla="*/ 1439981 h 6479439"/>
                <a:gd name="connsiteX7051" fmla="*/ 7193228 w 9586368"/>
                <a:gd name="connsiteY7051" fmla="*/ 1449852 h 6479439"/>
                <a:gd name="connsiteX7052" fmla="*/ 7189209 w 9586368"/>
                <a:gd name="connsiteY7052" fmla="*/ 1453891 h 6479439"/>
                <a:gd name="connsiteX7053" fmla="*/ 7179298 w 9586368"/>
                <a:gd name="connsiteY7053" fmla="*/ 1453891 h 6479439"/>
                <a:gd name="connsiteX7054" fmla="*/ 7175279 w 9586368"/>
                <a:gd name="connsiteY7054" fmla="*/ 1449852 h 6479439"/>
                <a:gd name="connsiteX7055" fmla="*/ 7175279 w 9586368"/>
                <a:gd name="connsiteY7055" fmla="*/ 1439981 h 6479439"/>
                <a:gd name="connsiteX7056" fmla="*/ 8136553 w 9586368"/>
                <a:gd name="connsiteY7056" fmla="*/ 1435943 h 6479439"/>
                <a:gd name="connsiteX7057" fmla="*/ 8146464 w 9586368"/>
                <a:gd name="connsiteY7057" fmla="*/ 1435943 h 6479439"/>
                <a:gd name="connsiteX7058" fmla="*/ 8150483 w 9586368"/>
                <a:gd name="connsiteY7058" fmla="*/ 1439980 h 6479439"/>
                <a:gd name="connsiteX7059" fmla="*/ 8150483 w 9586368"/>
                <a:gd name="connsiteY7059" fmla="*/ 1449851 h 6479439"/>
                <a:gd name="connsiteX7060" fmla="*/ 8146464 w 9586368"/>
                <a:gd name="connsiteY7060" fmla="*/ 1453890 h 6479439"/>
                <a:gd name="connsiteX7061" fmla="*/ 8136553 w 9586368"/>
                <a:gd name="connsiteY7061" fmla="*/ 1453890 h 6479439"/>
                <a:gd name="connsiteX7062" fmla="*/ 8132534 w 9586368"/>
                <a:gd name="connsiteY7062" fmla="*/ 1449851 h 6479439"/>
                <a:gd name="connsiteX7063" fmla="*/ 8132534 w 9586368"/>
                <a:gd name="connsiteY7063" fmla="*/ 1439980 h 6479439"/>
                <a:gd name="connsiteX7064" fmla="*/ 7897241 w 9586368"/>
                <a:gd name="connsiteY7064" fmla="*/ 1435943 h 6479439"/>
                <a:gd name="connsiteX7065" fmla="*/ 7907151 w 9586368"/>
                <a:gd name="connsiteY7065" fmla="*/ 1435943 h 6479439"/>
                <a:gd name="connsiteX7066" fmla="*/ 7911170 w 9586368"/>
                <a:gd name="connsiteY7066" fmla="*/ 1439980 h 6479439"/>
                <a:gd name="connsiteX7067" fmla="*/ 7911170 w 9586368"/>
                <a:gd name="connsiteY7067" fmla="*/ 1449852 h 6479439"/>
                <a:gd name="connsiteX7068" fmla="*/ 7907151 w 9586368"/>
                <a:gd name="connsiteY7068" fmla="*/ 1453890 h 6479439"/>
                <a:gd name="connsiteX7069" fmla="*/ 7897241 w 9586368"/>
                <a:gd name="connsiteY7069" fmla="*/ 1453890 h 6479439"/>
                <a:gd name="connsiteX7070" fmla="*/ 7893222 w 9586368"/>
                <a:gd name="connsiteY7070" fmla="*/ 1449852 h 6479439"/>
                <a:gd name="connsiteX7071" fmla="*/ 7893222 w 9586368"/>
                <a:gd name="connsiteY7071" fmla="*/ 1439980 h 6479439"/>
                <a:gd name="connsiteX7072" fmla="*/ 7657926 w 9586368"/>
                <a:gd name="connsiteY7072" fmla="*/ 1435943 h 6479439"/>
                <a:gd name="connsiteX7073" fmla="*/ 7667836 w 9586368"/>
                <a:gd name="connsiteY7073" fmla="*/ 1435943 h 6479439"/>
                <a:gd name="connsiteX7074" fmla="*/ 7671855 w 9586368"/>
                <a:gd name="connsiteY7074" fmla="*/ 1439980 h 6479439"/>
                <a:gd name="connsiteX7075" fmla="*/ 7671855 w 9586368"/>
                <a:gd name="connsiteY7075" fmla="*/ 1449852 h 6479439"/>
                <a:gd name="connsiteX7076" fmla="*/ 7667836 w 9586368"/>
                <a:gd name="connsiteY7076" fmla="*/ 1453891 h 6479439"/>
                <a:gd name="connsiteX7077" fmla="*/ 7657926 w 9586368"/>
                <a:gd name="connsiteY7077" fmla="*/ 1453891 h 6479439"/>
                <a:gd name="connsiteX7078" fmla="*/ 7653906 w 9586368"/>
                <a:gd name="connsiteY7078" fmla="*/ 1449852 h 6479439"/>
                <a:gd name="connsiteX7079" fmla="*/ 7653906 w 9586368"/>
                <a:gd name="connsiteY7079" fmla="*/ 1439980 h 6479439"/>
                <a:gd name="connsiteX7080" fmla="*/ 7418611 w 9586368"/>
                <a:gd name="connsiteY7080" fmla="*/ 1435943 h 6479439"/>
                <a:gd name="connsiteX7081" fmla="*/ 7428521 w 9586368"/>
                <a:gd name="connsiteY7081" fmla="*/ 1435943 h 6479439"/>
                <a:gd name="connsiteX7082" fmla="*/ 7432540 w 9586368"/>
                <a:gd name="connsiteY7082" fmla="*/ 1439980 h 6479439"/>
                <a:gd name="connsiteX7083" fmla="*/ 7432540 w 9586368"/>
                <a:gd name="connsiteY7083" fmla="*/ 1449852 h 6479439"/>
                <a:gd name="connsiteX7084" fmla="*/ 7428521 w 9586368"/>
                <a:gd name="connsiteY7084" fmla="*/ 1453891 h 6479439"/>
                <a:gd name="connsiteX7085" fmla="*/ 7418611 w 9586368"/>
                <a:gd name="connsiteY7085" fmla="*/ 1453891 h 6479439"/>
                <a:gd name="connsiteX7086" fmla="*/ 7414592 w 9586368"/>
                <a:gd name="connsiteY7086" fmla="*/ 1449852 h 6479439"/>
                <a:gd name="connsiteX7087" fmla="*/ 7414592 w 9586368"/>
                <a:gd name="connsiteY7087" fmla="*/ 1439980 h 6479439"/>
                <a:gd name="connsiteX7088" fmla="*/ 8375869 w 9586368"/>
                <a:gd name="connsiteY7088" fmla="*/ 1435928 h 6479439"/>
                <a:gd name="connsiteX7089" fmla="*/ 8385779 w 9586368"/>
                <a:gd name="connsiteY7089" fmla="*/ 1435928 h 6479439"/>
                <a:gd name="connsiteX7090" fmla="*/ 8389799 w 9586368"/>
                <a:gd name="connsiteY7090" fmla="*/ 1439967 h 6479439"/>
                <a:gd name="connsiteX7091" fmla="*/ 8389799 w 9586368"/>
                <a:gd name="connsiteY7091" fmla="*/ 1449837 h 6479439"/>
                <a:gd name="connsiteX7092" fmla="*/ 8385779 w 9586368"/>
                <a:gd name="connsiteY7092" fmla="*/ 1453877 h 6479439"/>
                <a:gd name="connsiteX7093" fmla="*/ 8375869 w 9586368"/>
                <a:gd name="connsiteY7093" fmla="*/ 1453877 h 6479439"/>
                <a:gd name="connsiteX7094" fmla="*/ 8371850 w 9586368"/>
                <a:gd name="connsiteY7094" fmla="*/ 1449837 h 6479439"/>
                <a:gd name="connsiteX7095" fmla="*/ 8371850 w 9586368"/>
                <a:gd name="connsiteY7095" fmla="*/ 1439967 h 6479439"/>
                <a:gd name="connsiteX7096" fmla="*/ 9333125 w 9586368"/>
                <a:gd name="connsiteY7096" fmla="*/ 1435928 h 6479439"/>
                <a:gd name="connsiteX7097" fmla="*/ 9343036 w 9586368"/>
                <a:gd name="connsiteY7097" fmla="*/ 1435928 h 6479439"/>
                <a:gd name="connsiteX7098" fmla="*/ 9347055 w 9586368"/>
                <a:gd name="connsiteY7098" fmla="*/ 1439967 h 6479439"/>
                <a:gd name="connsiteX7099" fmla="*/ 9347055 w 9586368"/>
                <a:gd name="connsiteY7099" fmla="*/ 1449836 h 6479439"/>
                <a:gd name="connsiteX7100" fmla="*/ 9343036 w 9586368"/>
                <a:gd name="connsiteY7100" fmla="*/ 1453876 h 6479439"/>
                <a:gd name="connsiteX7101" fmla="*/ 9333125 w 9586368"/>
                <a:gd name="connsiteY7101" fmla="*/ 1453876 h 6479439"/>
                <a:gd name="connsiteX7102" fmla="*/ 9329106 w 9586368"/>
                <a:gd name="connsiteY7102" fmla="*/ 1449836 h 6479439"/>
                <a:gd name="connsiteX7103" fmla="*/ 9329106 w 9586368"/>
                <a:gd name="connsiteY7103" fmla="*/ 1439967 h 6479439"/>
                <a:gd name="connsiteX7104" fmla="*/ 9093811 w 9586368"/>
                <a:gd name="connsiteY7104" fmla="*/ 1435928 h 6479439"/>
                <a:gd name="connsiteX7105" fmla="*/ 9103722 w 9586368"/>
                <a:gd name="connsiteY7105" fmla="*/ 1435928 h 6479439"/>
                <a:gd name="connsiteX7106" fmla="*/ 9107741 w 9586368"/>
                <a:gd name="connsiteY7106" fmla="*/ 1439967 h 6479439"/>
                <a:gd name="connsiteX7107" fmla="*/ 9107741 w 9586368"/>
                <a:gd name="connsiteY7107" fmla="*/ 1449837 h 6479439"/>
                <a:gd name="connsiteX7108" fmla="*/ 9103722 w 9586368"/>
                <a:gd name="connsiteY7108" fmla="*/ 1453876 h 6479439"/>
                <a:gd name="connsiteX7109" fmla="*/ 9093811 w 9586368"/>
                <a:gd name="connsiteY7109" fmla="*/ 1453876 h 6479439"/>
                <a:gd name="connsiteX7110" fmla="*/ 9089792 w 9586368"/>
                <a:gd name="connsiteY7110" fmla="*/ 1449837 h 6479439"/>
                <a:gd name="connsiteX7111" fmla="*/ 9089792 w 9586368"/>
                <a:gd name="connsiteY7111" fmla="*/ 1439967 h 6479439"/>
                <a:gd name="connsiteX7112" fmla="*/ 8854496 w 9586368"/>
                <a:gd name="connsiteY7112" fmla="*/ 1435928 h 6479439"/>
                <a:gd name="connsiteX7113" fmla="*/ 8864407 w 9586368"/>
                <a:gd name="connsiteY7113" fmla="*/ 1435928 h 6479439"/>
                <a:gd name="connsiteX7114" fmla="*/ 8868426 w 9586368"/>
                <a:gd name="connsiteY7114" fmla="*/ 1439967 h 6479439"/>
                <a:gd name="connsiteX7115" fmla="*/ 8868426 w 9586368"/>
                <a:gd name="connsiteY7115" fmla="*/ 1449837 h 6479439"/>
                <a:gd name="connsiteX7116" fmla="*/ 8864407 w 9586368"/>
                <a:gd name="connsiteY7116" fmla="*/ 1453877 h 6479439"/>
                <a:gd name="connsiteX7117" fmla="*/ 8854496 w 9586368"/>
                <a:gd name="connsiteY7117" fmla="*/ 1453877 h 6479439"/>
                <a:gd name="connsiteX7118" fmla="*/ 8850477 w 9586368"/>
                <a:gd name="connsiteY7118" fmla="*/ 1449837 h 6479439"/>
                <a:gd name="connsiteX7119" fmla="*/ 8850477 w 9586368"/>
                <a:gd name="connsiteY7119" fmla="*/ 1439967 h 6479439"/>
                <a:gd name="connsiteX7120" fmla="*/ 8615184 w 9586368"/>
                <a:gd name="connsiteY7120" fmla="*/ 1435928 h 6479439"/>
                <a:gd name="connsiteX7121" fmla="*/ 8625095 w 9586368"/>
                <a:gd name="connsiteY7121" fmla="*/ 1435928 h 6479439"/>
                <a:gd name="connsiteX7122" fmla="*/ 8629114 w 9586368"/>
                <a:gd name="connsiteY7122" fmla="*/ 1439967 h 6479439"/>
                <a:gd name="connsiteX7123" fmla="*/ 8629114 w 9586368"/>
                <a:gd name="connsiteY7123" fmla="*/ 1449837 h 6479439"/>
                <a:gd name="connsiteX7124" fmla="*/ 8625095 w 9586368"/>
                <a:gd name="connsiteY7124" fmla="*/ 1453877 h 6479439"/>
                <a:gd name="connsiteX7125" fmla="*/ 8615184 w 9586368"/>
                <a:gd name="connsiteY7125" fmla="*/ 1453877 h 6479439"/>
                <a:gd name="connsiteX7126" fmla="*/ 8611165 w 9586368"/>
                <a:gd name="connsiteY7126" fmla="*/ 1449837 h 6479439"/>
                <a:gd name="connsiteX7127" fmla="*/ 8611165 w 9586368"/>
                <a:gd name="connsiteY7127" fmla="*/ 1439967 h 6479439"/>
                <a:gd name="connsiteX7128" fmla="*/ 1679216 w 9586368"/>
                <a:gd name="connsiteY7128" fmla="*/ 1435922 h 6479439"/>
                <a:gd name="connsiteX7129" fmla="*/ 1689126 w 9586368"/>
                <a:gd name="connsiteY7129" fmla="*/ 1435922 h 6479439"/>
                <a:gd name="connsiteX7130" fmla="*/ 1693146 w 9586368"/>
                <a:gd name="connsiteY7130" fmla="*/ 1439960 h 6479439"/>
                <a:gd name="connsiteX7131" fmla="*/ 1693146 w 9586368"/>
                <a:gd name="connsiteY7131" fmla="*/ 1449831 h 6479439"/>
                <a:gd name="connsiteX7132" fmla="*/ 1689126 w 9586368"/>
                <a:gd name="connsiteY7132" fmla="*/ 1453870 h 6479439"/>
                <a:gd name="connsiteX7133" fmla="*/ 1679216 w 9586368"/>
                <a:gd name="connsiteY7133" fmla="*/ 1453870 h 6479439"/>
                <a:gd name="connsiteX7134" fmla="*/ 1675198 w 9586368"/>
                <a:gd name="connsiteY7134" fmla="*/ 1449831 h 6479439"/>
                <a:gd name="connsiteX7135" fmla="*/ 1675198 w 9586368"/>
                <a:gd name="connsiteY7135" fmla="*/ 1439960 h 6479439"/>
                <a:gd name="connsiteX7136" fmla="*/ 1439900 w 9586368"/>
                <a:gd name="connsiteY7136" fmla="*/ 1435922 h 6479439"/>
                <a:gd name="connsiteX7137" fmla="*/ 1449810 w 9586368"/>
                <a:gd name="connsiteY7137" fmla="*/ 1435922 h 6479439"/>
                <a:gd name="connsiteX7138" fmla="*/ 1453828 w 9586368"/>
                <a:gd name="connsiteY7138" fmla="*/ 1439960 h 6479439"/>
                <a:gd name="connsiteX7139" fmla="*/ 1453828 w 9586368"/>
                <a:gd name="connsiteY7139" fmla="*/ 1449831 h 6479439"/>
                <a:gd name="connsiteX7140" fmla="*/ 1449810 w 9586368"/>
                <a:gd name="connsiteY7140" fmla="*/ 1453870 h 6479439"/>
                <a:gd name="connsiteX7141" fmla="*/ 1439900 w 9586368"/>
                <a:gd name="connsiteY7141" fmla="*/ 1453870 h 6479439"/>
                <a:gd name="connsiteX7142" fmla="*/ 1435880 w 9586368"/>
                <a:gd name="connsiteY7142" fmla="*/ 1449831 h 6479439"/>
                <a:gd name="connsiteX7143" fmla="*/ 1435880 w 9586368"/>
                <a:gd name="connsiteY7143" fmla="*/ 1439960 h 6479439"/>
                <a:gd name="connsiteX7144" fmla="*/ 1200583 w 9586368"/>
                <a:gd name="connsiteY7144" fmla="*/ 1435922 h 6479439"/>
                <a:gd name="connsiteX7145" fmla="*/ 1210493 w 9586368"/>
                <a:gd name="connsiteY7145" fmla="*/ 1435922 h 6479439"/>
                <a:gd name="connsiteX7146" fmla="*/ 1214512 w 9586368"/>
                <a:gd name="connsiteY7146" fmla="*/ 1439960 h 6479439"/>
                <a:gd name="connsiteX7147" fmla="*/ 1214512 w 9586368"/>
                <a:gd name="connsiteY7147" fmla="*/ 1449831 h 6479439"/>
                <a:gd name="connsiteX7148" fmla="*/ 1210493 w 9586368"/>
                <a:gd name="connsiteY7148" fmla="*/ 1453870 h 6479439"/>
                <a:gd name="connsiteX7149" fmla="*/ 1200583 w 9586368"/>
                <a:gd name="connsiteY7149" fmla="*/ 1453870 h 6479439"/>
                <a:gd name="connsiteX7150" fmla="*/ 1196564 w 9586368"/>
                <a:gd name="connsiteY7150" fmla="*/ 1449831 h 6479439"/>
                <a:gd name="connsiteX7151" fmla="*/ 1196564 w 9586368"/>
                <a:gd name="connsiteY7151" fmla="*/ 1439960 h 6479439"/>
                <a:gd name="connsiteX7152" fmla="*/ 961270 w 9586368"/>
                <a:gd name="connsiteY7152" fmla="*/ 1435922 h 6479439"/>
                <a:gd name="connsiteX7153" fmla="*/ 971181 w 9586368"/>
                <a:gd name="connsiteY7153" fmla="*/ 1435922 h 6479439"/>
                <a:gd name="connsiteX7154" fmla="*/ 975200 w 9586368"/>
                <a:gd name="connsiteY7154" fmla="*/ 1439960 h 6479439"/>
                <a:gd name="connsiteX7155" fmla="*/ 975200 w 9586368"/>
                <a:gd name="connsiteY7155" fmla="*/ 1449831 h 6479439"/>
                <a:gd name="connsiteX7156" fmla="*/ 971181 w 9586368"/>
                <a:gd name="connsiteY7156" fmla="*/ 1453870 h 6479439"/>
                <a:gd name="connsiteX7157" fmla="*/ 961270 w 9586368"/>
                <a:gd name="connsiteY7157" fmla="*/ 1453870 h 6479439"/>
                <a:gd name="connsiteX7158" fmla="*/ 957252 w 9586368"/>
                <a:gd name="connsiteY7158" fmla="*/ 1449831 h 6479439"/>
                <a:gd name="connsiteX7159" fmla="*/ 957252 w 9586368"/>
                <a:gd name="connsiteY7159" fmla="*/ 1439960 h 6479439"/>
                <a:gd name="connsiteX7160" fmla="*/ 9572438 w 9586368"/>
                <a:gd name="connsiteY7160" fmla="*/ 1435914 h 6479439"/>
                <a:gd name="connsiteX7161" fmla="*/ 9582349 w 9586368"/>
                <a:gd name="connsiteY7161" fmla="*/ 1435914 h 6479439"/>
                <a:gd name="connsiteX7162" fmla="*/ 9586368 w 9586368"/>
                <a:gd name="connsiteY7162" fmla="*/ 1439952 h 6479439"/>
                <a:gd name="connsiteX7163" fmla="*/ 9586368 w 9586368"/>
                <a:gd name="connsiteY7163" fmla="*/ 1449823 h 6479439"/>
                <a:gd name="connsiteX7164" fmla="*/ 9582349 w 9586368"/>
                <a:gd name="connsiteY7164" fmla="*/ 1453862 h 6479439"/>
                <a:gd name="connsiteX7165" fmla="*/ 9572438 w 9586368"/>
                <a:gd name="connsiteY7165" fmla="*/ 1453862 h 6479439"/>
                <a:gd name="connsiteX7166" fmla="*/ 9568419 w 9586368"/>
                <a:gd name="connsiteY7166" fmla="*/ 1449823 h 6479439"/>
                <a:gd name="connsiteX7167" fmla="*/ 9568419 w 9586368"/>
                <a:gd name="connsiteY7167" fmla="*/ 1439952 h 6479439"/>
                <a:gd name="connsiteX7168" fmla="*/ 1918514 w 9586368"/>
                <a:gd name="connsiteY7168" fmla="*/ 1435912 h 6479439"/>
                <a:gd name="connsiteX7169" fmla="*/ 1928424 w 9586368"/>
                <a:gd name="connsiteY7169" fmla="*/ 1435912 h 6479439"/>
                <a:gd name="connsiteX7170" fmla="*/ 1932443 w 9586368"/>
                <a:gd name="connsiteY7170" fmla="*/ 1439950 h 6479439"/>
                <a:gd name="connsiteX7171" fmla="*/ 1932443 w 9586368"/>
                <a:gd name="connsiteY7171" fmla="*/ 1449821 h 6479439"/>
                <a:gd name="connsiteX7172" fmla="*/ 1928424 w 9586368"/>
                <a:gd name="connsiteY7172" fmla="*/ 1453860 h 6479439"/>
                <a:gd name="connsiteX7173" fmla="*/ 1918514 w 9586368"/>
                <a:gd name="connsiteY7173" fmla="*/ 1453860 h 6479439"/>
                <a:gd name="connsiteX7174" fmla="*/ 1914494 w 9586368"/>
                <a:gd name="connsiteY7174" fmla="*/ 1449821 h 6479439"/>
                <a:gd name="connsiteX7175" fmla="*/ 1914494 w 9586368"/>
                <a:gd name="connsiteY7175" fmla="*/ 1439950 h 6479439"/>
                <a:gd name="connsiteX7176" fmla="*/ 2157823 w 9586368"/>
                <a:gd name="connsiteY7176" fmla="*/ 1435909 h 6479439"/>
                <a:gd name="connsiteX7177" fmla="*/ 2167733 w 9586368"/>
                <a:gd name="connsiteY7177" fmla="*/ 1435909 h 6479439"/>
                <a:gd name="connsiteX7178" fmla="*/ 2171751 w 9586368"/>
                <a:gd name="connsiteY7178" fmla="*/ 1439947 h 6479439"/>
                <a:gd name="connsiteX7179" fmla="*/ 2171751 w 9586368"/>
                <a:gd name="connsiteY7179" fmla="*/ 1449818 h 6479439"/>
                <a:gd name="connsiteX7180" fmla="*/ 2167733 w 9586368"/>
                <a:gd name="connsiteY7180" fmla="*/ 1453857 h 6479439"/>
                <a:gd name="connsiteX7181" fmla="*/ 2157823 w 9586368"/>
                <a:gd name="connsiteY7181" fmla="*/ 1453857 h 6479439"/>
                <a:gd name="connsiteX7182" fmla="*/ 2153803 w 9586368"/>
                <a:gd name="connsiteY7182" fmla="*/ 1449818 h 6479439"/>
                <a:gd name="connsiteX7183" fmla="*/ 2153803 w 9586368"/>
                <a:gd name="connsiteY7183" fmla="*/ 1439947 h 6479439"/>
                <a:gd name="connsiteX7184" fmla="*/ 243347 w 9586368"/>
                <a:gd name="connsiteY7184" fmla="*/ 1435883 h 6479439"/>
                <a:gd name="connsiteX7185" fmla="*/ 253257 w 9586368"/>
                <a:gd name="connsiteY7185" fmla="*/ 1435883 h 6479439"/>
                <a:gd name="connsiteX7186" fmla="*/ 257276 w 9586368"/>
                <a:gd name="connsiteY7186" fmla="*/ 1439920 h 6479439"/>
                <a:gd name="connsiteX7187" fmla="*/ 257276 w 9586368"/>
                <a:gd name="connsiteY7187" fmla="*/ 1449791 h 6479439"/>
                <a:gd name="connsiteX7188" fmla="*/ 253257 w 9586368"/>
                <a:gd name="connsiteY7188" fmla="*/ 1453830 h 6479439"/>
                <a:gd name="connsiteX7189" fmla="*/ 243347 w 9586368"/>
                <a:gd name="connsiteY7189" fmla="*/ 1453830 h 6479439"/>
                <a:gd name="connsiteX7190" fmla="*/ 239328 w 9586368"/>
                <a:gd name="connsiteY7190" fmla="*/ 1449791 h 6479439"/>
                <a:gd name="connsiteX7191" fmla="*/ 239328 w 9586368"/>
                <a:gd name="connsiteY7191" fmla="*/ 1439920 h 6479439"/>
                <a:gd name="connsiteX7192" fmla="*/ 4034 w 9586368"/>
                <a:gd name="connsiteY7192" fmla="*/ 1435883 h 6479439"/>
                <a:gd name="connsiteX7193" fmla="*/ 13944 w 9586368"/>
                <a:gd name="connsiteY7193" fmla="*/ 1435883 h 6479439"/>
                <a:gd name="connsiteX7194" fmla="*/ 17964 w 9586368"/>
                <a:gd name="connsiteY7194" fmla="*/ 1439920 h 6479439"/>
                <a:gd name="connsiteX7195" fmla="*/ 17964 w 9586368"/>
                <a:gd name="connsiteY7195" fmla="*/ 1449791 h 6479439"/>
                <a:gd name="connsiteX7196" fmla="*/ 13944 w 9586368"/>
                <a:gd name="connsiteY7196" fmla="*/ 1453830 h 6479439"/>
                <a:gd name="connsiteX7197" fmla="*/ 4034 w 9586368"/>
                <a:gd name="connsiteY7197" fmla="*/ 1453830 h 6479439"/>
                <a:gd name="connsiteX7198" fmla="*/ 15 w 9586368"/>
                <a:gd name="connsiteY7198" fmla="*/ 1449791 h 6479439"/>
                <a:gd name="connsiteX7199" fmla="*/ 15 w 9586368"/>
                <a:gd name="connsiteY7199" fmla="*/ 1439920 h 6479439"/>
                <a:gd name="connsiteX7200" fmla="*/ 721973 w 9586368"/>
                <a:gd name="connsiteY7200" fmla="*/ 1435882 h 6479439"/>
                <a:gd name="connsiteX7201" fmla="*/ 731883 w 9586368"/>
                <a:gd name="connsiteY7201" fmla="*/ 1435882 h 6479439"/>
                <a:gd name="connsiteX7202" fmla="*/ 735902 w 9586368"/>
                <a:gd name="connsiteY7202" fmla="*/ 1439920 h 6479439"/>
                <a:gd name="connsiteX7203" fmla="*/ 735902 w 9586368"/>
                <a:gd name="connsiteY7203" fmla="*/ 1449791 h 6479439"/>
                <a:gd name="connsiteX7204" fmla="*/ 731883 w 9586368"/>
                <a:gd name="connsiteY7204" fmla="*/ 1453830 h 6479439"/>
                <a:gd name="connsiteX7205" fmla="*/ 721973 w 9586368"/>
                <a:gd name="connsiteY7205" fmla="*/ 1453830 h 6479439"/>
                <a:gd name="connsiteX7206" fmla="*/ 717954 w 9586368"/>
                <a:gd name="connsiteY7206" fmla="*/ 1449791 h 6479439"/>
                <a:gd name="connsiteX7207" fmla="*/ 717954 w 9586368"/>
                <a:gd name="connsiteY7207" fmla="*/ 1439920 h 6479439"/>
                <a:gd name="connsiteX7208" fmla="*/ 482661 w 9586368"/>
                <a:gd name="connsiteY7208" fmla="*/ 1435882 h 6479439"/>
                <a:gd name="connsiteX7209" fmla="*/ 492571 w 9586368"/>
                <a:gd name="connsiteY7209" fmla="*/ 1435882 h 6479439"/>
                <a:gd name="connsiteX7210" fmla="*/ 496590 w 9586368"/>
                <a:gd name="connsiteY7210" fmla="*/ 1439920 h 6479439"/>
                <a:gd name="connsiteX7211" fmla="*/ 496590 w 9586368"/>
                <a:gd name="connsiteY7211" fmla="*/ 1449791 h 6479439"/>
                <a:gd name="connsiteX7212" fmla="*/ 492571 w 9586368"/>
                <a:gd name="connsiteY7212" fmla="*/ 1453830 h 6479439"/>
                <a:gd name="connsiteX7213" fmla="*/ 482661 w 9586368"/>
                <a:gd name="connsiteY7213" fmla="*/ 1453830 h 6479439"/>
                <a:gd name="connsiteX7214" fmla="*/ 478642 w 9586368"/>
                <a:gd name="connsiteY7214" fmla="*/ 1449791 h 6479439"/>
                <a:gd name="connsiteX7215" fmla="*/ 478642 w 9586368"/>
                <a:gd name="connsiteY7215" fmla="*/ 1439920 h 6479439"/>
                <a:gd name="connsiteX7216" fmla="*/ 3350359 w 9586368"/>
                <a:gd name="connsiteY7216" fmla="*/ 1196701 h 6479439"/>
                <a:gd name="connsiteX7217" fmla="*/ 3360268 w 9586368"/>
                <a:gd name="connsiteY7217" fmla="*/ 1196701 h 6479439"/>
                <a:gd name="connsiteX7218" fmla="*/ 3364287 w 9586368"/>
                <a:gd name="connsiteY7218" fmla="*/ 1200738 h 6479439"/>
                <a:gd name="connsiteX7219" fmla="*/ 3364287 w 9586368"/>
                <a:gd name="connsiteY7219" fmla="*/ 1210610 h 6479439"/>
                <a:gd name="connsiteX7220" fmla="*/ 3360268 w 9586368"/>
                <a:gd name="connsiteY7220" fmla="*/ 1214650 h 6479439"/>
                <a:gd name="connsiteX7221" fmla="*/ 3350359 w 9586368"/>
                <a:gd name="connsiteY7221" fmla="*/ 1214650 h 6479439"/>
                <a:gd name="connsiteX7222" fmla="*/ 3346340 w 9586368"/>
                <a:gd name="connsiteY7222" fmla="*/ 1210610 h 6479439"/>
                <a:gd name="connsiteX7223" fmla="*/ 3346340 w 9586368"/>
                <a:gd name="connsiteY7223" fmla="*/ 1200738 h 6479439"/>
                <a:gd name="connsiteX7224" fmla="*/ 3111048 w 9586368"/>
                <a:gd name="connsiteY7224" fmla="*/ 1196701 h 6479439"/>
                <a:gd name="connsiteX7225" fmla="*/ 3120959 w 9586368"/>
                <a:gd name="connsiteY7225" fmla="*/ 1196701 h 6479439"/>
                <a:gd name="connsiteX7226" fmla="*/ 3124977 w 9586368"/>
                <a:gd name="connsiteY7226" fmla="*/ 1200738 h 6479439"/>
                <a:gd name="connsiteX7227" fmla="*/ 3124977 w 9586368"/>
                <a:gd name="connsiteY7227" fmla="*/ 1210610 h 6479439"/>
                <a:gd name="connsiteX7228" fmla="*/ 3120959 w 9586368"/>
                <a:gd name="connsiteY7228" fmla="*/ 1214650 h 6479439"/>
                <a:gd name="connsiteX7229" fmla="*/ 3111048 w 9586368"/>
                <a:gd name="connsiteY7229" fmla="*/ 1214650 h 6479439"/>
                <a:gd name="connsiteX7230" fmla="*/ 3107029 w 9586368"/>
                <a:gd name="connsiteY7230" fmla="*/ 1210610 h 6479439"/>
                <a:gd name="connsiteX7231" fmla="*/ 3107029 w 9586368"/>
                <a:gd name="connsiteY7231" fmla="*/ 1200738 h 6479439"/>
                <a:gd name="connsiteX7232" fmla="*/ 2871737 w 9586368"/>
                <a:gd name="connsiteY7232" fmla="*/ 1196701 h 6479439"/>
                <a:gd name="connsiteX7233" fmla="*/ 2881646 w 9586368"/>
                <a:gd name="connsiteY7233" fmla="*/ 1196701 h 6479439"/>
                <a:gd name="connsiteX7234" fmla="*/ 2885666 w 9586368"/>
                <a:gd name="connsiteY7234" fmla="*/ 1200738 h 6479439"/>
                <a:gd name="connsiteX7235" fmla="*/ 2885666 w 9586368"/>
                <a:gd name="connsiteY7235" fmla="*/ 1210610 h 6479439"/>
                <a:gd name="connsiteX7236" fmla="*/ 2881646 w 9586368"/>
                <a:gd name="connsiteY7236" fmla="*/ 1214650 h 6479439"/>
                <a:gd name="connsiteX7237" fmla="*/ 2871737 w 9586368"/>
                <a:gd name="connsiteY7237" fmla="*/ 1214650 h 6479439"/>
                <a:gd name="connsiteX7238" fmla="*/ 2867717 w 9586368"/>
                <a:gd name="connsiteY7238" fmla="*/ 1210610 h 6479439"/>
                <a:gd name="connsiteX7239" fmla="*/ 2867717 w 9586368"/>
                <a:gd name="connsiteY7239" fmla="*/ 1200738 h 6479439"/>
                <a:gd name="connsiteX7240" fmla="*/ 2632423 w 9586368"/>
                <a:gd name="connsiteY7240" fmla="*/ 1196701 h 6479439"/>
                <a:gd name="connsiteX7241" fmla="*/ 2642334 w 9586368"/>
                <a:gd name="connsiteY7241" fmla="*/ 1196701 h 6479439"/>
                <a:gd name="connsiteX7242" fmla="*/ 2646352 w 9586368"/>
                <a:gd name="connsiteY7242" fmla="*/ 1200740 h 6479439"/>
                <a:gd name="connsiteX7243" fmla="*/ 2646352 w 9586368"/>
                <a:gd name="connsiteY7243" fmla="*/ 1210610 h 6479439"/>
                <a:gd name="connsiteX7244" fmla="*/ 2642334 w 9586368"/>
                <a:gd name="connsiteY7244" fmla="*/ 1214650 h 6479439"/>
                <a:gd name="connsiteX7245" fmla="*/ 2632423 w 9586368"/>
                <a:gd name="connsiteY7245" fmla="*/ 1214650 h 6479439"/>
                <a:gd name="connsiteX7246" fmla="*/ 2628404 w 9586368"/>
                <a:gd name="connsiteY7246" fmla="*/ 1210610 h 6479439"/>
                <a:gd name="connsiteX7247" fmla="*/ 2628404 w 9586368"/>
                <a:gd name="connsiteY7247" fmla="*/ 1200740 h 6479439"/>
                <a:gd name="connsiteX7248" fmla="*/ 2393104 w 9586368"/>
                <a:gd name="connsiteY7248" fmla="*/ 1196701 h 6479439"/>
                <a:gd name="connsiteX7249" fmla="*/ 2403015 w 9586368"/>
                <a:gd name="connsiteY7249" fmla="*/ 1196701 h 6479439"/>
                <a:gd name="connsiteX7250" fmla="*/ 2407034 w 9586368"/>
                <a:gd name="connsiteY7250" fmla="*/ 1200740 h 6479439"/>
                <a:gd name="connsiteX7251" fmla="*/ 2407034 w 9586368"/>
                <a:gd name="connsiteY7251" fmla="*/ 1210610 h 6479439"/>
                <a:gd name="connsiteX7252" fmla="*/ 2403015 w 9586368"/>
                <a:gd name="connsiteY7252" fmla="*/ 1214650 h 6479439"/>
                <a:gd name="connsiteX7253" fmla="*/ 2393104 w 9586368"/>
                <a:gd name="connsiteY7253" fmla="*/ 1214650 h 6479439"/>
                <a:gd name="connsiteX7254" fmla="*/ 2389087 w 9586368"/>
                <a:gd name="connsiteY7254" fmla="*/ 1210610 h 6479439"/>
                <a:gd name="connsiteX7255" fmla="*/ 2389087 w 9586368"/>
                <a:gd name="connsiteY7255" fmla="*/ 1200740 h 6479439"/>
                <a:gd name="connsiteX7256" fmla="*/ 4546929 w 9586368"/>
                <a:gd name="connsiteY7256" fmla="*/ 1196689 h 6479439"/>
                <a:gd name="connsiteX7257" fmla="*/ 4556840 w 9586368"/>
                <a:gd name="connsiteY7257" fmla="*/ 1196689 h 6479439"/>
                <a:gd name="connsiteX7258" fmla="*/ 4560859 w 9586368"/>
                <a:gd name="connsiteY7258" fmla="*/ 1200726 h 6479439"/>
                <a:gd name="connsiteX7259" fmla="*/ 4560859 w 9586368"/>
                <a:gd name="connsiteY7259" fmla="*/ 1210598 h 6479439"/>
                <a:gd name="connsiteX7260" fmla="*/ 4556840 w 9586368"/>
                <a:gd name="connsiteY7260" fmla="*/ 1214637 h 6479439"/>
                <a:gd name="connsiteX7261" fmla="*/ 4546929 w 9586368"/>
                <a:gd name="connsiteY7261" fmla="*/ 1214637 h 6479439"/>
                <a:gd name="connsiteX7262" fmla="*/ 4542910 w 9586368"/>
                <a:gd name="connsiteY7262" fmla="*/ 1210598 h 6479439"/>
                <a:gd name="connsiteX7263" fmla="*/ 4542910 w 9586368"/>
                <a:gd name="connsiteY7263" fmla="*/ 1200726 h 6479439"/>
                <a:gd name="connsiteX7264" fmla="*/ 4307612 w 9586368"/>
                <a:gd name="connsiteY7264" fmla="*/ 1196689 h 6479439"/>
                <a:gd name="connsiteX7265" fmla="*/ 4317523 w 9586368"/>
                <a:gd name="connsiteY7265" fmla="*/ 1196689 h 6479439"/>
                <a:gd name="connsiteX7266" fmla="*/ 4321543 w 9586368"/>
                <a:gd name="connsiteY7266" fmla="*/ 1200726 h 6479439"/>
                <a:gd name="connsiteX7267" fmla="*/ 4321543 w 9586368"/>
                <a:gd name="connsiteY7267" fmla="*/ 1210598 h 6479439"/>
                <a:gd name="connsiteX7268" fmla="*/ 4317523 w 9586368"/>
                <a:gd name="connsiteY7268" fmla="*/ 1214637 h 6479439"/>
                <a:gd name="connsiteX7269" fmla="*/ 4307612 w 9586368"/>
                <a:gd name="connsiteY7269" fmla="*/ 1214637 h 6479439"/>
                <a:gd name="connsiteX7270" fmla="*/ 4303595 w 9586368"/>
                <a:gd name="connsiteY7270" fmla="*/ 1210598 h 6479439"/>
                <a:gd name="connsiteX7271" fmla="*/ 4303595 w 9586368"/>
                <a:gd name="connsiteY7271" fmla="*/ 1200726 h 6479439"/>
                <a:gd name="connsiteX7272" fmla="*/ 4068297 w 9586368"/>
                <a:gd name="connsiteY7272" fmla="*/ 1196689 h 6479439"/>
                <a:gd name="connsiteX7273" fmla="*/ 4078210 w 9586368"/>
                <a:gd name="connsiteY7273" fmla="*/ 1196689 h 6479439"/>
                <a:gd name="connsiteX7274" fmla="*/ 4082229 w 9586368"/>
                <a:gd name="connsiteY7274" fmla="*/ 1200726 h 6479439"/>
                <a:gd name="connsiteX7275" fmla="*/ 4082229 w 9586368"/>
                <a:gd name="connsiteY7275" fmla="*/ 1210598 h 6479439"/>
                <a:gd name="connsiteX7276" fmla="*/ 4078210 w 9586368"/>
                <a:gd name="connsiteY7276" fmla="*/ 1214637 h 6479439"/>
                <a:gd name="connsiteX7277" fmla="*/ 4068297 w 9586368"/>
                <a:gd name="connsiteY7277" fmla="*/ 1214637 h 6479439"/>
                <a:gd name="connsiteX7278" fmla="*/ 4064278 w 9586368"/>
                <a:gd name="connsiteY7278" fmla="*/ 1210598 h 6479439"/>
                <a:gd name="connsiteX7279" fmla="*/ 4064278 w 9586368"/>
                <a:gd name="connsiteY7279" fmla="*/ 1200726 h 6479439"/>
                <a:gd name="connsiteX7280" fmla="*/ 3828990 w 9586368"/>
                <a:gd name="connsiteY7280" fmla="*/ 1196689 h 6479439"/>
                <a:gd name="connsiteX7281" fmla="*/ 3838899 w 9586368"/>
                <a:gd name="connsiteY7281" fmla="*/ 1196689 h 6479439"/>
                <a:gd name="connsiteX7282" fmla="*/ 3842917 w 9586368"/>
                <a:gd name="connsiteY7282" fmla="*/ 1200728 h 6479439"/>
                <a:gd name="connsiteX7283" fmla="*/ 3842917 w 9586368"/>
                <a:gd name="connsiteY7283" fmla="*/ 1210598 h 6479439"/>
                <a:gd name="connsiteX7284" fmla="*/ 3838899 w 9586368"/>
                <a:gd name="connsiteY7284" fmla="*/ 1214637 h 6479439"/>
                <a:gd name="connsiteX7285" fmla="*/ 3828990 w 9586368"/>
                <a:gd name="connsiteY7285" fmla="*/ 1214637 h 6479439"/>
                <a:gd name="connsiteX7286" fmla="*/ 3824971 w 9586368"/>
                <a:gd name="connsiteY7286" fmla="*/ 1210598 h 6479439"/>
                <a:gd name="connsiteX7287" fmla="*/ 3824971 w 9586368"/>
                <a:gd name="connsiteY7287" fmla="*/ 1200728 h 6479439"/>
                <a:gd name="connsiteX7288" fmla="*/ 3589676 w 9586368"/>
                <a:gd name="connsiteY7288" fmla="*/ 1196689 h 6479439"/>
                <a:gd name="connsiteX7289" fmla="*/ 3599585 w 9586368"/>
                <a:gd name="connsiteY7289" fmla="*/ 1196689 h 6479439"/>
                <a:gd name="connsiteX7290" fmla="*/ 3603604 w 9586368"/>
                <a:gd name="connsiteY7290" fmla="*/ 1200728 h 6479439"/>
                <a:gd name="connsiteX7291" fmla="*/ 3603604 w 9586368"/>
                <a:gd name="connsiteY7291" fmla="*/ 1210598 h 6479439"/>
                <a:gd name="connsiteX7292" fmla="*/ 3599585 w 9586368"/>
                <a:gd name="connsiteY7292" fmla="*/ 1214637 h 6479439"/>
                <a:gd name="connsiteX7293" fmla="*/ 3589676 w 9586368"/>
                <a:gd name="connsiteY7293" fmla="*/ 1214637 h 6479439"/>
                <a:gd name="connsiteX7294" fmla="*/ 3585657 w 9586368"/>
                <a:gd name="connsiteY7294" fmla="*/ 1210598 h 6479439"/>
                <a:gd name="connsiteX7295" fmla="*/ 3585657 w 9586368"/>
                <a:gd name="connsiteY7295" fmla="*/ 1200728 h 6479439"/>
                <a:gd name="connsiteX7296" fmla="*/ 5743412 w 9586368"/>
                <a:gd name="connsiteY7296" fmla="*/ 1196676 h 6479439"/>
                <a:gd name="connsiteX7297" fmla="*/ 5753323 w 9586368"/>
                <a:gd name="connsiteY7297" fmla="*/ 1196676 h 6479439"/>
                <a:gd name="connsiteX7298" fmla="*/ 5757342 w 9586368"/>
                <a:gd name="connsiteY7298" fmla="*/ 1200714 h 6479439"/>
                <a:gd name="connsiteX7299" fmla="*/ 5757342 w 9586368"/>
                <a:gd name="connsiteY7299" fmla="*/ 1210586 h 6479439"/>
                <a:gd name="connsiteX7300" fmla="*/ 5753323 w 9586368"/>
                <a:gd name="connsiteY7300" fmla="*/ 1214625 h 6479439"/>
                <a:gd name="connsiteX7301" fmla="*/ 5743412 w 9586368"/>
                <a:gd name="connsiteY7301" fmla="*/ 1214625 h 6479439"/>
                <a:gd name="connsiteX7302" fmla="*/ 5739393 w 9586368"/>
                <a:gd name="connsiteY7302" fmla="*/ 1210586 h 6479439"/>
                <a:gd name="connsiteX7303" fmla="*/ 5739393 w 9586368"/>
                <a:gd name="connsiteY7303" fmla="*/ 1200714 h 6479439"/>
                <a:gd name="connsiteX7304" fmla="*/ 5504099 w 9586368"/>
                <a:gd name="connsiteY7304" fmla="*/ 1196676 h 6479439"/>
                <a:gd name="connsiteX7305" fmla="*/ 5514010 w 9586368"/>
                <a:gd name="connsiteY7305" fmla="*/ 1196676 h 6479439"/>
                <a:gd name="connsiteX7306" fmla="*/ 5518029 w 9586368"/>
                <a:gd name="connsiteY7306" fmla="*/ 1200714 h 6479439"/>
                <a:gd name="connsiteX7307" fmla="*/ 5518029 w 9586368"/>
                <a:gd name="connsiteY7307" fmla="*/ 1210586 h 6479439"/>
                <a:gd name="connsiteX7308" fmla="*/ 5514010 w 9586368"/>
                <a:gd name="connsiteY7308" fmla="*/ 1214625 h 6479439"/>
                <a:gd name="connsiteX7309" fmla="*/ 5504099 w 9586368"/>
                <a:gd name="connsiteY7309" fmla="*/ 1214625 h 6479439"/>
                <a:gd name="connsiteX7310" fmla="*/ 5500080 w 9586368"/>
                <a:gd name="connsiteY7310" fmla="*/ 1210586 h 6479439"/>
                <a:gd name="connsiteX7311" fmla="*/ 5500080 w 9586368"/>
                <a:gd name="connsiteY7311" fmla="*/ 1200714 h 6479439"/>
                <a:gd name="connsiteX7312" fmla="*/ 5264784 w 9586368"/>
                <a:gd name="connsiteY7312" fmla="*/ 1196676 h 6479439"/>
                <a:gd name="connsiteX7313" fmla="*/ 5274694 w 9586368"/>
                <a:gd name="connsiteY7313" fmla="*/ 1196676 h 6479439"/>
                <a:gd name="connsiteX7314" fmla="*/ 5278713 w 9586368"/>
                <a:gd name="connsiteY7314" fmla="*/ 1200714 h 6479439"/>
                <a:gd name="connsiteX7315" fmla="*/ 5278713 w 9586368"/>
                <a:gd name="connsiteY7315" fmla="*/ 1210586 h 6479439"/>
                <a:gd name="connsiteX7316" fmla="*/ 5274694 w 9586368"/>
                <a:gd name="connsiteY7316" fmla="*/ 1214625 h 6479439"/>
                <a:gd name="connsiteX7317" fmla="*/ 5264784 w 9586368"/>
                <a:gd name="connsiteY7317" fmla="*/ 1214625 h 6479439"/>
                <a:gd name="connsiteX7318" fmla="*/ 5260765 w 9586368"/>
                <a:gd name="connsiteY7318" fmla="*/ 1210586 h 6479439"/>
                <a:gd name="connsiteX7319" fmla="*/ 5260765 w 9586368"/>
                <a:gd name="connsiteY7319" fmla="*/ 1200714 h 6479439"/>
                <a:gd name="connsiteX7320" fmla="*/ 5025470 w 9586368"/>
                <a:gd name="connsiteY7320" fmla="*/ 1196676 h 6479439"/>
                <a:gd name="connsiteX7321" fmla="*/ 5035381 w 9586368"/>
                <a:gd name="connsiteY7321" fmla="*/ 1196676 h 6479439"/>
                <a:gd name="connsiteX7322" fmla="*/ 5039400 w 9586368"/>
                <a:gd name="connsiteY7322" fmla="*/ 1200715 h 6479439"/>
                <a:gd name="connsiteX7323" fmla="*/ 5039400 w 9586368"/>
                <a:gd name="connsiteY7323" fmla="*/ 1210586 h 6479439"/>
                <a:gd name="connsiteX7324" fmla="*/ 5035381 w 9586368"/>
                <a:gd name="connsiteY7324" fmla="*/ 1214625 h 6479439"/>
                <a:gd name="connsiteX7325" fmla="*/ 5025470 w 9586368"/>
                <a:gd name="connsiteY7325" fmla="*/ 1214625 h 6479439"/>
                <a:gd name="connsiteX7326" fmla="*/ 5021451 w 9586368"/>
                <a:gd name="connsiteY7326" fmla="*/ 1210586 h 6479439"/>
                <a:gd name="connsiteX7327" fmla="*/ 5021451 w 9586368"/>
                <a:gd name="connsiteY7327" fmla="*/ 1200715 h 6479439"/>
                <a:gd name="connsiteX7328" fmla="*/ 4786241 w 9586368"/>
                <a:gd name="connsiteY7328" fmla="*/ 1196676 h 6479439"/>
                <a:gd name="connsiteX7329" fmla="*/ 4796152 w 9586368"/>
                <a:gd name="connsiteY7329" fmla="*/ 1196676 h 6479439"/>
                <a:gd name="connsiteX7330" fmla="*/ 4800171 w 9586368"/>
                <a:gd name="connsiteY7330" fmla="*/ 1200715 h 6479439"/>
                <a:gd name="connsiteX7331" fmla="*/ 4800171 w 9586368"/>
                <a:gd name="connsiteY7331" fmla="*/ 1210586 h 6479439"/>
                <a:gd name="connsiteX7332" fmla="*/ 4796152 w 9586368"/>
                <a:gd name="connsiteY7332" fmla="*/ 1214625 h 6479439"/>
                <a:gd name="connsiteX7333" fmla="*/ 4786241 w 9586368"/>
                <a:gd name="connsiteY7333" fmla="*/ 1214625 h 6479439"/>
                <a:gd name="connsiteX7334" fmla="*/ 4782224 w 9586368"/>
                <a:gd name="connsiteY7334" fmla="*/ 1210586 h 6479439"/>
                <a:gd name="connsiteX7335" fmla="*/ 4782224 w 9586368"/>
                <a:gd name="connsiteY7335" fmla="*/ 1200715 h 6479439"/>
                <a:gd name="connsiteX7336" fmla="*/ 6222042 w 9586368"/>
                <a:gd name="connsiteY7336" fmla="*/ 1196664 h 6479439"/>
                <a:gd name="connsiteX7337" fmla="*/ 6231952 w 9586368"/>
                <a:gd name="connsiteY7337" fmla="*/ 1196664 h 6479439"/>
                <a:gd name="connsiteX7338" fmla="*/ 6235971 w 9586368"/>
                <a:gd name="connsiteY7338" fmla="*/ 1200703 h 6479439"/>
                <a:gd name="connsiteX7339" fmla="*/ 6235971 w 9586368"/>
                <a:gd name="connsiteY7339" fmla="*/ 1210573 h 6479439"/>
                <a:gd name="connsiteX7340" fmla="*/ 6231952 w 9586368"/>
                <a:gd name="connsiteY7340" fmla="*/ 1214612 h 6479439"/>
                <a:gd name="connsiteX7341" fmla="*/ 6222042 w 9586368"/>
                <a:gd name="connsiteY7341" fmla="*/ 1214612 h 6479439"/>
                <a:gd name="connsiteX7342" fmla="*/ 6218023 w 9586368"/>
                <a:gd name="connsiteY7342" fmla="*/ 1210573 h 6479439"/>
                <a:gd name="connsiteX7343" fmla="*/ 6218023 w 9586368"/>
                <a:gd name="connsiteY7343" fmla="*/ 1200703 h 6479439"/>
                <a:gd name="connsiteX7344" fmla="*/ 5982729 w 9586368"/>
                <a:gd name="connsiteY7344" fmla="*/ 1196664 h 6479439"/>
                <a:gd name="connsiteX7345" fmla="*/ 5992639 w 9586368"/>
                <a:gd name="connsiteY7345" fmla="*/ 1196664 h 6479439"/>
                <a:gd name="connsiteX7346" fmla="*/ 5996658 w 9586368"/>
                <a:gd name="connsiteY7346" fmla="*/ 1200703 h 6479439"/>
                <a:gd name="connsiteX7347" fmla="*/ 5996658 w 9586368"/>
                <a:gd name="connsiteY7347" fmla="*/ 1210573 h 6479439"/>
                <a:gd name="connsiteX7348" fmla="*/ 5992639 w 9586368"/>
                <a:gd name="connsiteY7348" fmla="*/ 1214612 h 6479439"/>
                <a:gd name="connsiteX7349" fmla="*/ 5982729 w 9586368"/>
                <a:gd name="connsiteY7349" fmla="*/ 1214612 h 6479439"/>
                <a:gd name="connsiteX7350" fmla="*/ 5978710 w 9586368"/>
                <a:gd name="connsiteY7350" fmla="*/ 1210573 h 6479439"/>
                <a:gd name="connsiteX7351" fmla="*/ 5978710 w 9586368"/>
                <a:gd name="connsiteY7351" fmla="*/ 1200703 h 6479439"/>
                <a:gd name="connsiteX7352" fmla="*/ 6939983 w 9586368"/>
                <a:gd name="connsiteY7352" fmla="*/ 1196664 h 6479439"/>
                <a:gd name="connsiteX7353" fmla="*/ 6949894 w 9586368"/>
                <a:gd name="connsiteY7353" fmla="*/ 1196664 h 6479439"/>
                <a:gd name="connsiteX7354" fmla="*/ 6953913 w 9586368"/>
                <a:gd name="connsiteY7354" fmla="*/ 1200702 h 6479439"/>
                <a:gd name="connsiteX7355" fmla="*/ 6953913 w 9586368"/>
                <a:gd name="connsiteY7355" fmla="*/ 1210573 h 6479439"/>
                <a:gd name="connsiteX7356" fmla="*/ 6949894 w 9586368"/>
                <a:gd name="connsiteY7356" fmla="*/ 1214612 h 6479439"/>
                <a:gd name="connsiteX7357" fmla="*/ 6939983 w 9586368"/>
                <a:gd name="connsiteY7357" fmla="*/ 1214612 h 6479439"/>
                <a:gd name="connsiteX7358" fmla="*/ 6935964 w 9586368"/>
                <a:gd name="connsiteY7358" fmla="*/ 1210573 h 6479439"/>
                <a:gd name="connsiteX7359" fmla="*/ 6935964 w 9586368"/>
                <a:gd name="connsiteY7359" fmla="*/ 1200702 h 6479439"/>
                <a:gd name="connsiteX7360" fmla="*/ 6700670 w 9586368"/>
                <a:gd name="connsiteY7360" fmla="*/ 1196664 h 6479439"/>
                <a:gd name="connsiteX7361" fmla="*/ 6710581 w 9586368"/>
                <a:gd name="connsiteY7361" fmla="*/ 1196664 h 6479439"/>
                <a:gd name="connsiteX7362" fmla="*/ 6714600 w 9586368"/>
                <a:gd name="connsiteY7362" fmla="*/ 1200702 h 6479439"/>
                <a:gd name="connsiteX7363" fmla="*/ 6714600 w 9586368"/>
                <a:gd name="connsiteY7363" fmla="*/ 1210573 h 6479439"/>
                <a:gd name="connsiteX7364" fmla="*/ 6710581 w 9586368"/>
                <a:gd name="connsiteY7364" fmla="*/ 1214612 h 6479439"/>
                <a:gd name="connsiteX7365" fmla="*/ 6700670 w 9586368"/>
                <a:gd name="connsiteY7365" fmla="*/ 1214612 h 6479439"/>
                <a:gd name="connsiteX7366" fmla="*/ 6696651 w 9586368"/>
                <a:gd name="connsiteY7366" fmla="*/ 1210573 h 6479439"/>
                <a:gd name="connsiteX7367" fmla="*/ 6696651 w 9586368"/>
                <a:gd name="connsiteY7367" fmla="*/ 1200702 h 6479439"/>
                <a:gd name="connsiteX7368" fmla="*/ 6461356 w 9586368"/>
                <a:gd name="connsiteY7368" fmla="*/ 1196664 h 6479439"/>
                <a:gd name="connsiteX7369" fmla="*/ 6471266 w 9586368"/>
                <a:gd name="connsiteY7369" fmla="*/ 1196664 h 6479439"/>
                <a:gd name="connsiteX7370" fmla="*/ 6475285 w 9586368"/>
                <a:gd name="connsiteY7370" fmla="*/ 1200702 h 6479439"/>
                <a:gd name="connsiteX7371" fmla="*/ 6475285 w 9586368"/>
                <a:gd name="connsiteY7371" fmla="*/ 1210573 h 6479439"/>
                <a:gd name="connsiteX7372" fmla="*/ 6471266 w 9586368"/>
                <a:gd name="connsiteY7372" fmla="*/ 1214612 h 6479439"/>
                <a:gd name="connsiteX7373" fmla="*/ 6461356 w 9586368"/>
                <a:gd name="connsiteY7373" fmla="*/ 1214612 h 6479439"/>
                <a:gd name="connsiteX7374" fmla="*/ 6457337 w 9586368"/>
                <a:gd name="connsiteY7374" fmla="*/ 1210573 h 6479439"/>
                <a:gd name="connsiteX7375" fmla="*/ 6457337 w 9586368"/>
                <a:gd name="connsiteY7375" fmla="*/ 1200702 h 6479439"/>
                <a:gd name="connsiteX7376" fmla="*/ 7418611 w 9586368"/>
                <a:gd name="connsiteY7376" fmla="*/ 1196652 h 6479439"/>
                <a:gd name="connsiteX7377" fmla="*/ 7428521 w 9586368"/>
                <a:gd name="connsiteY7377" fmla="*/ 1196652 h 6479439"/>
                <a:gd name="connsiteX7378" fmla="*/ 7432540 w 9586368"/>
                <a:gd name="connsiteY7378" fmla="*/ 1200690 h 6479439"/>
                <a:gd name="connsiteX7379" fmla="*/ 7432540 w 9586368"/>
                <a:gd name="connsiteY7379" fmla="*/ 1210561 h 6479439"/>
                <a:gd name="connsiteX7380" fmla="*/ 7428521 w 9586368"/>
                <a:gd name="connsiteY7380" fmla="*/ 1214600 h 6479439"/>
                <a:gd name="connsiteX7381" fmla="*/ 7418611 w 9586368"/>
                <a:gd name="connsiteY7381" fmla="*/ 1214600 h 6479439"/>
                <a:gd name="connsiteX7382" fmla="*/ 7414592 w 9586368"/>
                <a:gd name="connsiteY7382" fmla="*/ 1210561 h 6479439"/>
                <a:gd name="connsiteX7383" fmla="*/ 7414592 w 9586368"/>
                <a:gd name="connsiteY7383" fmla="*/ 1200690 h 6479439"/>
                <a:gd name="connsiteX7384" fmla="*/ 7179298 w 9586368"/>
                <a:gd name="connsiteY7384" fmla="*/ 1196652 h 6479439"/>
                <a:gd name="connsiteX7385" fmla="*/ 7189209 w 9586368"/>
                <a:gd name="connsiteY7385" fmla="*/ 1196652 h 6479439"/>
                <a:gd name="connsiteX7386" fmla="*/ 7193228 w 9586368"/>
                <a:gd name="connsiteY7386" fmla="*/ 1200690 h 6479439"/>
                <a:gd name="connsiteX7387" fmla="*/ 7193228 w 9586368"/>
                <a:gd name="connsiteY7387" fmla="*/ 1210561 h 6479439"/>
                <a:gd name="connsiteX7388" fmla="*/ 7189209 w 9586368"/>
                <a:gd name="connsiteY7388" fmla="*/ 1214600 h 6479439"/>
                <a:gd name="connsiteX7389" fmla="*/ 7179298 w 9586368"/>
                <a:gd name="connsiteY7389" fmla="*/ 1214600 h 6479439"/>
                <a:gd name="connsiteX7390" fmla="*/ 7175279 w 9586368"/>
                <a:gd name="connsiteY7390" fmla="*/ 1210561 h 6479439"/>
                <a:gd name="connsiteX7391" fmla="*/ 7175279 w 9586368"/>
                <a:gd name="connsiteY7391" fmla="*/ 1200690 h 6479439"/>
                <a:gd name="connsiteX7392" fmla="*/ 8136553 w 9586368"/>
                <a:gd name="connsiteY7392" fmla="*/ 1196651 h 6479439"/>
                <a:gd name="connsiteX7393" fmla="*/ 8146464 w 9586368"/>
                <a:gd name="connsiteY7393" fmla="*/ 1196651 h 6479439"/>
                <a:gd name="connsiteX7394" fmla="*/ 8150483 w 9586368"/>
                <a:gd name="connsiteY7394" fmla="*/ 1200689 h 6479439"/>
                <a:gd name="connsiteX7395" fmla="*/ 8150483 w 9586368"/>
                <a:gd name="connsiteY7395" fmla="*/ 1210561 h 6479439"/>
                <a:gd name="connsiteX7396" fmla="*/ 8146464 w 9586368"/>
                <a:gd name="connsiteY7396" fmla="*/ 1214600 h 6479439"/>
                <a:gd name="connsiteX7397" fmla="*/ 8136553 w 9586368"/>
                <a:gd name="connsiteY7397" fmla="*/ 1214600 h 6479439"/>
                <a:gd name="connsiteX7398" fmla="*/ 8132534 w 9586368"/>
                <a:gd name="connsiteY7398" fmla="*/ 1210561 h 6479439"/>
                <a:gd name="connsiteX7399" fmla="*/ 8132534 w 9586368"/>
                <a:gd name="connsiteY7399" fmla="*/ 1200689 h 6479439"/>
                <a:gd name="connsiteX7400" fmla="*/ 7897241 w 9586368"/>
                <a:gd name="connsiteY7400" fmla="*/ 1196651 h 6479439"/>
                <a:gd name="connsiteX7401" fmla="*/ 7907151 w 9586368"/>
                <a:gd name="connsiteY7401" fmla="*/ 1196651 h 6479439"/>
                <a:gd name="connsiteX7402" fmla="*/ 7911170 w 9586368"/>
                <a:gd name="connsiteY7402" fmla="*/ 1200689 h 6479439"/>
                <a:gd name="connsiteX7403" fmla="*/ 7911170 w 9586368"/>
                <a:gd name="connsiteY7403" fmla="*/ 1210561 h 6479439"/>
                <a:gd name="connsiteX7404" fmla="*/ 7907151 w 9586368"/>
                <a:gd name="connsiteY7404" fmla="*/ 1214600 h 6479439"/>
                <a:gd name="connsiteX7405" fmla="*/ 7897241 w 9586368"/>
                <a:gd name="connsiteY7405" fmla="*/ 1214600 h 6479439"/>
                <a:gd name="connsiteX7406" fmla="*/ 7893222 w 9586368"/>
                <a:gd name="connsiteY7406" fmla="*/ 1210561 h 6479439"/>
                <a:gd name="connsiteX7407" fmla="*/ 7893222 w 9586368"/>
                <a:gd name="connsiteY7407" fmla="*/ 1200689 h 6479439"/>
                <a:gd name="connsiteX7408" fmla="*/ 7657926 w 9586368"/>
                <a:gd name="connsiteY7408" fmla="*/ 1196651 h 6479439"/>
                <a:gd name="connsiteX7409" fmla="*/ 7667836 w 9586368"/>
                <a:gd name="connsiteY7409" fmla="*/ 1196651 h 6479439"/>
                <a:gd name="connsiteX7410" fmla="*/ 7671855 w 9586368"/>
                <a:gd name="connsiteY7410" fmla="*/ 1200689 h 6479439"/>
                <a:gd name="connsiteX7411" fmla="*/ 7671855 w 9586368"/>
                <a:gd name="connsiteY7411" fmla="*/ 1210561 h 6479439"/>
                <a:gd name="connsiteX7412" fmla="*/ 7667836 w 9586368"/>
                <a:gd name="connsiteY7412" fmla="*/ 1214600 h 6479439"/>
                <a:gd name="connsiteX7413" fmla="*/ 7657926 w 9586368"/>
                <a:gd name="connsiteY7413" fmla="*/ 1214600 h 6479439"/>
                <a:gd name="connsiteX7414" fmla="*/ 7653906 w 9586368"/>
                <a:gd name="connsiteY7414" fmla="*/ 1210561 h 6479439"/>
                <a:gd name="connsiteX7415" fmla="*/ 7653906 w 9586368"/>
                <a:gd name="connsiteY7415" fmla="*/ 1200689 h 6479439"/>
                <a:gd name="connsiteX7416" fmla="*/ 8615184 w 9586368"/>
                <a:gd name="connsiteY7416" fmla="*/ 1196639 h 6479439"/>
                <a:gd name="connsiteX7417" fmla="*/ 8625095 w 9586368"/>
                <a:gd name="connsiteY7417" fmla="*/ 1196639 h 6479439"/>
                <a:gd name="connsiteX7418" fmla="*/ 8629114 w 9586368"/>
                <a:gd name="connsiteY7418" fmla="*/ 1200678 h 6479439"/>
                <a:gd name="connsiteX7419" fmla="*/ 8629114 w 9586368"/>
                <a:gd name="connsiteY7419" fmla="*/ 1210548 h 6479439"/>
                <a:gd name="connsiteX7420" fmla="*/ 8625095 w 9586368"/>
                <a:gd name="connsiteY7420" fmla="*/ 1214587 h 6479439"/>
                <a:gd name="connsiteX7421" fmla="*/ 8615184 w 9586368"/>
                <a:gd name="connsiteY7421" fmla="*/ 1214587 h 6479439"/>
                <a:gd name="connsiteX7422" fmla="*/ 8611165 w 9586368"/>
                <a:gd name="connsiteY7422" fmla="*/ 1210548 h 6479439"/>
                <a:gd name="connsiteX7423" fmla="*/ 8611165 w 9586368"/>
                <a:gd name="connsiteY7423" fmla="*/ 1200678 h 6479439"/>
                <a:gd name="connsiteX7424" fmla="*/ 8375869 w 9586368"/>
                <a:gd name="connsiteY7424" fmla="*/ 1196639 h 6479439"/>
                <a:gd name="connsiteX7425" fmla="*/ 8385779 w 9586368"/>
                <a:gd name="connsiteY7425" fmla="*/ 1196639 h 6479439"/>
                <a:gd name="connsiteX7426" fmla="*/ 8389799 w 9586368"/>
                <a:gd name="connsiteY7426" fmla="*/ 1200678 h 6479439"/>
                <a:gd name="connsiteX7427" fmla="*/ 8389799 w 9586368"/>
                <a:gd name="connsiteY7427" fmla="*/ 1210549 h 6479439"/>
                <a:gd name="connsiteX7428" fmla="*/ 8385779 w 9586368"/>
                <a:gd name="connsiteY7428" fmla="*/ 1214587 h 6479439"/>
                <a:gd name="connsiteX7429" fmla="*/ 8375869 w 9586368"/>
                <a:gd name="connsiteY7429" fmla="*/ 1214587 h 6479439"/>
                <a:gd name="connsiteX7430" fmla="*/ 8371850 w 9586368"/>
                <a:gd name="connsiteY7430" fmla="*/ 1210549 h 6479439"/>
                <a:gd name="connsiteX7431" fmla="*/ 8371850 w 9586368"/>
                <a:gd name="connsiteY7431" fmla="*/ 1200678 h 6479439"/>
                <a:gd name="connsiteX7432" fmla="*/ 9333125 w 9586368"/>
                <a:gd name="connsiteY7432" fmla="*/ 1196639 h 6479439"/>
                <a:gd name="connsiteX7433" fmla="*/ 9343036 w 9586368"/>
                <a:gd name="connsiteY7433" fmla="*/ 1196639 h 6479439"/>
                <a:gd name="connsiteX7434" fmla="*/ 9347055 w 9586368"/>
                <a:gd name="connsiteY7434" fmla="*/ 1200677 h 6479439"/>
                <a:gd name="connsiteX7435" fmla="*/ 9347055 w 9586368"/>
                <a:gd name="connsiteY7435" fmla="*/ 1210548 h 6479439"/>
                <a:gd name="connsiteX7436" fmla="*/ 9343036 w 9586368"/>
                <a:gd name="connsiteY7436" fmla="*/ 1214587 h 6479439"/>
                <a:gd name="connsiteX7437" fmla="*/ 9333125 w 9586368"/>
                <a:gd name="connsiteY7437" fmla="*/ 1214587 h 6479439"/>
                <a:gd name="connsiteX7438" fmla="*/ 9329106 w 9586368"/>
                <a:gd name="connsiteY7438" fmla="*/ 1210548 h 6479439"/>
                <a:gd name="connsiteX7439" fmla="*/ 9329106 w 9586368"/>
                <a:gd name="connsiteY7439" fmla="*/ 1200677 h 6479439"/>
                <a:gd name="connsiteX7440" fmla="*/ 9093811 w 9586368"/>
                <a:gd name="connsiteY7440" fmla="*/ 1196639 h 6479439"/>
                <a:gd name="connsiteX7441" fmla="*/ 9103722 w 9586368"/>
                <a:gd name="connsiteY7441" fmla="*/ 1196639 h 6479439"/>
                <a:gd name="connsiteX7442" fmla="*/ 9107741 w 9586368"/>
                <a:gd name="connsiteY7442" fmla="*/ 1200677 h 6479439"/>
                <a:gd name="connsiteX7443" fmla="*/ 9107741 w 9586368"/>
                <a:gd name="connsiteY7443" fmla="*/ 1210548 h 6479439"/>
                <a:gd name="connsiteX7444" fmla="*/ 9103722 w 9586368"/>
                <a:gd name="connsiteY7444" fmla="*/ 1214587 h 6479439"/>
                <a:gd name="connsiteX7445" fmla="*/ 9093811 w 9586368"/>
                <a:gd name="connsiteY7445" fmla="*/ 1214587 h 6479439"/>
                <a:gd name="connsiteX7446" fmla="*/ 9089792 w 9586368"/>
                <a:gd name="connsiteY7446" fmla="*/ 1210548 h 6479439"/>
                <a:gd name="connsiteX7447" fmla="*/ 9089792 w 9586368"/>
                <a:gd name="connsiteY7447" fmla="*/ 1200677 h 6479439"/>
                <a:gd name="connsiteX7448" fmla="*/ 8854496 w 9586368"/>
                <a:gd name="connsiteY7448" fmla="*/ 1196639 h 6479439"/>
                <a:gd name="connsiteX7449" fmla="*/ 8864407 w 9586368"/>
                <a:gd name="connsiteY7449" fmla="*/ 1196639 h 6479439"/>
                <a:gd name="connsiteX7450" fmla="*/ 8868426 w 9586368"/>
                <a:gd name="connsiteY7450" fmla="*/ 1200677 h 6479439"/>
                <a:gd name="connsiteX7451" fmla="*/ 8868426 w 9586368"/>
                <a:gd name="connsiteY7451" fmla="*/ 1210548 h 6479439"/>
                <a:gd name="connsiteX7452" fmla="*/ 8864407 w 9586368"/>
                <a:gd name="connsiteY7452" fmla="*/ 1214587 h 6479439"/>
                <a:gd name="connsiteX7453" fmla="*/ 8854496 w 9586368"/>
                <a:gd name="connsiteY7453" fmla="*/ 1214587 h 6479439"/>
                <a:gd name="connsiteX7454" fmla="*/ 8850477 w 9586368"/>
                <a:gd name="connsiteY7454" fmla="*/ 1210548 h 6479439"/>
                <a:gd name="connsiteX7455" fmla="*/ 8850477 w 9586368"/>
                <a:gd name="connsiteY7455" fmla="*/ 1200677 h 6479439"/>
                <a:gd name="connsiteX7456" fmla="*/ 9572438 w 9586368"/>
                <a:gd name="connsiteY7456" fmla="*/ 1196627 h 6479439"/>
                <a:gd name="connsiteX7457" fmla="*/ 9582349 w 9586368"/>
                <a:gd name="connsiteY7457" fmla="*/ 1196627 h 6479439"/>
                <a:gd name="connsiteX7458" fmla="*/ 9586368 w 9586368"/>
                <a:gd name="connsiteY7458" fmla="*/ 1200665 h 6479439"/>
                <a:gd name="connsiteX7459" fmla="*/ 9586368 w 9586368"/>
                <a:gd name="connsiteY7459" fmla="*/ 1210536 h 6479439"/>
                <a:gd name="connsiteX7460" fmla="*/ 9582349 w 9586368"/>
                <a:gd name="connsiteY7460" fmla="*/ 1214575 h 6479439"/>
                <a:gd name="connsiteX7461" fmla="*/ 9572438 w 9586368"/>
                <a:gd name="connsiteY7461" fmla="*/ 1214575 h 6479439"/>
                <a:gd name="connsiteX7462" fmla="*/ 9568419 w 9586368"/>
                <a:gd name="connsiteY7462" fmla="*/ 1210536 h 6479439"/>
                <a:gd name="connsiteX7463" fmla="*/ 9568419 w 9586368"/>
                <a:gd name="connsiteY7463" fmla="*/ 1200665 h 6479439"/>
                <a:gd name="connsiteX7464" fmla="*/ 4035 w 9586368"/>
                <a:gd name="connsiteY7464" fmla="*/ 1196600 h 6479439"/>
                <a:gd name="connsiteX7465" fmla="*/ 13945 w 9586368"/>
                <a:gd name="connsiteY7465" fmla="*/ 1196600 h 6479439"/>
                <a:gd name="connsiteX7466" fmla="*/ 17964 w 9586368"/>
                <a:gd name="connsiteY7466" fmla="*/ 1200638 h 6479439"/>
                <a:gd name="connsiteX7467" fmla="*/ 17964 w 9586368"/>
                <a:gd name="connsiteY7467" fmla="*/ 1210509 h 6479439"/>
                <a:gd name="connsiteX7468" fmla="*/ 13945 w 9586368"/>
                <a:gd name="connsiteY7468" fmla="*/ 1214548 h 6479439"/>
                <a:gd name="connsiteX7469" fmla="*/ 4035 w 9586368"/>
                <a:gd name="connsiteY7469" fmla="*/ 1214548 h 6479439"/>
                <a:gd name="connsiteX7470" fmla="*/ 16 w 9586368"/>
                <a:gd name="connsiteY7470" fmla="*/ 1210509 h 6479439"/>
                <a:gd name="connsiteX7471" fmla="*/ 16 w 9586368"/>
                <a:gd name="connsiteY7471" fmla="*/ 1200638 h 6479439"/>
                <a:gd name="connsiteX7472" fmla="*/ 721974 w 9586368"/>
                <a:gd name="connsiteY7472" fmla="*/ 1196599 h 6479439"/>
                <a:gd name="connsiteX7473" fmla="*/ 731884 w 9586368"/>
                <a:gd name="connsiteY7473" fmla="*/ 1196599 h 6479439"/>
                <a:gd name="connsiteX7474" fmla="*/ 735903 w 9586368"/>
                <a:gd name="connsiteY7474" fmla="*/ 1200638 h 6479439"/>
                <a:gd name="connsiteX7475" fmla="*/ 735903 w 9586368"/>
                <a:gd name="connsiteY7475" fmla="*/ 1210509 h 6479439"/>
                <a:gd name="connsiteX7476" fmla="*/ 731884 w 9586368"/>
                <a:gd name="connsiteY7476" fmla="*/ 1214547 h 6479439"/>
                <a:gd name="connsiteX7477" fmla="*/ 721974 w 9586368"/>
                <a:gd name="connsiteY7477" fmla="*/ 1214547 h 6479439"/>
                <a:gd name="connsiteX7478" fmla="*/ 717955 w 9586368"/>
                <a:gd name="connsiteY7478" fmla="*/ 1210509 h 6479439"/>
                <a:gd name="connsiteX7479" fmla="*/ 717955 w 9586368"/>
                <a:gd name="connsiteY7479" fmla="*/ 1200638 h 6479439"/>
                <a:gd name="connsiteX7480" fmla="*/ 482661 w 9586368"/>
                <a:gd name="connsiteY7480" fmla="*/ 1196599 h 6479439"/>
                <a:gd name="connsiteX7481" fmla="*/ 492572 w 9586368"/>
                <a:gd name="connsiteY7481" fmla="*/ 1196599 h 6479439"/>
                <a:gd name="connsiteX7482" fmla="*/ 496591 w 9586368"/>
                <a:gd name="connsiteY7482" fmla="*/ 1200638 h 6479439"/>
                <a:gd name="connsiteX7483" fmla="*/ 496591 w 9586368"/>
                <a:gd name="connsiteY7483" fmla="*/ 1210509 h 6479439"/>
                <a:gd name="connsiteX7484" fmla="*/ 492572 w 9586368"/>
                <a:gd name="connsiteY7484" fmla="*/ 1214548 h 6479439"/>
                <a:gd name="connsiteX7485" fmla="*/ 482661 w 9586368"/>
                <a:gd name="connsiteY7485" fmla="*/ 1214548 h 6479439"/>
                <a:gd name="connsiteX7486" fmla="*/ 478642 w 9586368"/>
                <a:gd name="connsiteY7486" fmla="*/ 1210509 h 6479439"/>
                <a:gd name="connsiteX7487" fmla="*/ 478642 w 9586368"/>
                <a:gd name="connsiteY7487" fmla="*/ 1200638 h 6479439"/>
                <a:gd name="connsiteX7488" fmla="*/ 243348 w 9586368"/>
                <a:gd name="connsiteY7488" fmla="*/ 1196599 h 6479439"/>
                <a:gd name="connsiteX7489" fmla="*/ 253258 w 9586368"/>
                <a:gd name="connsiteY7489" fmla="*/ 1196599 h 6479439"/>
                <a:gd name="connsiteX7490" fmla="*/ 257278 w 9586368"/>
                <a:gd name="connsiteY7490" fmla="*/ 1200638 h 6479439"/>
                <a:gd name="connsiteX7491" fmla="*/ 257278 w 9586368"/>
                <a:gd name="connsiteY7491" fmla="*/ 1210509 h 6479439"/>
                <a:gd name="connsiteX7492" fmla="*/ 253258 w 9586368"/>
                <a:gd name="connsiteY7492" fmla="*/ 1214548 h 6479439"/>
                <a:gd name="connsiteX7493" fmla="*/ 243348 w 9586368"/>
                <a:gd name="connsiteY7493" fmla="*/ 1214548 h 6479439"/>
                <a:gd name="connsiteX7494" fmla="*/ 239329 w 9586368"/>
                <a:gd name="connsiteY7494" fmla="*/ 1210509 h 6479439"/>
                <a:gd name="connsiteX7495" fmla="*/ 239329 w 9586368"/>
                <a:gd name="connsiteY7495" fmla="*/ 1200638 h 6479439"/>
                <a:gd name="connsiteX7496" fmla="*/ 1439900 w 9586368"/>
                <a:gd name="connsiteY7496" fmla="*/ 1196589 h 6479439"/>
                <a:gd name="connsiteX7497" fmla="*/ 1449810 w 9586368"/>
                <a:gd name="connsiteY7497" fmla="*/ 1196589 h 6479439"/>
                <a:gd name="connsiteX7498" fmla="*/ 1453829 w 9586368"/>
                <a:gd name="connsiteY7498" fmla="*/ 1200628 h 6479439"/>
                <a:gd name="connsiteX7499" fmla="*/ 1453829 w 9586368"/>
                <a:gd name="connsiteY7499" fmla="*/ 1210498 h 6479439"/>
                <a:gd name="connsiteX7500" fmla="*/ 1449810 w 9586368"/>
                <a:gd name="connsiteY7500" fmla="*/ 1214537 h 6479439"/>
                <a:gd name="connsiteX7501" fmla="*/ 1439900 w 9586368"/>
                <a:gd name="connsiteY7501" fmla="*/ 1214537 h 6479439"/>
                <a:gd name="connsiteX7502" fmla="*/ 1435881 w 9586368"/>
                <a:gd name="connsiteY7502" fmla="*/ 1210498 h 6479439"/>
                <a:gd name="connsiteX7503" fmla="*/ 1435881 w 9586368"/>
                <a:gd name="connsiteY7503" fmla="*/ 1200628 h 6479439"/>
                <a:gd name="connsiteX7504" fmla="*/ 1200584 w 9586368"/>
                <a:gd name="connsiteY7504" fmla="*/ 1196589 h 6479439"/>
                <a:gd name="connsiteX7505" fmla="*/ 1210494 w 9586368"/>
                <a:gd name="connsiteY7505" fmla="*/ 1196589 h 6479439"/>
                <a:gd name="connsiteX7506" fmla="*/ 1214512 w 9586368"/>
                <a:gd name="connsiteY7506" fmla="*/ 1200628 h 6479439"/>
                <a:gd name="connsiteX7507" fmla="*/ 1214512 w 9586368"/>
                <a:gd name="connsiteY7507" fmla="*/ 1210498 h 6479439"/>
                <a:gd name="connsiteX7508" fmla="*/ 1210494 w 9586368"/>
                <a:gd name="connsiteY7508" fmla="*/ 1214537 h 6479439"/>
                <a:gd name="connsiteX7509" fmla="*/ 1200584 w 9586368"/>
                <a:gd name="connsiteY7509" fmla="*/ 1214537 h 6479439"/>
                <a:gd name="connsiteX7510" fmla="*/ 1196565 w 9586368"/>
                <a:gd name="connsiteY7510" fmla="*/ 1210498 h 6479439"/>
                <a:gd name="connsiteX7511" fmla="*/ 1196565 w 9586368"/>
                <a:gd name="connsiteY7511" fmla="*/ 1200628 h 6479439"/>
                <a:gd name="connsiteX7512" fmla="*/ 961271 w 9586368"/>
                <a:gd name="connsiteY7512" fmla="*/ 1196589 h 6479439"/>
                <a:gd name="connsiteX7513" fmla="*/ 971181 w 9586368"/>
                <a:gd name="connsiteY7513" fmla="*/ 1196589 h 6479439"/>
                <a:gd name="connsiteX7514" fmla="*/ 975200 w 9586368"/>
                <a:gd name="connsiteY7514" fmla="*/ 1200628 h 6479439"/>
                <a:gd name="connsiteX7515" fmla="*/ 975200 w 9586368"/>
                <a:gd name="connsiteY7515" fmla="*/ 1210499 h 6479439"/>
                <a:gd name="connsiteX7516" fmla="*/ 971181 w 9586368"/>
                <a:gd name="connsiteY7516" fmla="*/ 1214537 h 6479439"/>
                <a:gd name="connsiteX7517" fmla="*/ 961271 w 9586368"/>
                <a:gd name="connsiteY7517" fmla="*/ 1214537 h 6479439"/>
                <a:gd name="connsiteX7518" fmla="*/ 957253 w 9586368"/>
                <a:gd name="connsiteY7518" fmla="*/ 1210499 h 6479439"/>
                <a:gd name="connsiteX7519" fmla="*/ 957253 w 9586368"/>
                <a:gd name="connsiteY7519" fmla="*/ 1200628 h 6479439"/>
                <a:gd name="connsiteX7520" fmla="*/ 1679217 w 9586368"/>
                <a:gd name="connsiteY7520" fmla="*/ 1196589 h 6479439"/>
                <a:gd name="connsiteX7521" fmla="*/ 1689127 w 9586368"/>
                <a:gd name="connsiteY7521" fmla="*/ 1196589 h 6479439"/>
                <a:gd name="connsiteX7522" fmla="*/ 1693146 w 9586368"/>
                <a:gd name="connsiteY7522" fmla="*/ 1200627 h 6479439"/>
                <a:gd name="connsiteX7523" fmla="*/ 1693146 w 9586368"/>
                <a:gd name="connsiteY7523" fmla="*/ 1210498 h 6479439"/>
                <a:gd name="connsiteX7524" fmla="*/ 1689127 w 9586368"/>
                <a:gd name="connsiteY7524" fmla="*/ 1214537 h 6479439"/>
                <a:gd name="connsiteX7525" fmla="*/ 1679217 w 9586368"/>
                <a:gd name="connsiteY7525" fmla="*/ 1214537 h 6479439"/>
                <a:gd name="connsiteX7526" fmla="*/ 1675198 w 9586368"/>
                <a:gd name="connsiteY7526" fmla="*/ 1210498 h 6479439"/>
                <a:gd name="connsiteX7527" fmla="*/ 1675198 w 9586368"/>
                <a:gd name="connsiteY7527" fmla="*/ 1200627 h 6479439"/>
                <a:gd name="connsiteX7528" fmla="*/ 1918514 w 9586368"/>
                <a:gd name="connsiteY7528" fmla="*/ 1196581 h 6479439"/>
                <a:gd name="connsiteX7529" fmla="*/ 1928424 w 9586368"/>
                <a:gd name="connsiteY7529" fmla="*/ 1196581 h 6479439"/>
                <a:gd name="connsiteX7530" fmla="*/ 1932443 w 9586368"/>
                <a:gd name="connsiteY7530" fmla="*/ 1200619 h 6479439"/>
                <a:gd name="connsiteX7531" fmla="*/ 1932443 w 9586368"/>
                <a:gd name="connsiteY7531" fmla="*/ 1210489 h 6479439"/>
                <a:gd name="connsiteX7532" fmla="*/ 1928424 w 9586368"/>
                <a:gd name="connsiteY7532" fmla="*/ 1214528 h 6479439"/>
                <a:gd name="connsiteX7533" fmla="*/ 1918514 w 9586368"/>
                <a:gd name="connsiteY7533" fmla="*/ 1214528 h 6479439"/>
                <a:gd name="connsiteX7534" fmla="*/ 1914495 w 9586368"/>
                <a:gd name="connsiteY7534" fmla="*/ 1210489 h 6479439"/>
                <a:gd name="connsiteX7535" fmla="*/ 1914495 w 9586368"/>
                <a:gd name="connsiteY7535" fmla="*/ 1200619 h 6479439"/>
                <a:gd name="connsiteX7536" fmla="*/ 2157823 w 9586368"/>
                <a:gd name="connsiteY7536" fmla="*/ 1196578 h 6479439"/>
                <a:gd name="connsiteX7537" fmla="*/ 2167733 w 9586368"/>
                <a:gd name="connsiteY7537" fmla="*/ 1196578 h 6479439"/>
                <a:gd name="connsiteX7538" fmla="*/ 2171751 w 9586368"/>
                <a:gd name="connsiteY7538" fmla="*/ 1200617 h 6479439"/>
                <a:gd name="connsiteX7539" fmla="*/ 2171751 w 9586368"/>
                <a:gd name="connsiteY7539" fmla="*/ 1210488 h 6479439"/>
                <a:gd name="connsiteX7540" fmla="*/ 2167733 w 9586368"/>
                <a:gd name="connsiteY7540" fmla="*/ 1214526 h 6479439"/>
                <a:gd name="connsiteX7541" fmla="*/ 2157823 w 9586368"/>
                <a:gd name="connsiteY7541" fmla="*/ 1214526 h 6479439"/>
                <a:gd name="connsiteX7542" fmla="*/ 2153803 w 9586368"/>
                <a:gd name="connsiteY7542" fmla="*/ 1210488 h 6479439"/>
                <a:gd name="connsiteX7543" fmla="*/ 2153803 w 9586368"/>
                <a:gd name="connsiteY7543" fmla="*/ 1200617 h 6479439"/>
                <a:gd name="connsiteX7544" fmla="*/ 3350359 w 9586368"/>
                <a:gd name="connsiteY7544" fmla="*/ 957358 h 6479439"/>
                <a:gd name="connsiteX7545" fmla="*/ 3360268 w 9586368"/>
                <a:gd name="connsiteY7545" fmla="*/ 957358 h 6479439"/>
                <a:gd name="connsiteX7546" fmla="*/ 3364287 w 9586368"/>
                <a:gd name="connsiteY7546" fmla="*/ 961396 h 6479439"/>
                <a:gd name="connsiteX7547" fmla="*/ 3364287 w 9586368"/>
                <a:gd name="connsiteY7547" fmla="*/ 971266 h 6479439"/>
                <a:gd name="connsiteX7548" fmla="*/ 3360268 w 9586368"/>
                <a:gd name="connsiteY7548" fmla="*/ 975304 h 6479439"/>
                <a:gd name="connsiteX7549" fmla="*/ 3350359 w 9586368"/>
                <a:gd name="connsiteY7549" fmla="*/ 975304 h 6479439"/>
                <a:gd name="connsiteX7550" fmla="*/ 3346340 w 9586368"/>
                <a:gd name="connsiteY7550" fmla="*/ 971266 h 6479439"/>
                <a:gd name="connsiteX7551" fmla="*/ 3346340 w 9586368"/>
                <a:gd name="connsiteY7551" fmla="*/ 961396 h 6479439"/>
                <a:gd name="connsiteX7552" fmla="*/ 3111048 w 9586368"/>
                <a:gd name="connsiteY7552" fmla="*/ 957358 h 6479439"/>
                <a:gd name="connsiteX7553" fmla="*/ 3120959 w 9586368"/>
                <a:gd name="connsiteY7553" fmla="*/ 957358 h 6479439"/>
                <a:gd name="connsiteX7554" fmla="*/ 3124977 w 9586368"/>
                <a:gd name="connsiteY7554" fmla="*/ 961396 h 6479439"/>
                <a:gd name="connsiteX7555" fmla="*/ 3124977 w 9586368"/>
                <a:gd name="connsiteY7555" fmla="*/ 971266 h 6479439"/>
                <a:gd name="connsiteX7556" fmla="*/ 3120959 w 9586368"/>
                <a:gd name="connsiteY7556" fmla="*/ 975304 h 6479439"/>
                <a:gd name="connsiteX7557" fmla="*/ 3111048 w 9586368"/>
                <a:gd name="connsiteY7557" fmla="*/ 975304 h 6479439"/>
                <a:gd name="connsiteX7558" fmla="*/ 3107029 w 9586368"/>
                <a:gd name="connsiteY7558" fmla="*/ 971266 h 6479439"/>
                <a:gd name="connsiteX7559" fmla="*/ 3107029 w 9586368"/>
                <a:gd name="connsiteY7559" fmla="*/ 961396 h 6479439"/>
                <a:gd name="connsiteX7560" fmla="*/ 2871737 w 9586368"/>
                <a:gd name="connsiteY7560" fmla="*/ 957358 h 6479439"/>
                <a:gd name="connsiteX7561" fmla="*/ 2881646 w 9586368"/>
                <a:gd name="connsiteY7561" fmla="*/ 957358 h 6479439"/>
                <a:gd name="connsiteX7562" fmla="*/ 2885666 w 9586368"/>
                <a:gd name="connsiteY7562" fmla="*/ 961396 h 6479439"/>
                <a:gd name="connsiteX7563" fmla="*/ 2885666 w 9586368"/>
                <a:gd name="connsiteY7563" fmla="*/ 971266 h 6479439"/>
                <a:gd name="connsiteX7564" fmla="*/ 2881646 w 9586368"/>
                <a:gd name="connsiteY7564" fmla="*/ 975304 h 6479439"/>
                <a:gd name="connsiteX7565" fmla="*/ 2871737 w 9586368"/>
                <a:gd name="connsiteY7565" fmla="*/ 975304 h 6479439"/>
                <a:gd name="connsiteX7566" fmla="*/ 2867717 w 9586368"/>
                <a:gd name="connsiteY7566" fmla="*/ 971266 h 6479439"/>
                <a:gd name="connsiteX7567" fmla="*/ 2867717 w 9586368"/>
                <a:gd name="connsiteY7567" fmla="*/ 961396 h 6479439"/>
                <a:gd name="connsiteX7568" fmla="*/ 2632423 w 9586368"/>
                <a:gd name="connsiteY7568" fmla="*/ 957358 h 6479439"/>
                <a:gd name="connsiteX7569" fmla="*/ 2642334 w 9586368"/>
                <a:gd name="connsiteY7569" fmla="*/ 957358 h 6479439"/>
                <a:gd name="connsiteX7570" fmla="*/ 2646352 w 9586368"/>
                <a:gd name="connsiteY7570" fmla="*/ 961396 h 6479439"/>
                <a:gd name="connsiteX7571" fmla="*/ 2646352 w 9586368"/>
                <a:gd name="connsiteY7571" fmla="*/ 971266 h 6479439"/>
                <a:gd name="connsiteX7572" fmla="*/ 2642334 w 9586368"/>
                <a:gd name="connsiteY7572" fmla="*/ 975305 h 6479439"/>
                <a:gd name="connsiteX7573" fmla="*/ 2632423 w 9586368"/>
                <a:gd name="connsiteY7573" fmla="*/ 975305 h 6479439"/>
                <a:gd name="connsiteX7574" fmla="*/ 2628404 w 9586368"/>
                <a:gd name="connsiteY7574" fmla="*/ 971266 h 6479439"/>
                <a:gd name="connsiteX7575" fmla="*/ 2628404 w 9586368"/>
                <a:gd name="connsiteY7575" fmla="*/ 961396 h 6479439"/>
                <a:gd name="connsiteX7576" fmla="*/ 2393104 w 9586368"/>
                <a:gd name="connsiteY7576" fmla="*/ 957358 h 6479439"/>
                <a:gd name="connsiteX7577" fmla="*/ 2403015 w 9586368"/>
                <a:gd name="connsiteY7577" fmla="*/ 957358 h 6479439"/>
                <a:gd name="connsiteX7578" fmla="*/ 2407034 w 9586368"/>
                <a:gd name="connsiteY7578" fmla="*/ 961396 h 6479439"/>
                <a:gd name="connsiteX7579" fmla="*/ 2407034 w 9586368"/>
                <a:gd name="connsiteY7579" fmla="*/ 971266 h 6479439"/>
                <a:gd name="connsiteX7580" fmla="*/ 2403015 w 9586368"/>
                <a:gd name="connsiteY7580" fmla="*/ 975305 h 6479439"/>
                <a:gd name="connsiteX7581" fmla="*/ 2393104 w 9586368"/>
                <a:gd name="connsiteY7581" fmla="*/ 975305 h 6479439"/>
                <a:gd name="connsiteX7582" fmla="*/ 2389087 w 9586368"/>
                <a:gd name="connsiteY7582" fmla="*/ 971266 h 6479439"/>
                <a:gd name="connsiteX7583" fmla="*/ 2389087 w 9586368"/>
                <a:gd name="connsiteY7583" fmla="*/ 961396 h 6479439"/>
                <a:gd name="connsiteX7584" fmla="*/ 4546929 w 9586368"/>
                <a:gd name="connsiteY7584" fmla="*/ 957347 h 6479439"/>
                <a:gd name="connsiteX7585" fmla="*/ 4556840 w 9586368"/>
                <a:gd name="connsiteY7585" fmla="*/ 957347 h 6479439"/>
                <a:gd name="connsiteX7586" fmla="*/ 4560859 w 9586368"/>
                <a:gd name="connsiteY7586" fmla="*/ 961385 h 6479439"/>
                <a:gd name="connsiteX7587" fmla="*/ 4560859 w 9586368"/>
                <a:gd name="connsiteY7587" fmla="*/ 971255 h 6479439"/>
                <a:gd name="connsiteX7588" fmla="*/ 4556840 w 9586368"/>
                <a:gd name="connsiteY7588" fmla="*/ 975293 h 6479439"/>
                <a:gd name="connsiteX7589" fmla="*/ 4546929 w 9586368"/>
                <a:gd name="connsiteY7589" fmla="*/ 975293 h 6479439"/>
                <a:gd name="connsiteX7590" fmla="*/ 4542910 w 9586368"/>
                <a:gd name="connsiteY7590" fmla="*/ 971255 h 6479439"/>
                <a:gd name="connsiteX7591" fmla="*/ 4542910 w 9586368"/>
                <a:gd name="connsiteY7591" fmla="*/ 961385 h 6479439"/>
                <a:gd name="connsiteX7592" fmla="*/ 4307612 w 9586368"/>
                <a:gd name="connsiteY7592" fmla="*/ 957347 h 6479439"/>
                <a:gd name="connsiteX7593" fmla="*/ 4317523 w 9586368"/>
                <a:gd name="connsiteY7593" fmla="*/ 957347 h 6479439"/>
                <a:gd name="connsiteX7594" fmla="*/ 4321543 w 9586368"/>
                <a:gd name="connsiteY7594" fmla="*/ 961385 h 6479439"/>
                <a:gd name="connsiteX7595" fmla="*/ 4321543 w 9586368"/>
                <a:gd name="connsiteY7595" fmla="*/ 971255 h 6479439"/>
                <a:gd name="connsiteX7596" fmla="*/ 4317523 w 9586368"/>
                <a:gd name="connsiteY7596" fmla="*/ 975293 h 6479439"/>
                <a:gd name="connsiteX7597" fmla="*/ 4307612 w 9586368"/>
                <a:gd name="connsiteY7597" fmla="*/ 975293 h 6479439"/>
                <a:gd name="connsiteX7598" fmla="*/ 4303595 w 9586368"/>
                <a:gd name="connsiteY7598" fmla="*/ 971255 h 6479439"/>
                <a:gd name="connsiteX7599" fmla="*/ 4303595 w 9586368"/>
                <a:gd name="connsiteY7599" fmla="*/ 961385 h 6479439"/>
                <a:gd name="connsiteX7600" fmla="*/ 4068297 w 9586368"/>
                <a:gd name="connsiteY7600" fmla="*/ 957347 h 6479439"/>
                <a:gd name="connsiteX7601" fmla="*/ 4078210 w 9586368"/>
                <a:gd name="connsiteY7601" fmla="*/ 957347 h 6479439"/>
                <a:gd name="connsiteX7602" fmla="*/ 4082229 w 9586368"/>
                <a:gd name="connsiteY7602" fmla="*/ 961385 h 6479439"/>
                <a:gd name="connsiteX7603" fmla="*/ 4082229 w 9586368"/>
                <a:gd name="connsiteY7603" fmla="*/ 971255 h 6479439"/>
                <a:gd name="connsiteX7604" fmla="*/ 4078210 w 9586368"/>
                <a:gd name="connsiteY7604" fmla="*/ 975293 h 6479439"/>
                <a:gd name="connsiteX7605" fmla="*/ 4068297 w 9586368"/>
                <a:gd name="connsiteY7605" fmla="*/ 975293 h 6479439"/>
                <a:gd name="connsiteX7606" fmla="*/ 4064278 w 9586368"/>
                <a:gd name="connsiteY7606" fmla="*/ 971255 h 6479439"/>
                <a:gd name="connsiteX7607" fmla="*/ 4064278 w 9586368"/>
                <a:gd name="connsiteY7607" fmla="*/ 961385 h 6479439"/>
                <a:gd name="connsiteX7608" fmla="*/ 3828990 w 9586368"/>
                <a:gd name="connsiteY7608" fmla="*/ 957347 h 6479439"/>
                <a:gd name="connsiteX7609" fmla="*/ 3838899 w 9586368"/>
                <a:gd name="connsiteY7609" fmla="*/ 957347 h 6479439"/>
                <a:gd name="connsiteX7610" fmla="*/ 3842917 w 9586368"/>
                <a:gd name="connsiteY7610" fmla="*/ 961385 h 6479439"/>
                <a:gd name="connsiteX7611" fmla="*/ 3842917 w 9586368"/>
                <a:gd name="connsiteY7611" fmla="*/ 971255 h 6479439"/>
                <a:gd name="connsiteX7612" fmla="*/ 3838899 w 9586368"/>
                <a:gd name="connsiteY7612" fmla="*/ 975293 h 6479439"/>
                <a:gd name="connsiteX7613" fmla="*/ 3828990 w 9586368"/>
                <a:gd name="connsiteY7613" fmla="*/ 975293 h 6479439"/>
                <a:gd name="connsiteX7614" fmla="*/ 3824971 w 9586368"/>
                <a:gd name="connsiteY7614" fmla="*/ 971255 h 6479439"/>
                <a:gd name="connsiteX7615" fmla="*/ 3824971 w 9586368"/>
                <a:gd name="connsiteY7615" fmla="*/ 961385 h 6479439"/>
                <a:gd name="connsiteX7616" fmla="*/ 3589676 w 9586368"/>
                <a:gd name="connsiteY7616" fmla="*/ 957347 h 6479439"/>
                <a:gd name="connsiteX7617" fmla="*/ 3599585 w 9586368"/>
                <a:gd name="connsiteY7617" fmla="*/ 957347 h 6479439"/>
                <a:gd name="connsiteX7618" fmla="*/ 3603604 w 9586368"/>
                <a:gd name="connsiteY7618" fmla="*/ 961385 h 6479439"/>
                <a:gd name="connsiteX7619" fmla="*/ 3603604 w 9586368"/>
                <a:gd name="connsiteY7619" fmla="*/ 971255 h 6479439"/>
                <a:gd name="connsiteX7620" fmla="*/ 3599585 w 9586368"/>
                <a:gd name="connsiteY7620" fmla="*/ 975293 h 6479439"/>
                <a:gd name="connsiteX7621" fmla="*/ 3589676 w 9586368"/>
                <a:gd name="connsiteY7621" fmla="*/ 975293 h 6479439"/>
                <a:gd name="connsiteX7622" fmla="*/ 3585657 w 9586368"/>
                <a:gd name="connsiteY7622" fmla="*/ 971255 h 6479439"/>
                <a:gd name="connsiteX7623" fmla="*/ 3585657 w 9586368"/>
                <a:gd name="connsiteY7623" fmla="*/ 961385 h 6479439"/>
                <a:gd name="connsiteX7624" fmla="*/ 5743412 w 9586368"/>
                <a:gd name="connsiteY7624" fmla="*/ 957335 h 6479439"/>
                <a:gd name="connsiteX7625" fmla="*/ 5753323 w 9586368"/>
                <a:gd name="connsiteY7625" fmla="*/ 957335 h 6479439"/>
                <a:gd name="connsiteX7626" fmla="*/ 5757342 w 9586368"/>
                <a:gd name="connsiteY7626" fmla="*/ 961373 h 6479439"/>
                <a:gd name="connsiteX7627" fmla="*/ 5757342 w 9586368"/>
                <a:gd name="connsiteY7627" fmla="*/ 971244 h 6479439"/>
                <a:gd name="connsiteX7628" fmla="*/ 5753323 w 9586368"/>
                <a:gd name="connsiteY7628" fmla="*/ 975282 h 6479439"/>
                <a:gd name="connsiteX7629" fmla="*/ 5743412 w 9586368"/>
                <a:gd name="connsiteY7629" fmla="*/ 975282 h 6479439"/>
                <a:gd name="connsiteX7630" fmla="*/ 5739393 w 9586368"/>
                <a:gd name="connsiteY7630" fmla="*/ 971244 h 6479439"/>
                <a:gd name="connsiteX7631" fmla="*/ 5739393 w 9586368"/>
                <a:gd name="connsiteY7631" fmla="*/ 961373 h 6479439"/>
                <a:gd name="connsiteX7632" fmla="*/ 5504099 w 9586368"/>
                <a:gd name="connsiteY7632" fmla="*/ 957335 h 6479439"/>
                <a:gd name="connsiteX7633" fmla="*/ 5514010 w 9586368"/>
                <a:gd name="connsiteY7633" fmla="*/ 957335 h 6479439"/>
                <a:gd name="connsiteX7634" fmla="*/ 5518029 w 9586368"/>
                <a:gd name="connsiteY7634" fmla="*/ 961373 h 6479439"/>
                <a:gd name="connsiteX7635" fmla="*/ 5518029 w 9586368"/>
                <a:gd name="connsiteY7635" fmla="*/ 971244 h 6479439"/>
                <a:gd name="connsiteX7636" fmla="*/ 5514010 w 9586368"/>
                <a:gd name="connsiteY7636" fmla="*/ 975282 h 6479439"/>
                <a:gd name="connsiteX7637" fmla="*/ 5504099 w 9586368"/>
                <a:gd name="connsiteY7637" fmla="*/ 975282 h 6479439"/>
                <a:gd name="connsiteX7638" fmla="*/ 5500080 w 9586368"/>
                <a:gd name="connsiteY7638" fmla="*/ 971244 h 6479439"/>
                <a:gd name="connsiteX7639" fmla="*/ 5500080 w 9586368"/>
                <a:gd name="connsiteY7639" fmla="*/ 961373 h 6479439"/>
                <a:gd name="connsiteX7640" fmla="*/ 5264784 w 9586368"/>
                <a:gd name="connsiteY7640" fmla="*/ 957335 h 6479439"/>
                <a:gd name="connsiteX7641" fmla="*/ 5274694 w 9586368"/>
                <a:gd name="connsiteY7641" fmla="*/ 957335 h 6479439"/>
                <a:gd name="connsiteX7642" fmla="*/ 5278713 w 9586368"/>
                <a:gd name="connsiteY7642" fmla="*/ 961373 h 6479439"/>
                <a:gd name="connsiteX7643" fmla="*/ 5278713 w 9586368"/>
                <a:gd name="connsiteY7643" fmla="*/ 971244 h 6479439"/>
                <a:gd name="connsiteX7644" fmla="*/ 5274694 w 9586368"/>
                <a:gd name="connsiteY7644" fmla="*/ 975282 h 6479439"/>
                <a:gd name="connsiteX7645" fmla="*/ 5264784 w 9586368"/>
                <a:gd name="connsiteY7645" fmla="*/ 975282 h 6479439"/>
                <a:gd name="connsiteX7646" fmla="*/ 5260765 w 9586368"/>
                <a:gd name="connsiteY7646" fmla="*/ 971244 h 6479439"/>
                <a:gd name="connsiteX7647" fmla="*/ 5260765 w 9586368"/>
                <a:gd name="connsiteY7647" fmla="*/ 961373 h 6479439"/>
                <a:gd name="connsiteX7648" fmla="*/ 5025470 w 9586368"/>
                <a:gd name="connsiteY7648" fmla="*/ 957335 h 6479439"/>
                <a:gd name="connsiteX7649" fmla="*/ 5035381 w 9586368"/>
                <a:gd name="connsiteY7649" fmla="*/ 957335 h 6479439"/>
                <a:gd name="connsiteX7650" fmla="*/ 5039400 w 9586368"/>
                <a:gd name="connsiteY7650" fmla="*/ 961373 h 6479439"/>
                <a:gd name="connsiteX7651" fmla="*/ 5039400 w 9586368"/>
                <a:gd name="connsiteY7651" fmla="*/ 971244 h 6479439"/>
                <a:gd name="connsiteX7652" fmla="*/ 5035381 w 9586368"/>
                <a:gd name="connsiteY7652" fmla="*/ 975283 h 6479439"/>
                <a:gd name="connsiteX7653" fmla="*/ 5025470 w 9586368"/>
                <a:gd name="connsiteY7653" fmla="*/ 975283 h 6479439"/>
                <a:gd name="connsiteX7654" fmla="*/ 5021451 w 9586368"/>
                <a:gd name="connsiteY7654" fmla="*/ 971244 h 6479439"/>
                <a:gd name="connsiteX7655" fmla="*/ 5021451 w 9586368"/>
                <a:gd name="connsiteY7655" fmla="*/ 961373 h 6479439"/>
                <a:gd name="connsiteX7656" fmla="*/ 4786241 w 9586368"/>
                <a:gd name="connsiteY7656" fmla="*/ 957335 h 6479439"/>
                <a:gd name="connsiteX7657" fmla="*/ 4796152 w 9586368"/>
                <a:gd name="connsiteY7657" fmla="*/ 957335 h 6479439"/>
                <a:gd name="connsiteX7658" fmla="*/ 4800171 w 9586368"/>
                <a:gd name="connsiteY7658" fmla="*/ 961374 h 6479439"/>
                <a:gd name="connsiteX7659" fmla="*/ 4800171 w 9586368"/>
                <a:gd name="connsiteY7659" fmla="*/ 971244 h 6479439"/>
                <a:gd name="connsiteX7660" fmla="*/ 4796152 w 9586368"/>
                <a:gd name="connsiteY7660" fmla="*/ 975283 h 6479439"/>
                <a:gd name="connsiteX7661" fmla="*/ 4786241 w 9586368"/>
                <a:gd name="connsiteY7661" fmla="*/ 975283 h 6479439"/>
                <a:gd name="connsiteX7662" fmla="*/ 4782224 w 9586368"/>
                <a:gd name="connsiteY7662" fmla="*/ 971244 h 6479439"/>
                <a:gd name="connsiteX7663" fmla="*/ 4782224 w 9586368"/>
                <a:gd name="connsiteY7663" fmla="*/ 961374 h 6479439"/>
                <a:gd name="connsiteX7664" fmla="*/ 6939983 w 9586368"/>
                <a:gd name="connsiteY7664" fmla="*/ 957324 h 6479439"/>
                <a:gd name="connsiteX7665" fmla="*/ 6949894 w 9586368"/>
                <a:gd name="connsiteY7665" fmla="*/ 957324 h 6479439"/>
                <a:gd name="connsiteX7666" fmla="*/ 6953913 w 9586368"/>
                <a:gd name="connsiteY7666" fmla="*/ 961363 h 6479439"/>
                <a:gd name="connsiteX7667" fmla="*/ 6953913 w 9586368"/>
                <a:gd name="connsiteY7667" fmla="*/ 971232 h 6479439"/>
                <a:gd name="connsiteX7668" fmla="*/ 6949894 w 9586368"/>
                <a:gd name="connsiteY7668" fmla="*/ 975271 h 6479439"/>
                <a:gd name="connsiteX7669" fmla="*/ 6939983 w 9586368"/>
                <a:gd name="connsiteY7669" fmla="*/ 975271 h 6479439"/>
                <a:gd name="connsiteX7670" fmla="*/ 6935964 w 9586368"/>
                <a:gd name="connsiteY7670" fmla="*/ 971232 h 6479439"/>
                <a:gd name="connsiteX7671" fmla="*/ 6935964 w 9586368"/>
                <a:gd name="connsiteY7671" fmla="*/ 961363 h 6479439"/>
                <a:gd name="connsiteX7672" fmla="*/ 6700670 w 9586368"/>
                <a:gd name="connsiteY7672" fmla="*/ 957324 h 6479439"/>
                <a:gd name="connsiteX7673" fmla="*/ 6710581 w 9586368"/>
                <a:gd name="connsiteY7673" fmla="*/ 957324 h 6479439"/>
                <a:gd name="connsiteX7674" fmla="*/ 6714600 w 9586368"/>
                <a:gd name="connsiteY7674" fmla="*/ 961363 h 6479439"/>
                <a:gd name="connsiteX7675" fmla="*/ 6714600 w 9586368"/>
                <a:gd name="connsiteY7675" fmla="*/ 971232 h 6479439"/>
                <a:gd name="connsiteX7676" fmla="*/ 6710581 w 9586368"/>
                <a:gd name="connsiteY7676" fmla="*/ 975271 h 6479439"/>
                <a:gd name="connsiteX7677" fmla="*/ 6700670 w 9586368"/>
                <a:gd name="connsiteY7677" fmla="*/ 975271 h 6479439"/>
                <a:gd name="connsiteX7678" fmla="*/ 6696651 w 9586368"/>
                <a:gd name="connsiteY7678" fmla="*/ 971232 h 6479439"/>
                <a:gd name="connsiteX7679" fmla="*/ 6696651 w 9586368"/>
                <a:gd name="connsiteY7679" fmla="*/ 961363 h 6479439"/>
                <a:gd name="connsiteX7680" fmla="*/ 6461356 w 9586368"/>
                <a:gd name="connsiteY7680" fmla="*/ 957324 h 6479439"/>
                <a:gd name="connsiteX7681" fmla="*/ 6471266 w 9586368"/>
                <a:gd name="connsiteY7681" fmla="*/ 957324 h 6479439"/>
                <a:gd name="connsiteX7682" fmla="*/ 6475285 w 9586368"/>
                <a:gd name="connsiteY7682" fmla="*/ 961363 h 6479439"/>
                <a:gd name="connsiteX7683" fmla="*/ 6475285 w 9586368"/>
                <a:gd name="connsiteY7683" fmla="*/ 971232 h 6479439"/>
                <a:gd name="connsiteX7684" fmla="*/ 6471266 w 9586368"/>
                <a:gd name="connsiteY7684" fmla="*/ 975271 h 6479439"/>
                <a:gd name="connsiteX7685" fmla="*/ 6461356 w 9586368"/>
                <a:gd name="connsiteY7685" fmla="*/ 975271 h 6479439"/>
                <a:gd name="connsiteX7686" fmla="*/ 6457337 w 9586368"/>
                <a:gd name="connsiteY7686" fmla="*/ 971232 h 6479439"/>
                <a:gd name="connsiteX7687" fmla="*/ 6457337 w 9586368"/>
                <a:gd name="connsiteY7687" fmla="*/ 961363 h 6479439"/>
                <a:gd name="connsiteX7688" fmla="*/ 6222042 w 9586368"/>
                <a:gd name="connsiteY7688" fmla="*/ 957324 h 6479439"/>
                <a:gd name="connsiteX7689" fmla="*/ 6231952 w 9586368"/>
                <a:gd name="connsiteY7689" fmla="*/ 957324 h 6479439"/>
                <a:gd name="connsiteX7690" fmla="*/ 6235971 w 9586368"/>
                <a:gd name="connsiteY7690" fmla="*/ 961363 h 6479439"/>
                <a:gd name="connsiteX7691" fmla="*/ 6235971 w 9586368"/>
                <a:gd name="connsiteY7691" fmla="*/ 971232 h 6479439"/>
                <a:gd name="connsiteX7692" fmla="*/ 6231952 w 9586368"/>
                <a:gd name="connsiteY7692" fmla="*/ 975271 h 6479439"/>
                <a:gd name="connsiteX7693" fmla="*/ 6222042 w 9586368"/>
                <a:gd name="connsiteY7693" fmla="*/ 975271 h 6479439"/>
                <a:gd name="connsiteX7694" fmla="*/ 6218023 w 9586368"/>
                <a:gd name="connsiteY7694" fmla="*/ 971232 h 6479439"/>
                <a:gd name="connsiteX7695" fmla="*/ 6218023 w 9586368"/>
                <a:gd name="connsiteY7695" fmla="*/ 961363 h 6479439"/>
                <a:gd name="connsiteX7696" fmla="*/ 5982729 w 9586368"/>
                <a:gd name="connsiteY7696" fmla="*/ 957324 h 6479439"/>
                <a:gd name="connsiteX7697" fmla="*/ 5992639 w 9586368"/>
                <a:gd name="connsiteY7697" fmla="*/ 957324 h 6479439"/>
                <a:gd name="connsiteX7698" fmla="*/ 5996658 w 9586368"/>
                <a:gd name="connsiteY7698" fmla="*/ 961363 h 6479439"/>
                <a:gd name="connsiteX7699" fmla="*/ 5996658 w 9586368"/>
                <a:gd name="connsiteY7699" fmla="*/ 971232 h 6479439"/>
                <a:gd name="connsiteX7700" fmla="*/ 5992639 w 9586368"/>
                <a:gd name="connsiteY7700" fmla="*/ 975271 h 6479439"/>
                <a:gd name="connsiteX7701" fmla="*/ 5982729 w 9586368"/>
                <a:gd name="connsiteY7701" fmla="*/ 975271 h 6479439"/>
                <a:gd name="connsiteX7702" fmla="*/ 5978710 w 9586368"/>
                <a:gd name="connsiteY7702" fmla="*/ 971232 h 6479439"/>
                <a:gd name="connsiteX7703" fmla="*/ 5978710 w 9586368"/>
                <a:gd name="connsiteY7703" fmla="*/ 961363 h 6479439"/>
                <a:gd name="connsiteX7704" fmla="*/ 8136553 w 9586368"/>
                <a:gd name="connsiteY7704" fmla="*/ 957313 h 6479439"/>
                <a:gd name="connsiteX7705" fmla="*/ 8146464 w 9586368"/>
                <a:gd name="connsiteY7705" fmla="*/ 957313 h 6479439"/>
                <a:gd name="connsiteX7706" fmla="*/ 8150483 w 9586368"/>
                <a:gd name="connsiteY7706" fmla="*/ 961351 h 6479439"/>
                <a:gd name="connsiteX7707" fmla="*/ 8150483 w 9586368"/>
                <a:gd name="connsiteY7707" fmla="*/ 971222 h 6479439"/>
                <a:gd name="connsiteX7708" fmla="*/ 8146464 w 9586368"/>
                <a:gd name="connsiteY7708" fmla="*/ 975260 h 6479439"/>
                <a:gd name="connsiteX7709" fmla="*/ 8136553 w 9586368"/>
                <a:gd name="connsiteY7709" fmla="*/ 975260 h 6479439"/>
                <a:gd name="connsiteX7710" fmla="*/ 8132534 w 9586368"/>
                <a:gd name="connsiteY7710" fmla="*/ 971222 h 6479439"/>
                <a:gd name="connsiteX7711" fmla="*/ 8132534 w 9586368"/>
                <a:gd name="connsiteY7711" fmla="*/ 961351 h 6479439"/>
                <a:gd name="connsiteX7712" fmla="*/ 7897241 w 9586368"/>
                <a:gd name="connsiteY7712" fmla="*/ 957313 h 6479439"/>
                <a:gd name="connsiteX7713" fmla="*/ 7907151 w 9586368"/>
                <a:gd name="connsiteY7713" fmla="*/ 957313 h 6479439"/>
                <a:gd name="connsiteX7714" fmla="*/ 7911170 w 9586368"/>
                <a:gd name="connsiteY7714" fmla="*/ 961351 h 6479439"/>
                <a:gd name="connsiteX7715" fmla="*/ 7911170 w 9586368"/>
                <a:gd name="connsiteY7715" fmla="*/ 971222 h 6479439"/>
                <a:gd name="connsiteX7716" fmla="*/ 7907151 w 9586368"/>
                <a:gd name="connsiteY7716" fmla="*/ 975260 h 6479439"/>
                <a:gd name="connsiteX7717" fmla="*/ 7897241 w 9586368"/>
                <a:gd name="connsiteY7717" fmla="*/ 975260 h 6479439"/>
                <a:gd name="connsiteX7718" fmla="*/ 7893222 w 9586368"/>
                <a:gd name="connsiteY7718" fmla="*/ 971222 h 6479439"/>
                <a:gd name="connsiteX7719" fmla="*/ 7893222 w 9586368"/>
                <a:gd name="connsiteY7719" fmla="*/ 961351 h 6479439"/>
                <a:gd name="connsiteX7720" fmla="*/ 7657926 w 9586368"/>
                <a:gd name="connsiteY7720" fmla="*/ 957313 h 6479439"/>
                <a:gd name="connsiteX7721" fmla="*/ 7667836 w 9586368"/>
                <a:gd name="connsiteY7721" fmla="*/ 957313 h 6479439"/>
                <a:gd name="connsiteX7722" fmla="*/ 7671855 w 9586368"/>
                <a:gd name="connsiteY7722" fmla="*/ 961351 h 6479439"/>
                <a:gd name="connsiteX7723" fmla="*/ 7671855 w 9586368"/>
                <a:gd name="connsiteY7723" fmla="*/ 971222 h 6479439"/>
                <a:gd name="connsiteX7724" fmla="*/ 7667836 w 9586368"/>
                <a:gd name="connsiteY7724" fmla="*/ 975260 h 6479439"/>
                <a:gd name="connsiteX7725" fmla="*/ 7657926 w 9586368"/>
                <a:gd name="connsiteY7725" fmla="*/ 975260 h 6479439"/>
                <a:gd name="connsiteX7726" fmla="*/ 7653906 w 9586368"/>
                <a:gd name="connsiteY7726" fmla="*/ 971222 h 6479439"/>
                <a:gd name="connsiteX7727" fmla="*/ 7653906 w 9586368"/>
                <a:gd name="connsiteY7727" fmla="*/ 961351 h 6479439"/>
                <a:gd name="connsiteX7728" fmla="*/ 7418611 w 9586368"/>
                <a:gd name="connsiteY7728" fmla="*/ 957313 h 6479439"/>
                <a:gd name="connsiteX7729" fmla="*/ 7428521 w 9586368"/>
                <a:gd name="connsiteY7729" fmla="*/ 957313 h 6479439"/>
                <a:gd name="connsiteX7730" fmla="*/ 7432540 w 9586368"/>
                <a:gd name="connsiteY7730" fmla="*/ 961351 h 6479439"/>
                <a:gd name="connsiteX7731" fmla="*/ 7432540 w 9586368"/>
                <a:gd name="connsiteY7731" fmla="*/ 971222 h 6479439"/>
                <a:gd name="connsiteX7732" fmla="*/ 7428521 w 9586368"/>
                <a:gd name="connsiteY7732" fmla="*/ 975260 h 6479439"/>
                <a:gd name="connsiteX7733" fmla="*/ 7418611 w 9586368"/>
                <a:gd name="connsiteY7733" fmla="*/ 975260 h 6479439"/>
                <a:gd name="connsiteX7734" fmla="*/ 7414592 w 9586368"/>
                <a:gd name="connsiteY7734" fmla="*/ 971222 h 6479439"/>
                <a:gd name="connsiteX7735" fmla="*/ 7414592 w 9586368"/>
                <a:gd name="connsiteY7735" fmla="*/ 961351 h 6479439"/>
                <a:gd name="connsiteX7736" fmla="*/ 7179298 w 9586368"/>
                <a:gd name="connsiteY7736" fmla="*/ 957313 h 6479439"/>
                <a:gd name="connsiteX7737" fmla="*/ 7189209 w 9586368"/>
                <a:gd name="connsiteY7737" fmla="*/ 957313 h 6479439"/>
                <a:gd name="connsiteX7738" fmla="*/ 7193228 w 9586368"/>
                <a:gd name="connsiteY7738" fmla="*/ 961351 h 6479439"/>
                <a:gd name="connsiteX7739" fmla="*/ 7193228 w 9586368"/>
                <a:gd name="connsiteY7739" fmla="*/ 971222 h 6479439"/>
                <a:gd name="connsiteX7740" fmla="*/ 7189209 w 9586368"/>
                <a:gd name="connsiteY7740" fmla="*/ 975260 h 6479439"/>
                <a:gd name="connsiteX7741" fmla="*/ 7179298 w 9586368"/>
                <a:gd name="connsiteY7741" fmla="*/ 975260 h 6479439"/>
                <a:gd name="connsiteX7742" fmla="*/ 7175279 w 9586368"/>
                <a:gd name="connsiteY7742" fmla="*/ 971222 h 6479439"/>
                <a:gd name="connsiteX7743" fmla="*/ 7175279 w 9586368"/>
                <a:gd name="connsiteY7743" fmla="*/ 961351 h 6479439"/>
                <a:gd name="connsiteX7744" fmla="*/ 1679217 w 9586368"/>
                <a:gd name="connsiteY7744" fmla="*/ 957309 h 6479439"/>
                <a:gd name="connsiteX7745" fmla="*/ 1689128 w 9586368"/>
                <a:gd name="connsiteY7745" fmla="*/ 957309 h 6479439"/>
                <a:gd name="connsiteX7746" fmla="*/ 1693147 w 9586368"/>
                <a:gd name="connsiteY7746" fmla="*/ 961347 h 6479439"/>
                <a:gd name="connsiteX7747" fmla="*/ 1693147 w 9586368"/>
                <a:gd name="connsiteY7747" fmla="*/ 971217 h 6479439"/>
                <a:gd name="connsiteX7748" fmla="*/ 1689128 w 9586368"/>
                <a:gd name="connsiteY7748" fmla="*/ 975256 h 6479439"/>
                <a:gd name="connsiteX7749" fmla="*/ 1679217 w 9586368"/>
                <a:gd name="connsiteY7749" fmla="*/ 975256 h 6479439"/>
                <a:gd name="connsiteX7750" fmla="*/ 1675199 w 9586368"/>
                <a:gd name="connsiteY7750" fmla="*/ 971217 h 6479439"/>
                <a:gd name="connsiteX7751" fmla="*/ 1675199 w 9586368"/>
                <a:gd name="connsiteY7751" fmla="*/ 961347 h 6479439"/>
                <a:gd name="connsiteX7752" fmla="*/ 1439901 w 9586368"/>
                <a:gd name="connsiteY7752" fmla="*/ 957309 h 6479439"/>
                <a:gd name="connsiteX7753" fmla="*/ 1449811 w 9586368"/>
                <a:gd name="connsiteY7753" fmla="*/ 957309 h 6479439"/>
                <a:gd name="connsiteX7754" fmla="*/ 1453829 w 9586368"/>
                <a:gd name="connsiteY7754" fmla="*/ 961347 h 6479439"/>
                <a:gd name="connsiteX7755" fmla="*/ 1453829 w 9586368"/>
                <a:gd name="connsiteY7755" fmla="*/ 971217 h 6479439"/>
                <a:gd name="connsiteX7756" fmla="*/ 1449811 w 9586368"/>
                <a:gd name="connsiteY7756" fmla="*/ 975256 h 6479439"/>
                <a:gd name="connsiteX7757" fmla="*/ 1439901 w 9586368"/>
                <a:gd name="connsiteY7757" fmla="*/ 975256 h 6479439"/>
                <a:gd name="connsiteX7758" fmla="*/ 1435881 w 9586368"/>
                <a:gd name="connsiteY7758" fmla="*/ 971217 h 6479439"/>
                <a:gd name="connsiteX7759" fmla="*/ 1435881 w 9586368"/>
                <a:gd name="connsiteY7759" fmla="*/ 961347 h 6479439"/>
                <a:gd name="connsiteX7760" fmla="*/ 1200584 w 9586368"/>
                <a:gd name="connsiteY7760" fmla="*/ 957309 h 6479439"/>
                <a:gd name="connsiteX7761" fmla="*/ 1210495 w 9586368"/>
                <a:gd name="connsiteY7761" fmla="*/ 957309 h 6479439"/>
                <a:gd name="connsiteX7762" fmla="*/ 1214513 w 9586368"/>
                <a:gd name="connsiteY7762" fmla="*/ 961347 h 6479439"/>
                <a:gd name="connsiteX7763" fmla="*/ 1214513 w 9586368"/>
                <a:gd name="connsiteY7763" fmla="*/ 971217 h 6479439"/>
                <a:gd name="connsiteX7764" fmla="*/ 1210495 w 9586368"/>
                <a:gd name="connsiteY7764" fmla="*/ 975256 h 6479439"/>
                <a:gd name="connsiteX7765" fmla="*/ 1200584 w 9586368"/>
                <a:gd name="connsiteY7765" fmla="*/ 975256 h 6479439"/>
                <a:gd name="connsiteX7766" fmla="*/ 1196566 w 9586368"/>
                <a:gd name="connsiteY7766" fmla="*/ 971217 h 6479439"/>
                <a:gd name="connsiteX7767" fmla="*/ 1196566 w 9586368"/>
                <a:gd name="connsiteY7767" fmla="*/ 961347 h 6479439"/>
                <a:gd name="connsiteX7768" fmla="*/ 961271 w 9586368"/>
                <a:gd name="connsiteY7768" fmla="*/ 957309 h 6479439"/>
                <a:gd name="connsiteX7769" fmla="*/ 971182 w 9586368"/>
                <a:gd name="connsiteY7769" fmla="*/ 957309 h 6479439"/>
                <a:gd name="connsiteX7770" fmla="*/ 975201 w 9586368"/>
                <a:gd name="connsiteY7770" fmla="*/ 961347 h 6479439"/>
                <a:gd name="connsiteX7771" fmla="*/ 975201 w 9586368"/>
                <a:gd name="connsiteY7771" fmla="*/ 971218 h 6479439"/>
                <a:gd name="connsiteX7772" fmla="*/ 971182 w 9586368"/>
                <a:gd name="connsiteY7772" fmla="*/ 975256 h 6479439"/>
                <a:gd name="connsiteX7773" fmla="*/ 961271 w 9586368"/>
                <a:gd name="connsiteY7773" fmla="*/ 975256 h 6479439"/>
                <a:gd name="connsiteX7774" fmla="*/ 957253 w 9586368"/>
                <a:gd name="connsiteY7774" fmla="*/ 971218 h 6479439"/>
                <a:gd name="connsiteX7775" fmla="*/ 957253 w 9586368"/>
                <a:gd name="connsiteY7775" fmla="*/ 961347 h 6479439"/>
                <a:gd name="connsiteX7776" fmla="*/ 9333125 w 9586368"/>
                <a:gd name="connsiteY7776" fmla="*/ 957302 h 6479439"/>
                <a:gd name="connsiteX7777" fmla="*/ 9343036 w 9586368"/>
                <a:gd name="connsiteY7777" fmla="*/ 957302 h 6479439"/>
                <a:gd name="connsiteX7778" fmla="*/ 9347055 w 9586368"/>
                <a:gd name="connsiteY7778" fmla="*/ 961340 h 6479439"/>
                <a:gd name="connsiteX7779" fmla="*/ 9347055 w 9586368"/>
                <a:gd name="connsiteY7779" fmla="*/ 971210 h 6479439"/>
                <a:gd name="connsiteX7780" fmla="*/ 9343036 w 9586368"/>
                <a:gd name="connsiteY7780" fmla="*/ 975249 h 6479439"/>
                <a:gd name="connsiteX7781" fmla="*/ 9333125 w 9586368"/>
                <a:gd name="connsiteY7781" fmla="*/ 975249 h 6479439"/>
                <a:gd name="connsiteX7782" fmla="*/ 9329106 w 9586368"/>
                <a:gd name="connsiteY7782" fmla="*/ 971210 h 6479439"/>
                <a:gd name="connsiteX7783" fmla="*/ 9329106 w 9586368"/>
                <a:gd name="connsiteY7783" fmla="*/ 961340 h 6479439"/>
                <a:gd name="connsiteX7784" fmla="*/ 9093811 w 9586368"/>
                <a:gd name="connsiteY7784" fmla="*/ 957302 h 6479439"/>
                <a:gd name="connsiteX7785" fmla="*/ 9103722 w 9586368"/>
                <a:gd name="connsiteY7785" fmla="*/ 957302 h 6479439"/>
                <a:gd name="connsiteX7786" fmla="*/ 9107741 w 9586368"/>
                <a:gd name="connsiteY7786" fmla="*/ 961340 h 6479439"/>
                <a:gd name="connsiteX7787" fmla="*/ 9107741 w 9586368"/>
                <a:gd name="connsiteY7787" fmla="*/ 971210 h 6479439"/>
                <a:gd name="connsiteX7788" fmla="*/ 9103722 w 9586368"/>
                <a:gd name="connsiteY7788" fmla="*/ 975249 h 6479439"/>
                <a:gd name="connsiteX7789" fmla="*/ 9093811 w 9586368"/>
                <a:gd name="connsiteY7789" fmla="*/ 975249 h 6479439"/>
                <a:gd name="connsiteX7790" fmla="*/ 9089792 w 9586368"/>
                <a:gd name="connsiteY7790" fmla="*/ 971210 h 6479439"/>
                <a:gd name="connsiteX7791" fmla="*/ 9089792 w 9586368"/>
                <a:gd name="connsiteY7791" fmla="*/ 961340 h 6479439"/>
                <a:gd name="connsiteX7792" fmla="*/ 8854496 w 9586368"/>
                <a:gd name="connsiteY7792" fmla="*/ 957302 h 6479439"/>
                <a:gd name="connsiteX7793" fmla="*/ 8864407 w 9586368"/>
                <a:gd name="connsiteY7793" fmla="*/ 957302 h 6479439"/>
                <a:gd name="connsiteX7794" fmla="*/ 8868426 w 9586368"/>
                <a:gd name="connsiteY7794" fmla="*/ 961340 h 6479439"/>
                <a:gd name="connsiteX7795" fmla="*/ 8868426 w 9586368"/>
                <a:gd name="connsiteY7795" fmla="*/ 971210 h 6479439"/>
                <a:gd name="connsiteX7796" fmla="*/ 8864407 w 9586368"/>
                <a:gd name="connsiteY7796" fmla="*/ 975249 h 6479439"/>
                <a:gd name="connsiteX7797" fmla="*/ 8854496 w 9586368"/>
                <a:gd name="connsiteY7797" fmla="*/ 975249 h 6479439"/>
                <a:gd name="connsiteX7798" fmla="*/ 8850477 w 9586368"/>
                <a:gd name="connsiteY7798" fmla="*/ 971210 h 6479439"/>
                <a:gd name="connsiteX7799" fmla="*/ 8850477 w 9586368"/>
                <a:gd name="connsiteY7799" fmla="*/ 961340 h 6479439"/>
                <a:gd name="connsiteX7800" fmla="*/ 8615184 w 9586368"/>
                <a:gd name="connsiteY7800" fmla="*/ 957302 h 6479439"/>
                <a:gd name="connsiteX7801" fmla="*/ 8625095 w 9586368"/>
                <a:gd name="connsiteY7801" fmla="*/ 957302 h 6479439"/>
                <a:gd name="connsiteX7802" fmla="*/ 8629114 w 9586368"/>
                <a:gd name="connsiteY7802" fmla="*/ 961340 h 6479439"/>
                <a:gd name="connsiteX7803" fmla="*/ 8629114 w 9586368"/>
                <a:gd name="connsiteY7803" fmla="*/ 971210 h 6479439"/>
                <a:gd name="connsiteX7804" fmla="*/ 8625095 w 9586368"/>
                <a:gd name="connsiteY7804" fmla="*/ 975249 h 6479439"/>
                <a:gd name="connsiteX7805" fmla="*/ 8615184 w 9586368"/>
                <a:gd name="connsiteY7805" fmla="*/ 975249 h 6479439"/>
                <a:gd name="connsiteX7806" fmla="*/ 8611165 w 9586368"/>
                <a:gd name="connsiteY7806" fmla="*/ 971210 h 6479439"/>
                <a:gd name="connsiteX7807" fmla="*/ 8611165 w 9586368"/>
                <a:gd name="connsiteY7807" fmla="*/ 961340 h 6479439"/>
                <a:gd name="connsiteX7808" fmla="*/ 8375869 w 9586368"/>
                <a:gd name="connsiteY7808" fmla="*/ 957302 h 6479439"/>
                <a:gd name="connsiteX7809" fmla="*/ 8385779 w 9586368"/>
                <a:gd name="connsiteY7809" fmla="*/ 957302 h 6479439"/>
                <a:gd name="connsiteX7810" fmla="*/ 8389799 w 9586368"/>
                <a:gd name="connsiteY7810" fmla="*/ 961340 h 6479439"/>
                <a:gd name="connsiteX7811" fmla="*/ 8389799 w 9586368"/>
                <a:gd name="connsiteY7811" fmla="*/ 971210 h 6479439"/>
                <a:gd name="connsiteX7812" fmla="*/ 8385779 w 9586368"/>
                <a:gd name="connsiteY7812" fmla="*/ 975249 h 6479439"/>
                <a:gd name="connsiteX7813" fmla="*/ 8375869 w 9586368"/>
                <a:gd name="connsiteY7813" fmla="*/ 975249 h 6479439"/>
                <a:gd name="connsiteX7814" fmla="*/ 8371850 w 9586368"/>
                <a:gd name="connsiteY7814" fmla="*/ 971210 h 6479439"/>
                <a:gd name="connsiteX7815" fmla="*/ 8371850 w 9586368"/>
                <a:gd name="connsiteY7815" fmla="*/ 961340 h 6479439"/>
                <a:gd name="connsiteX7816" fmla="*/ 1918514 w 9586368"/>
                <a:gd name="connsiteY7816" fmla="*/ 957301 h 6479439"/>
                <a:gd name="connsiteX7817" fmla="*/ 1928424 w 9586368"/>
                <a:gd name="connsiteY7817" fmla="*/ 957301 h 6479439"/>
                <a:gd name="connsiteX7818" fmla="*/ 1932444 w 9586368"/>
                <a:gd name="connsiteY7818" fmla="*/ 961339 h 6479439"/>
                <a:gd name="connsiteX7819" fmla="*/ 1932444 w 9586368"/>
                <a:gd name="connsiteY7819" fmla="*/ 971210 h 6479439"/>
                <a:gd name="connsiteX7820" fmla="*/ 1928424 w 9586368"/>
                <a:gd name="connsiteY7820" fmla="*/ 975249 h 6479439"/>
                <a:gd name="connsiteX7821" fmla="*/ 1918514 w 9586368"/>
                <a:gd name="connsiteY7821" fmla="*/ 975249 h 6479439"/>
                <a:gd name="connsiteX7822" fmla="*/ 1914495 w 9586368"/>
                <a:gd name="connsiteY7822" fmla="*/ 971210 h 6479439"/>
                <a:gd name="connsiteX7823" fmla="*/ 1914495 w 9586368"/>
                <a:gd name="connsiteY7823" fmla="*/ 961339 h 6479439"/>
                <a:gd name="connsiteX7824" fmla="*/ 2157823 w 9586368"/>
                <a:gd name="connsiteY7824" fmla="*/ 957299 h 6479439"/>
                <a:gd name="connsiteX7825" fmla="*/ 2167733 w 9586368"/>
                <a:gd name="connsiteY7825" fmla="*/ 957299 h 6479439"/>
                <a:gd name="connsiteX7826" fmla="*/ 2171751 w 9586368"/>
                <a:gd name="connsiteY7826" fmla="*/ 961337 h 6479439"/>
                <a:gd name="connsiteX7827" fmla="*/ 2171751 w 9586368"/>
                <a:gd name="connsiteY7827" fmla="*/ 971207 h 6479439"/>
                <a:gd name="connsiteX7828" fmla="*/ 2167733 w 9586368"/>
                <a:gd name="connsiteY7828" fmla="*/ 975246 h 6479439"/>
                <a:gd name="connsiteX7829" fmla="*/ 2157823 w 9586368"/>
                <a:gd name="connsiteY7829" fmla="*/ 975246 h 6479439"/>
                <a:gd name="connsiteX7830" fmla="*/ 2153804 w 9586368"/>
                <a:gd name="connsiteY7830" fmla="*/ 971207 h 6479439"/>
                <a:gd name="connsiteX7831" fmla="*/ 2153804 w 9586368"/>
                <a:gd name="connsiteY7831" fmla="*/ 961337 h 6479439"/>
                <a:gd name="connsiteX7832" fmla="*/ 9572438 w 9586368"/>
                <a:gd name="connsiteY7832" fmla="*/ 957291 h 6479439"/>
                <a:gd name="connsiteX7833" fmla="*/ 9582349 w 9586368"/>
                <a:gd name="connsiteY7833" fmla="*/ 957291 h 6479439"/>
                <a:gd name="connsiteX7834" fmla="*/ 9586368 w 9586368"/>
                <a:gd name="connsiteY7834" fmla="*/ 961329 h 6479439"/>
                <a:gd name="connsiteX7835" fmla="*/ 9586368 w 9586368"/>
                <a:gd name="connsiteY7835" fmla="*/ 971199 h 6479439"/>
                <a:gd name="connsiteX7836" fmla="*/ 9582349 w 9586368"/>
                <a:gd name="connsiteY7836" fmla="*/ 975238 h 6479439"/>
                <a:gd name="connsiteX7837" fmla="*/ 9572438 w 9586368"/>
                <a:gd name="connsiteY7837" fmla="*/ 975238 h 6479439"/>
                <a:gd name="connsiteX7838" fmla="*/ 9568419 w 9586368"/>
                <a:gd name="connsiteY7838" fmla="*/ 971199 h 6479439"/>
                <a:gd name="connsiteX7839" fmla="*/ 9568419 w 9586368"/>
                <a:gd name="connsiteY7839" fmla="*/ 961329 h 6479439"/>
                <a:gd name="connsiteX7840" fmla="*/ 721974 w 9586368"/>
                <a:gd name="connsiteY7840" fmla="*/ 957266 h 6479439"/>
                <a:gd name="connsiteX7841" fmla="*/ 731884 w 9586368"/>
                <a:gd name="connsiteY7841" fmla="*/ 957266 h 6479439"/>
                <a:gd name="connsiteX7842" fmla="*/ 735903 w 9586368"/>
                <a:gd name="connsiteY7842" fmla="*/ 961305 h 6479439"/>
                <a:gd name="connsiteX7843" fmla="*/ 735903 w 9586368"/>
                <a:gd name="connsiteY7843" fmla="*/ 971175 h 6479439"/>
                <a:gd name="connsiteX7844" fmla="*/ 731884 w 9586368"/>
                <a:gd name="connsiteY7844" fmla="*/ 975214 h 6479439"/>
                <a:gd name="connsiteX7845" fmla="*/ 721974 w 9586368"/>
                <a:gd name="connsiteY7845" fmla="*/ 975214 h 6479439"/>
                <a:gd name="connsiteX7846" fmla="*/ 717956 w 9586368"/>
                <a:gd name="connsiteY7846" fmla="*/ 971175 h 6479439"/>
                <a:gd name="connsiteX7847" fmla="*/ 717956 w 9586368"/>
                <a:gd name="connsiteY7847" fmla="*/ 961305 h 6479439"/>
                <a:gd name="connsiteX7848" fmla="*/ 482662 w 9586368"/>
                <a:gd name="connsiteY7848" fmla="*/ 957266 h 6479439"/>
                <a:gd name="connsiteX7849" fmla="*/ 492572 w 9586368"/>
                <a:gd name="connsiteY7849" fmla="*/ 957266 h 6479439"/>
                <a:gd name="connsiteX7850" fmla="*/ 496591 w 9586368"/>
                <a:gd name="connsiteY7850" fmla="*/ 961305 h 6479439"/>
                <a:gd name="connsiteX7851" fmla="*/ 496591 w 9586368"/>
                <a:gd name="connsiteY7851" fmla="*/ 971175 h 6479439"/>
                <a:gd name="connsiteX7852" fmla="*/ 492572 w 9586368"/>
                <a:gd name="connsiteY7852" fmla="*/ 975214 h 6479439"/>
                <a:gd name="connsiteX7853" fmla="*/ 482662 w 9586368"/>
                <a:gd name="connsiteY7853" fmla="*/ 975214 h 6479439"/>
                <a:gd name="connsiteX7854" fmla="*/ 478643 w 9586368"/>
                <a:gd name="connsiteY7854" fmla="*/ 971175 h 6479439"/>
                <a:gd name="connsiteX7855" fmla="*/ 478643 w 9586368"/>
                <a:gd name="connsiteY7855" fmla="*/ 961305 h 6479439"/>
                <a:gd name="connsiteX7856" fmla="*/ 243349 w 9586368"/>
                <a:gd name="connsiteY7856" fmla="*/ 957266 h 6479439"/>
                <a:gd name="connsiteX7857" fmla="*/ 253259 w 9586368"/>
                <a:gd name="connsiteY7857" fmla="*/ 957266 h 6479439"/>
                <a:gd name="connsiteX7858" fmla="*/ 257278 w 9586368"/>
                <a:gd name="connsiteY7858" fmla="*/ 961305 h 6479439"/>
                <a:gd name="connsiteX7859" fmla="*/ 257278 w 9586368"/>
                <a:gd name="connsiteY7859" fmla="*/ 971175 h 6479439"/>
                <a:gd name="connsiteX7860" fmla="*/ 253259 w 9586368"/>
                <a:gd name="connsiteY7860" fmla="*/ 975214 h 6479439"/>
                <a:gd name="connsiteX7861" fmla="*/ 243349 w 9586368"/>
                <a:gd name="connsiteY7861" fmla="*/ 975214 h 6479439"/>
                <a:gd name="connsiteX7862" fmla="*/ 239330 w 9586368"/>
                <a:gd name="connsiteY7862" fmla="*/ 971175 h 6479439"/>
                <a:gd name="connsiteX7863" fmla="*/ 239330 w 9586368"/>
                <a:gd name="connsiteY7863" fmla="*/ 961305 h 6479439"/>
                <a:gd name="connsiteX7864" fmla="*/ 4036 w 9586368"/>
                <a:gd name="connsiteY7864" fmla="*/ 957266 h 6479439"/>
                <a:gd name="connsiteX7865" fmla="*/ 13946 w 9586368"/>
                <a:gd name="connsiteY7865" fmla="*/ 957266 h 6479439"/>
                <a:gd name="connsiteX7866" fmla="*/ 17965 w 9586368"/>
                <a:gd name="connsiteY7866" fmla="*/ 961305 h 6479439"/>
                <a:gd name="connsiteX7867" fmla="*/ 17965 w 9586368"/>
                <a:gd name="connsiteY7867" fmla="*/ 971176 h 6479439"/>
                <a:gd name="connsiteX7868" fmla="*/ 13946 w 9586368"/>
                <a:gd name="connsiteY7868" fmla="*/ 975214 h 6479439"/>
                <a:gd name="connsiteX7869" fmla="*/ 4036 w 9586368"/>
                <a:gd name="connsiteY7869" fmla="*/ 975214 h 6479439"/>
                <a:gd name="connsiteX7870" fmla="*/ 16 w 9586368"/>
                <a:gd name="connsiteY7870" fmla="*/ 971176 h 6479439"/>
                <a:gd name="connsiteX7871" fmla="*/ 16 w 9586368"/>
                <a:gd name="connsiteY7871" fmla="*/ 961305 h 6479439"/>
                <a:gd name="connsiteX7872" fmla="*/ 3350359 w 9586368"/>
                <a:gd name="connsiteY7872" fmla="*/ 718040 h 6479439"/>
                <a:gd name="connsiteX7873" fmla="*/ 3360268 w 9586368"/>
                <a:gd name="connsiteY7873" fmla="*/ 718040 h 6479439"/>
                <a:gd name="connsiteX7874" fmla="*/ 3364287 w 9586368"/>
                <a:gd name="connsiteY7874" fmla="*/ 722078 h 6479439"/>
                <a:gd name="connsiteX7875" fmla="*/ 3364287 w 9586368"/>
                <a:gd name="connsiteY7875" fmla="*/ 731948 h 6479439"/>
                <a:gd name="connsiteX7876" fmla="*/ 3360268 w 9586368"/>
                <a:gd name="connsiteY7876" fmla="*/ 735987 h 6479439"/>
                <a:gd name="connsiteX7877" fmla="*/ 3350359 w 9586368"/>
                <a:gd name="connsiteY7877" fmla="*/ 735987 h 6479439"/>
                <a:gd name="connsiteX7878" fmla="*/ 3346340 w 9586368"/>
                <a:gd name="connsiteY7878" fmla="*/ 731948 h 6479439"/>
                <a:gd name="connsiteX7879" fmla="*/ 3346340 w 9586368"/>
                <a:gd name="connsiteY7879" fmla="*/ 722078 h 6479439"/>
                <a:gd name="connsiteX7880" fmla="*/ 3111048 w 9586368"/>
                <a:gd name="connsiteY7880" fmla="*/ 718040 h 6479439"/>
                <a:gd name="connsiteX7881" fmla="*/ 3120959 w 9586368"/>
                <a:gd name="connsiteY7881" fmla="*/ 718040 h 6479439"/>
                <a:gd name="connsiteX7882" fmla="*/ 3124977 w 9586368"/>
                <a:gd name="connsiteY7882" fmla="*/ 722078 h 6479439"/>
                <a:gd name="connsiteX7883" fmla="*/ 3124977 w 9586368"/>
                <a:gd name="connsiteY7883" fmla="*/ 731949 h 6479439"/>
                <a:gd name="connsiteX7884" fmla="*/ 3120959 w 9586368"/>
                <a:gd name="connsiteY7884" fmla="*/ 735987 h 6479439"/>
                <a:gd name="connsiteX7885" fmla="*/ 3111048 w 9586368"/>
                <a:gd name="connsiteY7885" fmla="*/ 735987 h 6479439"/>
                <a:gd name="connsiteX7886" fmla="*/ 3107029 w 9586368"/>
                <a:gd name="connsiteY7886" fmla="*/ 731949 h 6479439"/>
                <a:gd name="connsiteX7887" fmla="*/ 3107029 w 9586368"/>
                <a:gd name="connsiteY7887" fmla="*/ 722078 h 6479439"/>
                <a:gd name="connsiteX7888" fmla="*/ 2871737 w 9586368"/>
                <a:gd name="connsiteY7888" fmla="*/ 718040 h 6479439"/>
                <a:gd name="connsiteX7889" fmla="*/ 2881646 w 9586368"/>
                <a:gd name="connsiteY7889" fmla="*/ 718040 h 6479439"/>
                <a:gd name="connsiteX7890" fmla="*/ 2885666 w 9586368"/>
                <a:gd name="connsiteY7890" fmla="*/ 722078 h 6479439"/>
                <a:gd name="connsiteX7891" fmla="*/ 2885666 w 9586368"/>
                <a:gd name="connsiteY7891" fmla="*/ 731949 h 6479439"/>
                <a:gd name="connsiteX7892" fmla="*/ 2881646 w 9586368"/>
                <a:gd name="connsiteY7892" fmla="*/ 735987 h 6479439"/>
                <a:gd name="connsiteX7893" fmla="*/ 2871737 w 9586368"/>
                <a:gd name="connsiteY7893" fmla="*/ 735987 h 6479439"/>
                <a:gd name="connsiteX7894" fmla="*/ 2867717 w 9586368"/>
                <a:gd name="connsiteY7894" fmla="*/ 731949 h 6479439"/>
                <a:gd name="connsiteX7895" fmla="*/ 2867717 w 9586368"/>
                <a:gd name="connsiteY7895" fmla="*/ 722078 h 6479439"/>
                <a:gd name="connsiteX7896" fmla="*/ 2632423 w 9586368"/>
                <a:gd name="connsiteY7896" fmla="*/ 718040 h 6479439"/>
                <a:gd name="connsiteX7897" fmla="*/ 2642334 w 9586368"/>
                <a:gd name="connsiteY7897" fmla="*/ 718040 h 6479439"/>
                <a:gd name="connsiteX7898" fmla="*/ 2646352 w 9586368"/>
                <a:gd name="connsiteY7898" fmla="*/ 722078 h 6479439"/>
                <a:gd name="connsiteX7899" fmla="*/ 2646352 w 9586368"/>
                <a:gd name="connsiteY7899" fmla="*/ 731949 h 6479439"/>
                <a:gd name="connsiteX7900" fmla="*/ 2642334 w 9586368"/>
                <a:gd name="connsiteY7900" fmla="*/ 735988 h 6479439"/>
                <a:gd name="connsiteX7901" fmla="*/ 2632423 w 9586368"/>
                <a:gd name="connsiteY7901" fmla="*/ 735988 h 6479439"/>
                <a:gd name="connsiteX7902" fmla="*/ 2628404 w 9586368"/>
                <a:gd name="connsiteY7902" fmla="*/ 731949 h 6479439"/>
                <a:gd name="connsiteX7903" fmla="*/ 2628404 w 9586368"/>
                <a:gd name="connsiteY7903" fmla="*/ 722078 h 6479439"/>
                <a:gd name="connsiteX7904" fmla="*/ 2393104 w 9586368"/>
                <a:gd name="connsiteY7904" fmla="*/ 718040 h 6479439"/>
                <a:gd name="connsiteX7905" fmla="*/ 2403015 w 9586368"/>
                <a:gd name="connsiteY7905" fmla="*/ 718040 h 6479439"/>
                <a:gd name="connsiteX7906" fmla="*/ 2407034 w 9586368"/>
                <a:gd name="connsiteY7906" fmla="*/ 722078 h 6479439"/>
                <a:gd name="connsiteX7907" fmla="*/ 2407034 w 9586368"/>
                <a:gd name="connsiteY7907" fmla="*/ 731949 h 6479439"/>
                <a:gd name="connsiteX7908" fmla="*/ 2403015 w 9586368"/>
                <a:gd name="connsiteY7908" fmla="*/ 735988 h 6479439"/>
                <a:gd name="connsiteX7909" fmla="*/ 2393104 w 9586368"/>
                <a:gd name="connsiteY7909" fmla="*/ 735988 h 6479439"/>
                <a:gd name="connsiteX7910" fmla="*/ 2389087 w 9586368"/>
                <a:gd name="connsiteY7910" fmla="*/ 731949 h 6479439"/>
                <a:gd name="connsiteX7911" fmla="*/ 2389087 w 9586368"/>
                <a:gd name="connsiteY7911" fmla="*/ 722078 h 6479439"/>
                <a:gd name="connsiteX7912" fmla="*/ 4546929 w 9586368"/>
                <a:gd name="connsiteY7912" fmla="*/ 718028 h 6479439"/>
                <a:gd name="connsiteX7913" fmla="*/ 4556840 w 9586368"/>
                <a:gd name="connsiteY7913" fmla="*/ 718028 h 6479439"/>
                <a:gd name="connsiteX7914" fmla="*/ 4560859 w 9586368"/>
                <a:gd name="connsiteY7914" fmla="*/ 722066 h 6479439"/>
                <a:gd name="connsiteX7915" fmla="*/ 4560859 w 9586368"/>
                <a:gd name="connsiteY7915" fmla="*/ 731935 h 6479439"/>
                <a:gd name="connsiteX7916" fmla="*/ 4556840 w 9586368"/>
                <a:gd name="connsiteY7916" fmla="*/ 735975 h 6479439"/>
                <a:gd name="connsiteX7917" fmla="*/ 4546929 w 9586368"/>
                <a:gd name="connsiteY7917" fmla="*/ 735975 h 6479439"/>
                <a:gd name="connsiteX7918" fmla="*/ 4542910 w 9586368"/>
                <a:gd name="connsiteY7918" fmla="*/ 731935 h 6479439"/>
                <a:gd name="connsiteX7919" fmla="*/ 4542910 w 9586368"/>
                <a:gd name="connsiteY7919" fmla="*/ 722066 h 6479439"/>
                <a:gd name="connsiteX7920" fmla="*/ 4307612 w 9586368"/>
                <a:gd name="connsiteY7920" fmla="*/ 718028 h 6479439"/>
                <a:gd name="connsiteX7921" fmla="*/ 4317523 w 9586368"/>
                <a:gd name="connsiteY7921" fmla="*/ 718028 h 6479439"/>
                <a:gd name="connsiteX7922" fmla="*/ 4321543 w 9586368"/>
                <a:gd name="connsiteY7922" fmla="*/ 722066 h 6479439"/>
                <a:gd name="connsiteX7923" fmla="*/ 4321543 w 9586368"/>
                <a:gd name="connsiteY7923" fmla="*/ 731936 h 6479439"/>
                <a:gd name="connsiteX7924" fmla="*/ 4317523 w 9586368"/>
                <a:gd name="connsiteY7924" fmla="*/ 735975 h 6479439"/>
                <a:gd name="connsiteX7925" fmla="*/ 4307612 w 9586368"/>
                <a:gd name="connsiteY7925" fmla="*/ 735975 h 6479439"/>
                <a:gd name="connsiteX7926" fmla="*/ 4303595 w 9586368"/>
                <a:gd name="connsiteY7926" fmla="*/ 731936 h 6479439"/>
                <a:gd name="connsiteX7927" fmla="*/ 4303595 w 9586368"/>
                <a:gd name="connsiteY7927" fmla="*/ 722066 h 6479439"/>
                <a:gd name="connsiteX7928" fmla="*/ 4068297 w 9586368"/>
                <a:gd name="connsiteY7928" fmla="*/ 718028 h 6479439"/>
                <a:gd name="connsiteX7929" fmla="*/ 4078210 w 9586368"/>
                <a:gd name="connsiteY7929" fmla="*/ 718028 h 6479439"/>
                <a:gd name="connsiteX7930" fmla="*/ 4082229 w 9586368"/>
                <a:gd name="connsiteY7930" fmla="*/ 722066 h 6479439"/>
                <a:gd name="connsiteX7931" fmla="*/ 4082229 w 9586368"/>
                <a:gd name="connsiteY7931" fmla="*/ 731936 h 6479439"/>
                <a:gd name="connsiteX7932" fmla="*/ 4078210 w 9586368"/>
                <a:gd name="connsiteY7932" fmla="*/ 735975 h 6479439"/>
                <a:gd name="connsiteX7933" fmla="*/ 4068297 w 9586368"/>
                <a:gd name="connsiteY7933" fmla="*/ 735975 h 6479439"/>
                <a:gd name="connsiteX7934" fmla="*/ 4064278 w 9586368"/>
                <a:gd name="connsiteY7934" fmla="*/ 731936 h 6479439"/>
                <a:gd name="connsiteX7935" fmla="*/ 4064278 w 9586368"/>
                <a:gd name="connsiteY7935" fmla="*/ 722066 h 6479439"/>
                <a:gd name="connsiteX7936" fmla="*/ 3828990 w 9586368"/>
                <a:gd name="connsiteY7936" fmla="*/ 718028 h 6479439"/>
                <a:gd name="connsiteX7937" fmla="*/ 3838899 w 9586368"/>
                <a:gd name="connsiteY7937" fmla="*/ 718028 h 6479439"/>
                <a:gd name="connsiteX7938" fmla="*/ 3842917 w 9586368"/>
                <a:gd name="connsiteY7938" fmla="*/ 722066 h 6479439"/>
                <a:gd name="connsiteX7939" fmla="*/ 3842917 w 9586368"/>
                <a:gd name="connsiteY7939" fmla="*/ 731936 h 6479439"/>
                <a:gd name="connsiteX7940" fmla="*/ 3838899 w 9586368"/>
                <a:gd name="connsiteY7940" fmla="*/ 735975 h 6479439"/>
                <a:gd name="connsiteX7941" fmla="*/ 3828990 w 9586368"/>
                <a:gd name="connsiteY7941" fmla="*/ 735975 h 6479439"/>
                <a:gd name="connsiteX7942" fmla="*/ 3824971 w 9586368"/>
                <a:gd name="connsiteY7942" fmla="*/ 731936 h 6479439"/>
                <a:gd name="connsiteX7943" fmla="*/ 3824971 w 9586368"/>
                <a:gd name="connsiteY7943" fmla="*/ 722066 h 6479439"/>
                <a:gd name="connsiteX7944" fmla="*/ 3589676 w 9586368"/>
                <a:gd name="connsiteY7944" fmla="*/ 718028 h 6479439"/>
                <a:gd name="connsiteX7945" fmla="*/ 3599585 w 9586368"/>
                <a:gd name="connsiteY7945" fmla="*/ 718028 h 6479439"/>
                <a:gd name="connsiteX7946" fmla="*/ 3603604 w 9586368"/>
                <a:gd name="connsiteY7946" fmla="*/ 722066 h 6479439"/>
                <a:gd name="connsiteX7947" fmla="*/ 3603604 w 9586368"/>
                <a:gd name="connsiteY7947" fmla="*/ 731936 h 6479439"/>
                <a:gd name="connsiteX7948" fmla="*/ 3599585 w 9586368"/>
                <a:gd name="connsiteY7948" fmla="*/ 735975 h 6479439"/>
                <a:gd name="connsiteX7949" fmla="*/ 3589676 w 9586368"/>
                <a:gd name="connsiteY7949" fmla="*/ 735975 h 6479439"/>
                <a:gd name="connsiteX7950" fmla="*/ 3585657 w 9586368"/>
                <a:gd name="connsiteY7950" fmla="*/ 731936 h 6479439"/>
                <a:gd name="connsiteX7951" fmla="*/ 3585657 w 9586368"/>
                <a:gd name="connsiteY7951" fmla="*/ 722066 h 6479439"/>
                <a:gd name="connsiteX7952" fmla="*/ 5743412 w 9586368"/>
                <a:gd name="connsiteY7952" fmla="*/ 718015 h 6479439"/>
                <a:gd name="connsiteX7953" fmla="*/ 5753323 w 9586368"/>
                <a:gd name="connsiteY7953" fmla="*/ 718015 h 6479439"/>
                <a:gd name="connsiteX7954" fmla="*/ 5757342 w 9586368"/>
                <a:gd name="connsiteY7954" fmla="*/ 722053 h 6479439"/>
                <a:gd name="connsiteX7955" fmla="*/ 5757342 w 9586368"/>
                <a:gd name="connsiteY7955" fmla="*/ 731924 h 6479439"/>
                <a:gd name="connsiteX7956" fmla="*/ 5753323 w 9586368"/>
                <a:gd name="connsiteY7956" fmla="*/ 735963 h 6479439"/>
                <a:gd name="connsiteX7957" fmla="*/ 5743412 w 9586368"/>
                <a:gd name="connsiteY7957" fmla="*/ 735963 h 6479439"/>
                <a:gd name="connsiteX7958" fmla="*/ 5739393 w 9586368"/>
                <a:gd name="connsiteY7958" fmla="*/ 731924 h 6479439"/>
                <a:gd name="connsiteX7959" fmla="*/ 5739393 w 9586368"/>
                <a:gd name="connsiteY7959" fmla="*/ 722053 h 6479439"/>
                <a:gd name="connsiteX7960" fmla="*/ 5504099 w 9586368"/>
                <a:gd name="connsiteY7960" fmla="*/ 718015 h 6479439"/>
                <a:gd name="connsiteX7961" fmla="*/ 5514010 w 9586368"/>
                <a:gd name="connsiteY7961" fmla="*/ 718015 h 6479439"/>
                <a:gd name="connsiteX7962" fmla="*/ 5518029 w 9586368"/>
                <a:gd name="connsiteY7962" fmla="*/ 722053 h 6479439"/>
                <a:gd name="connsiteX7963" fmla="*/ 5518029 w 9586368"/>
                <a:gd name="connsiteY7963" fmla="*/ 731924 h 6479439"/>
                <a:gd name="connsiteX7964" fmla="*/ 5514010 w 9586368"/>
                <a:gd name="connsiteY7964" fmla="*/ 735963 h 6479439"/>
                <a:gd name="connsiteX7965" fmla="*/ 5504099 w 9586368"/>
                <a:gd name="connsiteY7965" fmla="*/ 735963 h 6479439"/>
                <a:gd name="connsiteX7966" fmla="*/ 5500080 w 9586368"/>
                <a:gd name="connsiteY7966" fmla="*/ 731924 h 6479439"/>
                <a:gd name="connsiteX7967" fmla="*/ 5500080 w 9586368"/>
                <a:gd name="connsiteY7967" fmla="*/ 722053 h 6479439"/>
                <a:gd name="connsiteX7968" fmla="*/ 5264784 w 9586368"/>
                <a:gd name="connsiteY7968" fmla="*/ 718015 h 6479439"/>
                <a:gd name="connsiteX7969" fmla="*/ 5274694 w 9586368"/>
                <a:gd name="connsiteY7969" fmla="*/ 718015 h 6479439"/>
                <a:gd name="connsiteX7970" fmla="*/ 5278713 w 9586368"/>
                <a:gd name="connsiteY7970" fmla="*/ 722053 h 6479439"/>
                <a:gd name="connsiteX7971" fmla="*/ 5278713 w 9586368"/>
                <a:gd name="connsiteY7971" fmla="*/ 731924 h 6479439"/>
                <a:gd name="connsiteX7972" fmla="*/ 5274694 w 9586368"/>
                <a:gd name="connsiteY7972" fmla="*/ 735963 h 6479439"/>
                <a:gd name="connsiteX7973" fmla="*/ 5264784 w 9586368"/>
                <a:gd name="connsiteY7973" fmla="*/ 735963 h 6479439"/>
                <a:gd name="connsiteX7974" fmla="*/ 5260765 w 9586368"/>
                <a:gd name="connsiteY7974" fmla="*/ 731924 h 6479439"/>
                <a:gd name="connsiteX7975" fmla="*/ 5260765 w 9586368"/>
                <a:gd name="connsiteY7975" fmla="*/ 722053 h 6479439"/>
                <a:gd name="connsiteX7976" fmla="*/ 5025470 w 9586368"/>
                <a:gd name="connsiteY7976" fmla="*/ 718015 h 6479439"/>
                <a:gd name="connsiteX7977" fmla="*/ 5035381 w 9586368"/>
                <a:gd name="connsiteY7977" fmla="*/ 718015 h 6479439"/>
                <a:gd name="connsiteX7978" fmla="*/ 5039400 w 9586368"/>
                <a:gd name="connsiteY7978" fmla="*/ 722053 h 6479439"/>
                <a:gd name="connsiteX7979" fmla="*/ 5039400 w 9586368"/>
                <a:gd name="connsiteY7979" fmla="*/ 731924 h 6479439"/>
                <a:gd name="connsiteX7980" fmla="*/ 5035381 w 9586368"/>
                <a:gd name="connsiteY7980" fmla="*/ 735963 h 6479439"/>
                <a:gd name="connsiteX7981" fmla="*/ 5025470 w 9586368"/>
                <a:gd name="connsiteY7981" fmla="*/ 735963 h 6479439"/>
                <a:gd name="connsiteX7982" fmla="*/ 5021451 w 9586368"/>
                <a:gd name="connsiteY7982" fmla="*/ 731924 h 6479439"/>
                <a:gd name="connsiteX7983" fmla="*/ 5021451 w 9586368"/>
                <a:gd name="connsiteY7983" fmla="*/ 722053 h 6479439"/>
                <a:gd name="connsiteX7984" fmla="*/ 4786241 w 9586368"/>
                <a:gd name="connsiteY7984" fmla="*/ 718015 h 6479439"/>
                <a:gd name="connsiteX7985" fmla="*/ 4796152 w 9586368"/>
                <a:gd name="connsiteY7985" fmla="*/ 718015 h 6479439"/>
                <a:gd name="connsiteX7986" fmla="*/ 4800171 w 9586368"/>
                <a:gd name="connsiteY7986" fmla="*/ 722053 h 6479439"/>
                <a:gd name="connsiteX7987" fmla="*/ 4800171 w 9586368"/>
                <a:gd name="connsiteY7987" fmla="*/ 731924 h 6479439"/>
                <a:gd name="connsiteX7988" fmla="*/ 4796152 w 9586368"/>
                <a:gd name="connsiteY7988" fmla="*/ 735963 h 6479439"/>
                <a:gd name="connsiteX7989" fmla="*/ 4786241 w 9586368"/>
                <a:gd name="connsiteY7989" fmla="*/ 735963 h 6479439"/>
                <a:gd name="connsiteX7990" fmla="*/ 4782224 w 9586368"/>
                <a:gd name="connsiteY7990" fmla="*/ 731924 h 6479439"/>
                <a:gd name="connsiteX7991" fmla="*/ 4782224 w 9586368"/>
                <a:gd name="connsiteY7991" fmla="*/ 722053 h 6479439"/>
                <a:gd name="connsiteX7992" fmla="*/ 6939983 w 9586368"/>
                <a:gd name="connsiteY7992" fmla="*/ 718003 h 6479439"/>
                <a:gd name="connsiteX7993" fmla="*/ 6949894 w 9586368"/>
                <a:gd name="connsiteY7993" fmla="*/ 718003 h 6479439"/>
                <a:gd name="connsiteX7994" fmla="*/ 6953913 w 9586368"/>
                <a:gd name="connsiteY7994" fmla="*/ 722041 h 6479439"/>
                <a:gd name="connsiteX7995" fmla="*/ 6953913 w 9586368"/>
                <a:gd name="connsiteY7995" fmla="*/ 731911 h 6479439"/>
                <a:gd name="connsiteX7996" fmla="*/ 6949894 w 9586368"/>
                <a:gd name="connsiteY7996" fmla="*/ 735950 h 6479439"/>
                <a:gd name="connsiteX7997" fmla="*/ 6939983 w 9586368"/>
                <a:gd name="connsiteY7997" fmla="*/ 735950 h 6479439"/>
                <a:gd name="connsiteX7998" fmla="*/ 6935964 w 9586368"/>
                <a:gd name="connsiteY7998" fmla="*/ 731911 h 6479439"/>
                <a:gd name="connsiteX7999" fmla="*/ 6935964 w 9586368"/>
                <a:gd name="connsiteY7999" fmla="*/ 722041 h 6479439"/>
                <a:gd name="connsiteX8000" fmla="*/ 6700670 w 9586368"/>
                <a:gd name="connsiteY8000" fmla="*/ 718003 h 6479439"/>
                <a:gd name="connsiteX8001" fmla="*/ 6710581 w 9586368"/>
                <a:gd name="connsiteY8001" fmla="*/ 718003 h 6479439"/>
                <a:gd name="connsiteX8002" fmla="*/ 6714600 w 9586368"/>
                <a:gd name="connsiteY8002" fmla="*/ 722041 h 6479439"/>
                <a:gd name="connsiteX8003" fmla="*/ 6714600 w 9586368"/>
                <a:gd name="connsiteY8003" fmla="*/ 731912 h 6479439"/>
                <a:gd name="connsiteX8004" fmla="*/ 6710581 w 9586368"/>
                <a:gd name="connsiteY8004" fmla="*/ 735950 h 6479439"/>
                <a:gd name="connsiteX8005" fmla="*/ 6700670 w 9586368"/>
                <a:gd name="connsiteY8005" fmla="*/ 735950 h 6479439"/>
                <a:gd name="connsiteX8006" fmla="*/ 6696651 w 9586368"/>
                <a:gd name="connsiteY8006" fmla="*/ 731912 h 6479439"/>
                <a:gd name="connsiteX8007" fmla="*/ 6696651 w 9586368"/>
                <a:gd name="connsiteY8007" fmla="*/ 722041 h 6479439"/>
                <a:gd name="connsiteX8008" fmla="*/ 6461356 w 9586368"/>
                <a:gd name="connsiteY8008" fmla="*/ 718003 h 6479439"/>
                <a:gd name="connsiteX8009" fmla="*/ 6471266 w 9586368"/>
                <a:gd name="connsiteY8009" fmla="*/ 718003 h 6479439"/>
                <a:gd name="connsiteX8010" fmla="*/ 6475285 w 9586368"/>
                <a:gd name="connsiteY8010" fmla="*/ 722041 h 6479439"/>
                <a:gd name="connsiteX8011" fmla="*/ 6475285 w 9586368"/>
                <a:gd name="connsiteY8011" fmla="*/ 731912 h 6479439"/>
                <a:gd name="connsiteX8012" fmla="*/ 6471266 w 9586368"/>
                <a:gd name="connsiteY8012" fmla="*/ 735950 h 6479439"/>
                <a:gd name="connsiteX8013" fmla="*/ 6461356 w 9586368"/>
                <a:gd name="connsiteY8013" fmla="*/ 735950 h 6479439"/>
                <a:gd name="connsiteX8014" fmla="*/ 6457337 w 9586368"/>
                <a:gd name="connsiteY8014" fmla="*/ 731912 h 6479439"/>
                <a:gd name="connsiteX8015" fmla="*/ 6457337 w 9586368"/>
                <a:gd name="connsiteY8015" fmla="*/ 722041 h 6479439"/>
                <a:gd name="connsiteX8016" fmla="*/ 6222042 w 9586368"/>
                <a:gd name="connsiteY8016" fmla="*/ 718003 h 6479439"/>
                <a:gd name="connsiteX8017" fmla="*/ 6231952 w 9586368"/>
                <a:gd name="connsiteY8017" fmla="*/ 718003 h 6479439"/>
                <a:gd name="connsiteX8018" fmla="*/ 6235971 w 9586368"/>
                <a:gd name="connsiteY8018" fmla="*/ 722041 h 6479439"/>
                <a:gd name="connsiteX8019" fmla="*/ 6235971 w 9586368"/>
                <a:gd name="connsiteY8019" fmla="*/ 731912 h 6479439"/>
                <a:gd name="connsiteX8020" fmla="*/ 6231952 w 9586368"/>
                <a:gd name="connsiteY8020" fmla="*/ 735951 h 6479439"/>
                <a:gd name="connsiteX8021" fmla="*/ 6222042 w 9586368"/>
                <a:gd name="connsiteY8021" fmla="*/ 735951 h 6479439"/>
                <a:gd name="connsiteX8022" fmla="*/ 6218023 w 9586368"/>
                <a:gd name="connsiteY8022" fmla="*/ 731912 h 6479439"/>
                <a:gd name="connsiteX8023" fmla="*/ 6218023 w 9586368"/>
                <a:gd name="connsiteY8023" fmla="*/ 722041 h 6479439"/>
                <a:gd name="connsiteX8024" fmla="*/ 5982729 w 9586368"/>
                <a:gd name="connsiteY8024" fmla="*/ 718003 h 6479439"/>
                <a:gd name="connsiteX8025" fmla="*/ 5992639 w 9586368"/>
                <a:gd name="connsiteY8025" fmla="*/ 718003 h 6479439"/>
                <a:gd name="connsiteX8026" fmla="*/ 5996658 w 9586368"/>
                <a:gd name="connsiteY8026" fmla="*/ 722041 h 6479439"/>
                <a:gd name="connsiteX8027" fmla="*/ 5996658 w 9586368"/>
                <a:gd name="connsiteY8027" fmla="*/ 731912 h 6479439"/>
                <a:gd name="connsiteX8028" fmla="*/ 5992639 w 9586368"/>
                <a:gd name="connsiteY8028" fmla="*/ 735951 h 6479439"/>
                <a:gd name="connsiteX8029" fmla="*/ 5982729 w 9586368"/>
                <a:gd name="connsiteY8029" fmla="*/ 735951 h 6479439"/>
                <a:gd name="connsiteX8030" fmla="*/ 5978710 w 9586368"/>
                <a:gd name="connsiteY8030" fmla="*/ 731912 h 6479439"/>
                <a:gd name="connsiteX8031" fmla="*/ 5978710 w 9586368"/>
                <a:gd name="connsiteY8031" fmla="*/ 722041 h 6479439"/>
                <a:gd name="connsiteX8032" fmla="*/ 8136553 w 9586368"/>
                <a:gd name="connsiteY8032" fmla="*/ 717990 h 6479439"/>
                <a:gd name="connsiteX8033" fmla="*/ 8146464 w 9586368"/>
                <a:gd name="connsiteY8033" fmla="*/ 717990 h 6479439"/>
                <a:gd name="connsiteX8034" fmla="*/ 8150483 w 9586368"/>
                <a:gd name="connsiteY8034" fmla="*/ 722028 h 6479439"/>
                <a:gd name="connsiteX8035" fmla="*/ 8150483 w 9586368"/>
                <a:gd name="connsiteY8035" fmla="*/ 731899 h 6479439"/>
                <a:gd name="connsiteX8036" fmla="*/ 8146464 w 9586368"/>
                <a:gd name="connsiteY8036" fmla="*/ 735938 h 6479439"/>
                <a:gd name="connsiteX8037" fmla="*/ 8136553 w 9586368"/>
                <a:gd name="connsiteY8037" fmla="*/ 735938 h 6479439"/>
                <a:gd name="connsiteX8038" fmla="*/ 8132534 w 9586368"/>
                <a:gd name="connsiteY8038" fmla="*/ 731899 h 6479439"/>
                <a:gd name="connsiteX8039" fmla="*/ 8132534 w 9586368"/>
                <a:gd name="connsiteY8039" fmla="*/ 722028 h 6479439"/>
                <a:gd name="connsiteX8040" fmla="*/ 7897241 w 9586368"/>
                <a:gd name="connsiteY8040" fmla="*/ 717990 h 6479439"/>
                <a:gd name="connsiteX8041" fmla="*/ 7907151 w 9586368"/>
                <a:gd name="connsiteY8041" fmla="*/ 717990 h 6479439"/>
                <a:gd name="connsiteX8042" fmla="*/ 7911170 w 9586368"/>
                <a:gd name="connsiteY8042" fmla="*/ 722029 h 6479439"/>
                <a:gd name="connsiteX8043" fmla="*/ 7911170 w 9586368"/>
                <a:gd name="connsiteY8043" fmla="*/ 731899 h 6479439"/>
                <a:gd name="connsiteX8044" fmla="*/ 7907151 w 9586368"/>
                <a:gd name="connsiteY8044" fmla="*/ 735938 h 6479439"/>
                <a:gd name="connsiteX8045" fmla="*/ 7897241 w 9586368"/>
                <a:gd name="connsiteY8045" fmla="*/ 735938 h 6479439"/>
                <a:gd name="connsiteX8046" fmla="*/ 7893222 w 9586368"/>
                <a:gd name="connsiteY8046" fmla="*/ 731899 h 6479439"/>
                <a:gd name="connsiteX8047" fmla="*/ 7893222 w 9586368"/>
                <a:gd name="connsiteY8047" fmla="*/ 722029 h 6479439"/>
                <a:gd name="connsiteX8048" fmla="*/ 7657926 w 9586368"/>
                <a:gd name="connsiteY8048" fmla="*/ 717990 h 6479439"/>
                <a:gd name="connsiteX8049" fmla="*/ 7667836 w 9586368"/>
                <a:gd name="connsiteY8049" fmla="*/ 717990 h 6479439"/>
                <a:gd name="connsiteX8050" fmla="*/ 7671855 w 9586368"/>
                <a:gd name="connsiteY8050" fmla="*/ 722029 h 6479439"/>
                <a:gd name="connsiteX8051" fmla="*/ 7671855 w 9586368"/>
                <a:gd name="connsiteY8051" fmla="*/ 731899 h 6479439"/>
                <a:gd name="connsiteX8052" fmla="*/ 7667836 w 9586368"/>
                <a:gd name="connsiteY8052" fmla="*/ 735938 h 6479439"/>
                <a:gd name="connsiteX8053" fmla="*/ 7657926 w 9586368"/>
                <a:gd name="connsiteY8053" fmla="*/ 735938 h 6479439"/>
                <a:gd name="connsiteX8054" fmla="*/ 7653906 w 9586368"/>
                <a:gd name="connsiteY8054" fmla="*/ 731899 h 6479439"/>
                <a:gd name="connsiteX8055" fmla="*/ 7653906 w 9586368"/>
                <a:gd name="connsiteY8055" fmla="*/ 722029 h 6479439"/>
                <a:gd name="connsiteX8056" fmla="*/ 7418611 w 9586368"/>
                <a:gd name="connsiteY8056" fmla="*/ 717990 h 6479439"/>
                <a:gd name="connsiteX8057" fmla="*/ 7428521 w 9586368"/>
                <a:gd name="connsiteY8057" fmla="*/ 717990 h 6479439"/>
                <a:gd name="connsiteX8058" fmla="*/ 7432540 w 9586368"/>
                <a:gd name="connsiteY8058" fmla="*/ 722029 h 6479439"/>
                <a:gd name="connsiteX8059" fmla="*/ 7432540 w 9586368"/>
                <a:gd name="connsiteY8059" fmla="*/ 731899 h 6479439"/>
                <a:gd name="connsiteX8060" fmla="*/ 7428521 w 9586368"/>
                <a:gd name="connsiteY8060" fmla="*/ 735938 h 6479439"/>
                <a:gd name="connsiteX8061" fmla="*/ 7418611 w 9586368"/>
                <a:gd name="connsiteY8061" fmla="*/ 735938 h 6479439"/>
                <a:gd name="connsiteX8062" fmla="*/ 7414592 w 9586368"/>
                <a:gd name="connsiteY8062" fmla="*/ 731899 h 6479439"/>
                <a:gd name="connsiteX8063" fmla="*/ 7414592 w 9586368"/>
                <a:gd name="connsiteY8063" fmla="*/ 722029 h 6479439"/>
                <a:gd name="connsiteX8064" fmla="*/ 7179298 w 9586368"/>
                <a:gd name="connsiteY8064" fmla="*/ 717990 h 6479439"/>
                <a:gd name="connsiteX8065" fmla="*/ 7189209 w 9586368"/>
                <a:gd name="connsiteY8065" fmla="*/ 717990 h 6479439"/>
                <a:gd name="connsiteX8066" fmla="*/ 7193228 w 9586368"/>
                <a:gd name="connsiteY8066" fmla="*/ 722029 h 6479439"/>
                <a:gd name="connsiteX8067" fmla="*/ 7193228 w 9586368"/>
                <a:gd name="connsiteY8067" fmla="*/ 731899 h 6479439"/>
                <a:gd name="connsiteX8068" fmla="*/ 7189209 w 9586368"/>
                <a:gd name="connsiteY8068" fmla="*/ 735938 h 6479439"/>
                <a:gd name="connsiteX8069" fmla="*/ 7179298 w 9586368"/>
                <a:gd name="connsiteY8069" fmla="*/ 735938 h 6479439"/>
                <a:gd name="connsiteX8070" fmla="*/ 7175279 w 9586368"/>
                <a:gd name="connsiteY8070" fmla="*/ 731899 h 6479439"/>
                <a:gd name="connsiteX8071" fmla="*/ 7175279 w 9586368"/>
                <a:gd name="connsiteY8071" fmla="*/ 722029 h 6479439"/>
                <a:gd name="connsiteX8072" fmla="*/ 961272 w 9586368"/>
                <a:gd name="connsiteY8072" fmla="*/ 717980 h 6479439"/>
                <a:gd name="connsiteX8073" fmla="*/ 971182 w 9586368"/>
                <a:gd name="connsiteY8073" fmla="*/ 717980 h 6479439"/>
                <a:gd name="connsiteX8074" fmla="*/ 975202 w 9586368"/>
                <a:gd name="connsiteY8074" fmla="*/ 722018 h 6479439"/>
                <a:gd name="connsiteX8075" fmla="*/ 975202 w 9586368"/>
                <a:gd name="connsiteY8075" fmla="*/ 731889 h 6479439"/>
                <a:gd name="connsiteX8076" fmla="*/ 971182 w 9586368"/>
                <a:gd name="connsiteY8076" fmla="*/ 735928 h 6479439"/>
                <a:gd name="connsiteX8077" fmla="*/ 961272 w 9586368"/>
                <a:gd name="connsiteY8077" fmla="*/ 735928 h 6479439"/>
                <a:gd name="connsiteX8078" fmla="*/ 957254 w 9586368"/>
                <a:gd name="connsiteY8078" fmla="*/ 731889 h 6479439"/>
                <a:gd name="connsiteX8079" fmla="*/ 957254 w 9586368"/>
                <a:gd name="connsiteY8079" fmla="*/ 722018 h 6479439"/>
                <a:gd name="connsiteX8080" fmla="*/ 1679219 w 9586368"/>
                <a:gd name="connsiteY8080" fmla="*/ 717979 h 6479439"/>
                <a:gd name="connsiteX8081" fmla="*/ 1689128 w 9586368"/>
                <a:gd name="connsiteY8081" fmla="*/ 717979 h 6479439"/>
                <a:gd name="connsiteX8082" fmla="*/ 1693149 w 9586368"/>
                <a:gd name="connsiteY8082" fmla="*/ 722018 h 6479439"/>
                <a:gd name="connsiteX8083" fmla="*/ 1693149 w 9586368"/>
                <a:gd name="connsiteY8083" fmla="*/ 731889 h 6479439"/>
                <a:gd name="connsiteX8084" fmla="*/ 1689128 w 9586368"/>
                <a:gd name="connsiteY8084" fmla="*/ 735927 h 6479439"/>
                <a:gd name="connsiteX8085" fmla="*/ 1679219 w 9586368"/>
                <a:gd name="connsiteY8085" fmla="*/ 735927 h 6479439"/>
                <a:gd name="connsiteX8086" fmla="*/ 1675200 w 9586368"/>
                <a:gd name="connsiteY8086" fmla="*/ 731889 h 6479439"/>
                <a:gd name="connsiteX8087" fmla="*/ 1675200 w 9586368"/>
                <a:gd name="connsiteY8087" fmla="*/ 722018 h 6479439"/>
                <a:gd name="connsiteX8088" fmla="*/ 1439901 w 9586368"/>
                <a:gd name="connsiteY8088" fmla="*/ 717979 h 6479439"/>
                <a:gd name="connsiteX8089" fmla="*/ 1449811 w 9586368"/>
                <a:gd name="connsiteY8089" fmla="*/ 717979 h 6479439"/>
                <a:gd name="connsiteX8090" fmla="*/ 1453831 w 9586368"/>
                <a:gd name="connsiteY8090" fmla="*/ 722018 h 6479439"/>
                <a:gd name="connsiteX8091" fmla="*/ 1453831 w 9586368"/>
                <a:gd name="connsiteY8091" fmla="*/ 731889 h 6479439"/>
                <a:gd name="connsiteX8092" fmla="*/ 1449811 w 9586368"/>
                <a:gd name="connsiteY8092" fmla="*/ 735927 h 6479439"/>
                <a:gd name="connsiteX8093" fmla="*/ 1439901 w 9586368"/>
                <a:gd name="connsiteY8093" fmla="*/ 735927 h 6479439"/>
                <a:gd name="connsiteX8094" fmla="*/ 1435883 w 9586368"/>
                <a:gd name="connsiteY8094" fmla="*/ 731889 h 6479439"/>
                <a:gd name="connsiteX8095" fmla="*/ 1435883 w 9586368"/>
                <a:gd name="connsiteY8095" fmla="*/ 722018 h 6479439"/>
                <a:gd name="connsiteX8096" fmla="*/ 1200585 w 9586368"/>
                <a:gd name="connsiteY8096" fmla="*/ 717979 h 6479439"/>
                <a:gd name="connsiteX8097" fmla="*/ 1210495 w 9586368"/>
                <a:gd name="connsiteY8097" fmla="*/ 717979 h 6479439"/>
                <a:gd name="connsiteX8098" fmla="*/ 1214513 w 9586368"/>
                <a:gd name="connsiteY8098" fmla="*/ 722018 h 6479439"/>
                <a:gd name="connsiteX8099" fmla="*/ 1214513 w 9586368"/>
                <a:gd name="connsiteY8099" fmla="*/ 731889 h 6479439"/>
                <a:gd name="connsiteX8100" fmla="*/ 1210495 w 9586368"/>
                <a:gd name="connsiteY8100" fmla="*/ 735927 h 6479439"/>
                <a:gd name="connsiteX8101" fmla="*/ 1200585 w 9586368"/>
                <a:gd name="connsiteY8101" fmla="*/ 735927 h 6479439"/>
                <a:gd name="connsiteX8102" fmla="*/ 1196566 w 9586368"/>
                <a:gd name="connsiteY8102" fmla="*/ 731889 h 6479439"/>
                <a:gd name="connsiteX8103" fmla="*/ 1196566 w 9586368"/>
                <a:gd name="connsiteY8103" fmla="*/ 722018 h 6479439"/>
                <a:gd name="connsiteX8104" fmla="*/ 9333125 w 9586368"/>
                <a:gd name="connsiteY8104" fmla="*/ 717978 h 6479439"/>
                <a:gd name="connsiteX8105" fmla="*/ 9343036 w 9586368"/>
                <a:gd name="connsiteY8105" fmla="*/ 717978 h 6479439"/>
                <a:gd name="connsiteX8106" fmla="*/ 9347055 w 9586368"/>
                <a:gd name="connsiteY8106" fmla="*/ 722016 h 6479439"/>
                <a:gd name="connsiteX8107" fmla="*/ 9347055 w 9586368"/>
                <a:gd name="connsiteY8107" fmla="*/ 731887 h 6479439"/>
                <a:gd name="connsiteX8108" fmla="*/ 9343036 w 9586368"/>
                <a:gd name="connsiteY8108" fmla="*/ 735926 h 6479439"/>
                <a:gd name="connsiteX8109" fmla="*/ 9333125 w 9586368"/>
                <a:gd name="connsiteY8109" fmla="*/ 735926 h 6479439"/>
                <a:gd name="connsiteX8110" fmla="*/ 9329106 w 9586368"/>
                <a:gd name="connsiteY8110" fmla="*/ 731887 h 6479439"/>
                <a:gd name="connsiteX8111" fmla="*/ 9329106 w 9586368"/>
                <a:gd name="connsiteY8111" fmla="*/ 722016 h 6479439"/>
                <a:gd name="connsiteX8112" fmla="*/ 9093811 w 9586368"/>
                <a:gd name="connsiteY8112" fmla="*/ 717978 h 6479439"/>
                <a:gd name="connsiteX8113" fmla="*/ 9103722 w 9586368"/>
                <a:gd name="connsiteY8113" fmla="*/ 717978 h 6479439"/>
                <a:gd name="connsiteX8114" fmla="*/ 9107741 w 9586368"/>
                <a:gd name="connsiteY8114" fmla="*/ 722016 h 6479439"/>
                <a:gd name="connsiteX8115" fmla="*/ 9107741 w 9586368"/>
                <a:gd name="connsiteY8115" fmla="*/ 731887 h 6479439"/>
                <a:gd name="connsiteX8116" fmla="*/ 9103722 w 9586368"/>
                <a:gd name="connsiteY8116" fmla="*/ 735926 h 6479439"/>
                <a:gd name="connsiteX8117" fmla="*/ 9093811 w 9586368"/>
                <a:gd name="connsiteY8117" fmla="*/ 735926 h 6479439"/>
                <a:gd name="connsiteX8118" fmla="*/ 9089792 w 9586368"/>
                <a:gd name="connsiteY8118" fmla="*/ 731887 h 6479439"/>
                <a:gd name="connsiteX8119" fmla="*/ 9089792 w 9586368"/>
                <a:gd name="connsiteY8119" fmla="*/ 722016 h 6479439"/>
                <a:gd name="connsiteX8120" fmla="*/ 8854496 w 9586368"/>
                <a:gd name="connsiteY8120" fmla="*/ 717978 h 6479439"/>
                <a:gd name="connsiteX8121" fmla="*/ 8864407 w 9586368"/>
                <a:gd name="connsiteY8121" fmla="*/ 717978 h 6479439"/>
                <a:gd name="connsiteX8122" fmla="*/ 8868426 w 9586368"/>
                <a:gd name="connsiteY8122" fmla="*/ 722016 h 6479439"/>
                <a:gd name="connsiteX8123" fmla="*/ 8868426 w 9586368"/>
                <a:gd name="connsiteY8123" fmla="*/ 731887 h 6479439"/>
                <a:gd name="connsiteX8124" fmla="*/ 8864407 w 9586368"/>
                <a:gd name="connsiteY8124" fmla="*/ 735926 h 6479439"/>
                <a:gd name="connsiteX8125" fmla="*/ 8854496 w 9586368"/>
                <a:gd name="connsiteY8125" fmla="*/ 735926 h 6479439"/>
                <a:gd name="connsiteX8126" fmla="*/ 8850477 w 9586368"/>
                <a:gd name="connsiteY8126" fmla="*/ 731887 h 6479439"/>
                <a:gd name="connsiteX8127" fmla="*/ 8850477 w 9586368"/>
                <a:gd name="connsiteY8127" fmla="*/ 722016 h 6479439"/>
                <a:gd name="connsiteX8128" fmla="*/ 8615184 w 9586368"/>
                <a:gd name="connsiteY8128" fmla="*/ 717978 h 6479439"/>
                <a:gd name="connsiteX8129" fmla="*/ 8625095 w 9586368"/>
                <a:gd name="connsiteY8129" fmla="*/ 717978 h 6479439"/>
                <a:gd name="connsiteX8130" fmla="*/ 8629114 w 9586368"/>
                <a:gd name="connsiteY8130" fmla="*/ 722016 h 6479439"/>
                <a:gd name="connsiteX8131" fmla="*/ 8629114 w 9586368"/>
                <a:gd name="connsiteY8131" fmla="*/ 731887 h 6479439"/>
                <a:gd name="connsiteX8132" fmla="*/ 8625095 w 9586368"/>
                <a:gd name="connsiteY8132" fmla="*/ 735926 h 6479439"/>
                <a:gd name="connsiteX8133" fmla="*/ 8615184 w 9586368"/>
                <a:gd name="connsiteY8133" fmla="*/ 735926 h 6479439"/>
                <a:gd name="connsiteX8134" fmla="*/ 8611165 w 9586368"/>
                <a:gd name="connsiteY8134" fmla="*/ 731887 h 6479439"/>
                <a:gd name="connsiteX8135" fmla="*/ 8611165 w 9586368"/>
                <a:gd name="connsiteY8135" fmla="*/ 722016 h 6479439"/>
                <a:gd name="connsiteX8136" fmla="*/ 8375869 w 9586368"/>
                <a:gd name="connsiteY8136" fmla="*/ 717978 h 6479439"/>
                <a:gd name="connsiteX8137" fmla="*/ 8385779 w 9586368"/>
                <a:gd name="connsiteY8137" fmla="*/ 717978 h 6479439"/>
                <a:gd name="connsiteX8138" fmla="*/ 8389799 w 9586368"/>
                <a:gd name="connsiteY8138" fmla="*/ 722016 h 6479439"/>
                <a:gd name="connsiteX8139" fmla="*/ 8389799 w 9586368"/>
                <a:gd name="connsiteY8139" fmla="*/ 731887 h 6479439"/>
                <a:gd name="connsiteX8140" fmla="*/ 8385779 w 9586368"/>
                <a:gd name="connsiteY8140" fmla="*/ 735926 h 6479439"/>
                <a:gd name="connsiteX8141" fmla="*/ 8375869 w 9586368"/>
                <a:gd name="connsiteY8141" fmla="*/ 735926 h 6479439"/>
                <a:gd name="connsiteX8142" fmla="*/ 8371850 w 9586368"/>
                <a:gd name="connsiteY8142" fmla="*/ 731887 h 6479439"/>
                <a:gd name="connsiteX8143" fmla="*/ 8371850 w 9586368"/>
                <a:gd name="connsiteY8143" fmla="*/ 722016 h 6479439"/>
                <a:gd name="connsiteX8144" fmla="*/ 1918514 w 9586368"/>
                <a:gd name="connsiteY8144" fmla="*/ 717970 h 6479439"/>
                <a:gd name="connsiteX8145" fmla="*/ 1928424 w 9586368"/>
                <a:gd name="connsiteY8145" fmla="*/ 717970 h 6479439"/>
                <a:gd name="connsiteX8146" fmla="*/ 1932444 w 9586368"/>
                <a:gd name="connsiteY8146" fmla="*/ 722009 h 6479439"/>
                <a:gd name="connsiteX8147" fmla="*/ 1932444 w 9586368"/>
                <a:gd name="connsiteY8147" fmla="*/ 731879 h 6479439"/>
                <a:gd name="connsiteX8148" fmla="*/ 1928424 w 9586368"/>
                <a:gd name="connsiteY8148" fmla="*/ 735918 h 6479439"/>
                <a:gd name="connsiteX8149" fmla="*/ 1918514 w 9586368"/>
                <a:gd name="connsiteY8149" fmla="*/ 735918 h 6479439"/>
                <a:gd name="connsiteX8150" fmla="*/ 1914495 w 9586368"/>
                <a:gd name="connsiteY8150" fmla="*/ 731879 h 6479439"/>
                <a:gd name="connsiteX8151" fmla="*/ 1914495 w 9586368"/>
                <a:gd name="connsiteY8151" fmla="*/ 722009 h 6479439"/>
                <a:gd name="connsiteX8152" fmla="*/ 2157823 w 9586368"/>
                <a:gd name="connsiteY8152" fmla="*/ 717968 h 6479439"/>
                <a:gd name="connsiteX8153" fmla="*/ 2167733 w 9586368"/>
                <a:gd name="connsiteY8153" fmla="*/ 717968 h 6479439"/>
                <a:gd name="connsiteX8154" fmla="*/ 2171753 w 9586368"/>
                <a:gd name="connsiteY8154" fmla="*/ 722006 h 6479439"/>
                <a:gd name="connsiteX8155" fmla="*/ 2171753 w 9586368"/>
                <a:gd name="connsiteY8155" fmla="*/ 731877 h 6479439"/>
                <a:gd name="connsiteX8156" fmla="*/ 2167733 w 9586368"/>
                <a:gd name="connsiteY8156" fmla="*/ 735916 h 6479439"/>
                <a:gd name="connsiteX8157" fmla="*/ 2157823 w 9586368"/>
                <a:gd name="connsiteY8157" fmla="*/ 735916 h 6479439"/>
                <a:gd name="connsiteX8158" fmla="*/ 2153804 w 9586368"/>
                <a:gd name="connsiteY8158" fmla="*/ 731877 h 6479439"/>
                <a:gd name="connsiteX8159" fmla="*/ 2153804 w 9586368"/>
                <a:gd name="connsiteY8159" fmla="*/ 722006 h 6479439"/>
                <a:gd name="connsiteX8160" fmla="*/ 9572438 w 9586368"/>
                <a:gd name="connsiteY8160" fmla="*/ 717966 h 6479439"/>
                <a:gd name="connsiteX8161" fmla="*/ 9582349 w 9586368"/>
                <a:gd name="connsiteY8161" fmla="*/ 717966 h 6479439"/>
                <a:gd name="connsiteX8162" fmla="*/ 9586368 w 9586368"/>
                <a:gd name="connsiteY8162" fmla="*/ 722004 h 6479439"/>
                <a:gd name="connsiteX8163" fmla="*/ 9586368 w 9586368"/>
                <a:gd name="connsiteY8163" fmla="*/ 731875 h 6479439"/>
                <a:gd name="connsiteX8164" fmla="*/ 9582349 w 9586368"/>
                <a:gd name="connsiteY8164" fmla="*/ 735914 h 6479439"/>
                <a:gd name="connsiteX8165" fmla="*/ 9572438 w 9586368"/>
                <a:gd name="connsiteY8165" fmla="*/ 735914 h 6479439"/>
                <a:gd name="connsiteX8166" fmla="*/ 9568419 w 9586368"/>
                <a:gd name="connsiteY8166" fmla="*/ 731875 h 6479439"/>
                <a:gd name="connsiteX8167" fmla="*/ 9568419 w 9586368"/>
                <a:gd name="connsiteY8167" fmla="*/ 722004 h 6479439"/>
                <a:gd name="connsiteX8168" fmla="*/ 243349 w 9586368"/>
                <a:gd name="connsiteY8168" fmla="*/ 717939 h 6479439"/>
                <a:gd name="connsiteX8169" fmla="*/ 253260 w 9586368"/>
                <a:gd name="connsiteY8169" fmla="*/ 717939 h 6479439"/>
                <a:gd name="connsiteX8170" fmla="*/ 257279 w 9586368"/>
                <a:gd name="connsiteY8170" fmla="*/ 721977 h 6479439"/>
                <a:gd name="connsiteX8171" fmla="*/ 257279 w 9586368"/>
                <a:gd name="connsiteY8171" fmla="*/ 731847 h 6479439"/>
                <a:gd name="connsiteX8172" fmla="*/ 253260 w 9586368"/>
                <a:gd name="connsiteY8172" fmla="*/ 735886 h 6479439"/>
                <a:gd name="connsiteX8173" fmla="*/ 243349 w 9586368"/>
                <a:gd name="connsiteY8173" fmla="*/ 735886 h 6479439"/>
                <a:gd name="connsiteX8174" fmla="*/ 239330 w 9586368"/>
                <a:gd name="connsiteY8174" fmla="*/ 731847 h 6479439"/>
                <a:gd name="connsiteX8175" fmla="*/ 239330 w 9586368"/>
                <a:gd name="connsiteY8175" fmla="*/ 721977 h 6479439"/>
                <a:gd name="connsiteX8176" fmla="*/ 4036 w 9586368"/>
                <a:gd name="connsiteY8176" fmla="*/ 717939 h 6479439"/>
                <a:gd name="connsiteX8177" fmla="*/ 13947 w 9586368"/>
                <a:gd name="connsiteY8177" fmla="*/ 717939 h 6479439"/>
                <a:gd name="connsiteX8178" fmla="*/ 17965 w 9586368"/>
                <a:gd name="connsiteY8178" fmla="*/ 721978 h 6479439"/>
                <a:gd name="connsiteX8179" fmla="*/ 17965 w 9586368"/>
                <a:gd name="connsiteY8179" fmla="*/ 731848 h 6479439"/>
                <a:gd name="connsiteX8180" fmla="*/ 13947 w 9586368"/>
                <a:gd name="connsiteY8180" fmla="*/ 735886 h 6479439"/>
                <a:gd name="connsiteX8181" fmla="*/ 4036 w 9586368"/>
                <a:gd name="connsiteY8181" fmla="*/ 735886 h 6479439"/>
                <a:gd name="connsiteX8182" fmla="*/ 17 w 9586368"/>
                <a:gd name="connsiteY8182" fmla="*/ 731848 h 6479439"/>
                <a:gd name="connsiteX8183" fmla="*/ 17 w 9586368"/>
                <a:gd name="connsiteY8183" fmla="*/ 721978 h 6479439"/>
                <a:gd name="connsiteX8184" fmla="*/ 721975 w 9586368"/>
                <a:gd name="connsiteY8184" fmla="*/ 717939 h 6479439"/>
                <a:gd name="connsiteX8185" fmla="*/ 731885 w 9586368"/>
                <a:gd name="connsiteY8185" fmla="*/ 717939 h 6479439"/>
                <a:gd name="connsiteX8186" fmla="*/ 735904 w 9586368"/>
                <a:gd name="connsiteY8186" fmla="*/ 721977 h 6479439"/>
                <a:gd name="connsiteX8187" fmla="*/ 735904 w 9586368"/>
                <a:gd name="connsiteY8187" fmla="*/ 731847 h 6479439"/>
                <a:gd name="connsiteX8188" fmla="*/ 731885 w 9586368"/>
                <a:gd name="connsiteY8188" fmla="*/ 735886 h 6479439"/>
                <a:gd name="connsiteX8189" fmla="*/ 721975 w 9586368"/>
                <a:gd name="connsiteY8189" fmla="*/ 735886 h 6479439"/>
                <a:gd name="connsiteX8190" fmla="*/ 717956 w 9586368"/>
                <a:gd name="connsiteY8190" fmla="*/ 731847 h 6479439"/>
                <a:gd name="connsiteX8191" fmla="*/ 717956 w 9586368"/>
                <a:gd name="connsiteY8191" fmla="*/ 721977 h 6479439"/>
                <a:gd name="connsiteX8192" fmla="*/ 482663 w 9586368"/>
                <a:gd name="connsiteY8192" fmla="*/ 717939 h 6479439"/>
                <a:gd name="connsiteX8193" fmla="*/ 492573 w 9586368"/>
                <a:gd name="connsiteY8193" fmla="*/ 717939 h 6479439"/>
                <a:gd name="connsiteX8194" fmla="*/ 496593 w 9586368"/>
                <a:gd name="connsiteY8194" fmla="*/ 721977 h 6479439"/>
                <a:gd name="connsiteX8195" fmla="*/ 496593 w 9586368"/>
                <a:gd name="connsiteY8195" fmla="*/ 731847 h 6479439"/>
                <a:gd name="connsiteX8196" fmla="*/ 492573 w 9586368"/>
                <a:gd name="connsiteY8196" fmla="*/ 735886 h 6479439"/>
                <a:gd name="connsiteX8197" fmla="*/ 482663 w 9586368"/>
                <a:gd name="connsiteY8197" fmla="*/ 735886 h 6479439"/>
                <a:gd name="connsiteX8198" fmla="*/ 478643 w 9586368"/>
                <a:gd name="connsiteY8198" fmla="*/ 731847 h 6479439"/>
                <a:gd name="connsiteX8199" fmla="*/ 478643 w 9586368"/>
                <a:gd name="connsiteY8199" fmla="*/ 721977 h 6479439"/>
                <a:gd name="connsiteX8200" fmla="*/ 3350359 w 9586368"/>
                <a:gd name="connsiteY8200" fmla="*/ 478760 h 6479439"/>
                <a:gd name="connsiteX8201" fmla="*/ 3360268 w 9586368"/>
                <a:gd name="connsiteY8201" fmla="*/ 478760 h 6479439"/>
                <a:gd name="connsiteX8202" fmla="*/ 3364287 w 9586368"/>
                <a:gd name="connsiteY8202" fmla="*/ 482801 h 6479439"/>
                <a:gd name="connsiteX8203" fmla="*/ 3364287 w 9586368"/>
                <a:gd name="connsiteY8203" fmla="*/ 492670 h 6479439"/>
                <a:gd name="connsiteX8204" fmla="*/ 3360268 w 9586368"/>
                <a:gd name="connsiteY8204" fmla="*/ 496707 h 6479439"/>
                <a:gd name="connsiteX8205" fmla="*/ 3350359 w 9586368"/>
                <a:gd name="connsiteY8205" fmla="*/ 496707 h 6479439"/>
                <a:gd name="connsiteX8206" fmla="*/ 3346340 w 9586368"/>
                <a:gd name="connsiteY8206" fmla="*/ 492670 h 6479439"/>
                <a:gd name="connsiteX8207" fmla="*/ 3346340 w 9586368"/>
                <a:gd name="connsiteY8207" fmla="*/ 482801 h 6479439"/>
                <a:gd name="connsiteX8208" fmla="*/ 3111048 w 9586368"/>
                <a:gd name="connsiteY8208" fmla="*/ 478760 h 6479439"/>
                <a:gd name="connsiteX8209" fmla="*/ 3120959 w 9586368"/>
                <a:gd name="connsiteY8209" fmla="*/ 478760 h 6479439"/>
                <a:gd name="connsiteX8210" fmla="*/ 3124977 w 9586368"/>
                <a:gd name="connsiteY8210" fmla="*/ 482801 h 6479439"/>
                <a:gd name="connsiteX8211" fmla="*/ 3124977 w 9586368"/>
                <a:gd name="connsiteY8211" fmla="*/ 492670 h 6479439"/>
                <a:gd name="connsiteX8212" fmla="*/ 3120959 w 9586368"/>
                <a:gd name="connsiteY8212" fmla="*/ 496707 h 6479439"/>
                <a:gd name="connsiteX8213" fmla="*/ 3111048 w 9586368"/>
                <a:gd name="connsiteY8213" fmla="*/ 496707 h 6479439"/>
                <a:gd name="connsiteX8214" fmla="*/ 3107029 w 9586368"/>
                <a:gd name="connsiteY8214" fmla="*/ 492670 h 6479439"/>
                <a:gd name="connsiteX8215" fmla="*/ 3107029 w 9586368"/>
                <a:gd name="connsiteY8215" fmla="*/ 482801 h 6479439"/>
                <a:gd name="connsiteX8216" fmla="*/ 2871737 w 9586368"/>
                <a:gd name="connsiteY8216" fmla="*/ 478760 h 6479439"/>
                <a:gd name="connsiteX8217" fmla="*/ 2881646 w 9586368"/>
                <a:gd name="connsiteY8217" fmla="*/ 478760 h 6479439"/>
                <a:gd name="connsiteX8218" fmla="*/ 2885666 w 9586368"/>
                <a:gd name="connsiteY8218" fmla="*/ 482801 h 6479439"/>
                <a:gd name="connsiteX8219" fmla="*/ 2885666 w 9586368"/>
                <a:gd name="connsiteY8219" fmla="*/ 492670 h 6479439"/>
                <a:gd name="connsiteX8220" fmla="*/ 2881646 w 9586368"/>
                <a:gd name="connsiteY8220" fmla="*/ 496707 h 6479439"/>
                <a:gd name="connsiteX8221" fmla="*/ 2871737 w 9586368"/>
                <a:gd name="connsiteY8221" fmla="*/ 496707 h 6479439"/>
                <a:gd name="connsiteX8222" fmla="*/ 2867717 w 9586368"/>
                <a:gd name="connsiteY8222" fmla="*/ 492670 h 6479439"/>
                <a:gd name="connsiteX8223" fmla="*/ 2867717 w 9586368"/>
                <a:gd name="connsiteY8223" fmla="*/ 482801 h 6479439"/>
                <a:gd name="connsiteX8224" fmla="*/ 2632423 w 9586368"/>
                <a:gd name="connsiteY8224" fmla="*/ 478760 h 6479439"/>
                <a:gd name="connsiteX8225" fmla="*/ 2642334 w 9586368"/>
                <a:gd name="connsiteY8225" fmla="*/ 478760 h 6479439"/>
                <a:gd name="connsiteX8226" fmla="*/ 2646352 w 9586368"/>
                <a:gd name="connsiteY8226" fmla="*/ 482801 h 6479439"/>
                <a:gd name="connsiteX8227" fmla="*/ 2646352 w 9586368"/>
                <a:gd name="connsiteY8227" fmla="*/ 492670 h 6479439"/>
                <a:gd name="connsiteX8228" fmla="*/ 2642334 w 9586368"/>
                <a:gd name="connsiteY8228" fmla="*/ 496707 h 6479439"/>
                <a:gd name="connsiteX8229" fmla="*/ 2632423 w 9586368"/>
                <a:gd name="connsiteY8229" fmla="*/ 496707 h 6479439"/>
                <a:gd name="connsiteX8230" fmla="*/ 2628404 w 9586368"/>
                <a:gd name="connsiteY8230" fmla="*/ 492670 h 6479439"/>
                <a:gd name="connsiteX8231" fmla="*/ 2628404 w 9586368"/>
                <a:gd name="connsiteY8231" fmla="*/ 482801 h 6479439"/>
                <a:gd name="connsiteX8232" fmla="*/ 2393104 w 9586368"/>
                <a:gd name="connsiteY8232" fmla="*/ 478760 h 6479439"/>
                <a:gd name="connsiteX8233" fmla="*/ 2403015 w 9586368"/>
                <a:gd name="connsiteY8233" fmla="*/ 478760 h 6479439"/>
                <a:gd name="connsiteX8234" fmla="*/ 2407034 w 9586368"/>
                <a:gd name="connsiteY8234" fmla="*/ 482801 h 6479439"/>
                <a:gd name="connsiteX8235" fmla="*/ 2407034 w 9586368"/>
                <a:gd name="connsiteY8235" fmla="*/ 492670 h 6479439"/>
                <a:gd name="connsiteX8236" fmla="*/ 2403015 w 9586368"/>
                <a:gd name="connsiteY8236" fmla="*/ 496707 h 6479439"/>
                <a:gd name="connsiteX8237" fmla="*/ 2393104 w 9586368"/>
                <a:gd name="connsiteY8237" fmla="*/ 496707 h 6479439"/>
                <a:gd name="connsiteX8238" fmla="*/ 2389087 w 9586368"/>
                <a:gd name="connsiteY8238" fmla="*/ 492670 h 6479439"/>
                <a:gd name="connsiteX8239" fmla="*/ 2389087 w 9586368"/>
                <a:gd name="connsiteY8239" fmla="*/ 482801 h 6479439"/>
                <a:gd name="connsiteX8240" fmla="*/ 4546929 w 9586368"/>
                <a:gd name="connsiteY8240" fmla="*/ 478748 h 6479439"/>
                <a:gd name="connsiteX8241" fmla="*/ 4556840 w 9586368"/>
                <a:gd name="connsiteY8241" fmla="*/ 478748 h 6479439"/>
                <a:gd name="connsiteX8242" fmla="*/ 4560859 w 9586368"/>
                <a:gd name="connsiteY8242" fmla="*/ 482789 h 6479439"/>
                <a:gd name="connsiteX8243" fmla="*/ 4560859 w 9586368"/>
                <a:gd name="connsiteY8243" fmla="*/ 492657 h 6479439"/>
                <a:gd name="connsiteX8244" fmla="*/ 4556840 w 9586368"/>
                <a:gd name="connsiteY8244" fmla="*/ 496695 h 6479439"/>
                <a:gd name="connsiteX8245" fmla="*/ 4546929 w 9586368"/>
                <a:gd name="connsiteY8245" fmla="*/ 496695 h 6479439"/>
                <a:gd name="connsiteX8246" fmla="*/ 4542910 w 9586368"/>
                <a:gd name="connsiteY8246" fmla="*/ 492657 h 6479439"/>
                <a:gd name="connsiteX8247" fmla="*/ 4542910 w 9586368"/>
                <a:gd name="connsiteY8247" fmla="*/ 482789 h 6479439"/>
                <a:gd name="connsiteX8248" fmla="*/ 4307612 w 9586368"/>
                <a:gd name="connsiteY8248" fmla="*/ 478748 h 6479439"/>
                <a:gd name="connsiteX8249" fmla="*/ 4317523 w 9586368"/>
                <a:gd name="connsiteY8249" fmla="*/ 478748 h 6479439"/>
                <a:gd name="connsiteX8250" fmla="*/ 4321543 w 9586368"/>
                <a:gd name="connsiteY8250" fmla="*/ 482789 h 6479439"/>
                <a:gd name="connsiteX8251" fmla="*/ 4321543 w 9586368"/>
                <a:gd name="connsiteY8251" fmla="*/ 492657 h 6479439"/>
                <a:gd name="connsiteX8252" fmla="*/ 4317523 w 9586368"/>
                <a:gd name="connsiteY8252" fmla="*/ 496695 h 6479439"/>
                <a:gd name="connsiteX8253" fmla="*/ 4307612 w 9586368"/>
                <a:gd name="connsiteY8253" fmla="*/ 496695 h 6479439"/>
                <a:gd name="connsiteX8254" fmla="*/ 4303595 w 9586368"/>
                <a:gd name="connsiteY8254" fmla="*/ 492657 h 6479439"/>
                <a:gd name="connsiteX8255" fmla="*/ 4303595 w 9586368"/>
                <a:gd name="connsiteY8255" fmla="*/ 482789 h 6479439"/>
                <a:gd name="connsiteX8256" fmla="*/ 4068297 w 9586368"/>
                <a:gd name="connsiteY8256" fmla="*/ 478748 h 6479439"/>
                <a:gd name="connsiteX8257" fmla="*/ 4078210 w 9586368"/>
                <a:gd name="connsiteY8257" fmla="*/ 478748 h 6479439"/>
                <a:gd name="connsiteX8258" fmla="*/ 4082229 w 9586368"/>
                <a:gd name="connsiteY8258" fmla="*/ 482789 h 6479439"/>
                <a:gd name="connsiteX8259" fmla="*/ 4082229 w 9586368"/>
                <a:gd name="connsiteY8259" fmla="*/ 492657 h 6479439"/>
                <a:gd name="connsiteX8260" fmla="*/ 4078210 w 9586368"/>
                <a:gd name="connsiteY8260" fmla="*/ 496695 h 6479439"/>
                <a:gd name="connsiteX8261" fmla="*/ 4068297 w 9586368"/>
                <a:gd name="connsiteY8261" fmla="*/ 496695 h 6479439"/>
                <a:gd name="connsiteX8262" fmla="*/ 4064278 w 9586368"/>
                <a:gd name="connsiteY8262" fmla="*/ 492657 h 6479439"/>
                <a:gd name="connsiteX8263" fmla="*/ 4064278 w 9586368"/>
                <a:gd name="connsiteY8263" fmla="*/ 482789 h 6479439"/>
                <a:gd name="connsiteX8264" fmla="*/ 3828990 w 9586368"/>
                <a:gd name="connsiteY8264" fmla="*/ 478748 h 6479439"/>
                <a:gd name="connsiteX8265" fmla="*/ 3838899 w 9586368"/>
                <a:gd name="connsiteY8265" fmla="*/ 478748 h 6479439"/>
                <a:gd name="connsiteX8266" fmla="*/ 3842917 w 9586368"/>
                <a:gd name="connsiteY8266" fmla="*/ 482789 h 6479439"/>
                <a:gd name="connsiteX8267" fmla="*/ 3842917 w 9586368"/>
                <a:gd name="connsiteY8267" fmla="*/ 492657 h 6479439"/>
                <a:gd name="connsiteX8268" fmla="*/ 3838899 w 9586368"/>
                <a:gd name="connsiteY8268" fmla="*/ 496695 h 6479439"/>
                <a:gd name="connsiteX8269" fmla="*/ 3828990 w 9586368"/>
                <a:gd name="connsiteY8269" fmla="*/ 496695 h 6479439"/>
                <a:gd name="connsiteX8270" fmla="*/ 3824971 w 9586368"/>
                <a:gd name="connsiteY8270" fmla="*/ 492657 h 6479439"/>
                <a:gd name="connsiteX8271" fmla="*/ 3824971 w 9586368"/>
                <a:gd name="connsiteY8271" fmla="*/ 482789 h 6479439"/>
                <a:gd name="connsiteX8272" fmla="*/ 3589676 w 9586368"/>
                <a:gd name="connsiteY8272" fmla="*/ 478748 h 6479439"/>
                <a:gd name="connsiteX8273" fmla="*/ 3599585 w 9586368"/>
                <a:gd name="connsiteY8273" fmla="*/ 478748 h 6479439"/>
                <a:gd name="connsiteX8274" fmla="*/ 3603604 w 9586368"/>
                <a:gd name="connsiteY8274" fmla="*/ 482789 h 6479439"/>
                <a:gd name="connsiteX8275" fmla="*/ 3603604 w 9586368"/>
                <a:gd name="connsiteY8275" fmla="*/ 492657 h 6479439"/>
                <a:gd name="connsiteX8276" fmla="*/ 3599585 w 9586368"/>
                <a:gd name="connsiteY8276" fmla="*/ 496695 h 6479439"/>
                <a:gd name="connsiteX8277" fmla="*/ 3589676 w 9586368"/>
                <a:gd name="connsiteY8277" fmla="*/ 496695 h 6479439"/>
                <a:gd name="connsiteX8278" fmla="*/ 3585657 w 9586368"/>
                <a:gd name="connsiteY8278" fmla="*/ 492657 h 6479439"/>
                <a:gd name="connsiteX8279" fmla="*/ 3585657 w 9586368"/>
                <a:gd name="connsiteY8279" fmla="*/ 482789 h 6479439"/>
                <a:gd name="connsiteX8280" fmla="*/ 5743412 w 9586368"/>
                <a:gd name="connsiteY8280" fmla="*/ 478736 h 6479439"/>
                <a:gd name="connsiteX8281" fmla="*/ 5753323 w 9586368"/>
                <a:gd name="connsiteY8281" fmla="*/ 478736 h 6479439"/>
                <a:gd name="connsiteX8282" fmla="*/ 5757342 w 9586368"/>
                <a:gd name="connsiteY8282" fmla="*/ 482776 h 6479439"/>
                <a:gd name="connsiteX8283" fmla="*/ 5757342 w 9586368"/>
                <a:gd name="connsiteY8283" fmla="*/ 492645 h 6479439"/>
                <a:gd name="connsiteX8284" fmla="*/ 5753323 w 9586368"/>
                <a:gd name="connsiteY8284" fmla="*/ 496683 h 6479439"/>
                <a:gd name="connsiteX8285" fmla="*/ 5743412 w 9586368"/>
                <a:gd name="connsiteY8285" fmla="*/ 496683 h 6479439"/>
                <a:gd name="connsiteX8286" fmla="*/ 5739393 w 9586368"/>
                <a:gd name="connsiteY8286" fmla="*/ 492645 h 6479439"/>
                <a:gd name="connsiteX8287" fmla="*/ 5739393 w 9586368"/>
                <a:gd name="connsiteY8287" fmla="*/ 482776 h 6479439"/>
                <a:gd name="connsiteX8288" fmla="*/ 5504099 w 9586368"/>
                <a:gd name="connsiteY8288" fmla="*/ 478736 h 6479439"/>
                <a:gd name="connsiteX8289" fmla="*/ 5514010 w 9586368"/>
                <a:gd name="connsiteY8289" fmla="*/ 478736 h 6479439"/>
                <a:gd name="connsiteX8290" fmla="*/ 5518029 w 9586368"/>
                <a:gd name="connsiteY8290" fmla="*/ 482776 h 6479439"/>
                <a:gd name="connsiteX8291" fmla="*/ 5518029 w 9586368"/>
                <a:gd name="connsiteY8291" fmla="*/ 492645 h 6479439"/>
                <a:gd name="connsiteX8292" fmla="*/ 5514010 w 9586368"/>
                <a:gd name="connsiteY8292" fmla="*/ 496683 h 6479439"/>
                <a:gd name="connsiteX8293" fmla="*/ 5504099 w 9586368"/>
                <a:gd name="connsiteY8293" fmla="*/ 496683 h 6479439"/>
                <a:gd name="connsiteX8294" fmla="*/ 5500080 w 9586368"/>
                <a:gd name="connsiteY8294" fmla="*/ 492645 h 6479439"/>
                <a:gd name="connsiteX8295" fmla="*/ 5500080 w 9586368"/>
                <a:gd name="connsiteY8295" fmla="*/ 482776 h 6479439"/>
                <a:gd name="connsiteX8296" fmla="*/ 5264784 w 9586368"/>
                <a:gd name="connsiteY8296" fmla="*/ 478736 h 6479439"/>
                <a:gd name="connsiteX8297" fmla="*/ 5274694 w 9586368"/>
                <a:gd name="connsiteY8297" fmla="*/ 478736 h 6479439"/>
                <a:gd name="connsiteX8298" fmla="*/ 5278713 w 9586368"/>
                <a:gd name="connsiteY8298" fmla="*/ 482776 h 6479439"/>
                <a:gd name="connsiteX8299" fmla="*/ 5278713 w 9586368"/>
                <a:gd name="connsiteY8299" fmla="*/ 492645 h 6479439"/>
                <a:gd name="connsiteX8300" fmla="*/ 5274694 w 9586368"/>
                <a:gd name="connsiteY8300" fmla="*/ 496683 h 6479439"/>
                <a:gd name="connsiteX8301" fmla="*/ 5264784 w 9586368"/>
                <a:gd name="connsiteY8301" fmla="*/ 496683 h 6479439"/>
                <a:gd name="connsiteX8302" fmla="*/ 5260765 w 9586368"/>
                <a:gd name="connsiteY8302" fmla="*/ 492645 h 6479439"/>
                <a:gd name="connsiteX8303" fmla="*/ 5260765 w 9586368"/>
                <a:gd name="connsiteY8303" fmla="*/ 482776 h 6479439"/>
                <a:gd name="connsiteX8304" fmla="*/ 5025470 w 9586368"/>
                <a:gd name="connsiteY8304" fmla="*/ 478736 h 6479439"/>
                <a:gd name="connsiteX8305" fmla="*/ 5035381 w 9586368"/>
                <a:gd name="connsiteY8305" fmla="*/ 478736 h 6479439"/>
                <a:gd name="connsiteX8306" fmla="*/ 5039400 w 9586368"/>
                <a:gd name="connsiteY8306" fmla="*/ 482776 h 6479439"/>
                <a:gd name="connsiteX8307" fmla="*/ 5039400 w 9586368"/>
                <a:gd name="connsiteY8307" fmla="*/ 492645 h 6479439"/>
                <a:gd name="connsiteX8308" fmla="*/ 5035381 w 9586368"/>
                <a:gd name="connsiteY8308" fmla="*/ 496683 h 6479439"/>
                <a:gd name="connsiteX8309" fmla="*/ 5025470 w 9586368"/>
                <a:gd name="connsiteY8309" fmla="*/ 496683 h 6479439"/>
                <a:gd name="connsiteX8310" fmla="*/ 5021451 w 9586368"/>
                <a:gd name="connsiteY8310" fmla="*/ 492645 h 6479439"/>
                <a:gd name="connsiteX8311" fmla="*/ 5021451 w 9586368"/>
                <a:gd name="connsiteY8311" fmla="*/ 482776 h 6479439"/>
                <a:gd name="connsiteX8312" fmla="*/ 4786241 w 9586368"/>
                <a:gd name="connsiteY8312" fmla="*/ 478736 h 6479439"/>
                <a:gd name="connsiteX8313" fmla="*/ 4796152 w 9586368"/>
                <a:gd name="connsiteY8313" fmla="*/ 478736 h 6479439"/>
                <a:gd name="connsiteX8314" fmla="*/ 4800171 w 9586368"/>
                <a:gd name="connsiteY8314" fmla="*/ 482776 h 6479439"/>
                <a:gd name="connsiteX8315" fmla="*/ 4800171 w 9586368"/>
                <a:gd name="connsiteY8315" fmla="*/ 492645 h 6479439"/>
                <a:gd name="connsiteX8316" fmla="*/ 4796152 w 9586368"/>
                <a:gd name="connsiteY8316" fmla="*/ 496683 h 6479439"/>
                <a:gd name="connsiteX8317" fmla="*/ 4786241 w 9586368"/>
                <a:gd name="connsiteY8317" fmla="*/ 496683 h 6479439"/>
                <a:gd name="connsiteX8318" fmla="*/ 4782224 w 9586368"/>
                <a:gd name="connsiteY8318" fmla="*/ 492645 h 6479439"/>
                <a:gd name="connsiteX8319" fmla="*/ 4782224 w 9586368"/>
                <a:gd name="connsiteY8319" fmla="*/ 482776 h 6479439"/>
                <a:gd name="connsiteX8320" fmla="*/ 6939983 w 9586368"/>
                <a:gd name="connsiteY8320" fmla="*/ 478724 h 6479439"/>
                <a:gd name="connsiteX8321" fmla="*/ 6949894 w 9586368"/>
                <a:gd name="connsiteY8321" fmla="*/ 478724 h 6479439"/>
                <a:gd name="connsiteX8322" fmla="*/ 6953913 w 9586368"/>
                <a:gd name="connsiteY8322" fmla="*/ 482764 h 6479439"/>
                <a:gd name="connsiteX8323" fmla="*/ 6953913 w 9586368"/>
                <a:gd name="connsiteY8323" fmla="*/ 492633 h 6479439"/>
                <a:gd name="connsiteX8324" fmla="*/ 6949894 w 9586368"/>
                <a:gd name="connsiteY8324" fmla="*/ 496671 h 6479439"/>
                <a:gd name="connsiteX8325" fmla="*/ 6939983 w 9586368"/>
                <a:gd name="connsiteY8325" fmla="*/ 496671 h 6479439"/>
                <a:gd name="connsiteX8326" fmla="*/ 6935964 w 9586368"/>
                <a:gd name="connsiteY8326" fmla="*/ 492633 h 6479439"/>
                <a:gd name="connsiteX8327" fmla="*/ 6935964 w 9586368"/>
                <a:gd name="connsiteY8327" fmla="*/ 482764 h 6479439"/>
                <a:gd name="connsiteX8328" fmla="*/ 6700670 w 9586368"/>
                <a:gd name="connsiteY8328" fmla="*/ 478724 h 6479439"/>
                <a:gd name="connsiteX8329" fmla="*/ 6710581 w 9586368"/>
                <a:gd name="connsiteY8329" fmla="*/ 478724 h 6479439"/>
                <a:gd name="connsiteX8330" fmla="*/ 6714600 w 9586368"/>
                <a:gd name="connsiteY8330" fmla="*/ 482764 h 6479439"/>
                <a:gd name="connsiteX8331" fmla="*/ 6714600 w 9586368"/>
                <a:gd name="connsiteY8331" fmla="*/ 492633 h 6479439"/>
                <a:gd name="connsiteX8332" fmla="*/ 6710581 w 9586368"/>
                <a:gd name="connsiteY8332" fmla="*/ 496671 h 6479439"/>
                <a:gd name="connsiteX8333" fmla="*/ 6700670 w 9586368"/>
                <a:gd name="connsiteY8333" fmla="*/ 496671 h 6479439"/>
                <a:gd name="connsiteX8334" fmla="*/ 6696651 w 9586368"/>
                <a:gd name="connsiteY8334" fmla="*/ 492633 h 6479439"/>
                <a:gd name="connsiteX8335" fmla="*/ 6696651 w 9586368"/>
                <a:gd name="connsiteY8335" fmla="*/ 482764 h 6479439"/>
                <a:gd name="connsiteX8336" fmla="*/ 6461356 w 9586368"/>
                <a:gd name="connsiteY8336" fmla="*/ 478724 h 6479439"/>
                <a:gd name="connsiteX8337" fmla="*/ 6471266 w 9586368"/>
                <a:gd name="connsiteY8337" fmla="*/ 478724 h 6479439"/>
                <a:gd name="connsiteX8338" fmla="*/ 6475285 w 9586368"/>
                <a:gd name="connsiteY8338" fmla="*/ 482764 h 6479439"/>
                <a:gd name="connsiteX8339" fmla="*/ 6475285 w 9586368"/>
                <a:gd name="connsiteY8339" fmla="*/ 492633 h 6479439"/>
                <a:gd name="connsiteX8340" fmla="*/ 6471266 w 9586368"/>
                <a:gd name="connsiteY8340" fmla="*/ 496671 h 6479439"/>
                <a:gd name="connsiteX8341" fmla="*/ 6461356 w 9586368"/>
                <a:gd name="connsiteY8341" fmla="*/ 496671 h 6479439"/>
                <a:gd name="connsiteX8342" fmla="*/ 6457337 w 9586368"/>
                <a:gd name="connsiteY8342" fmla="*/ 492633 h 6479439"/>
                <a:gd name="connsiteX8343" fmla="*/ 6457337 w 9586368"/>
                <a:gd name="connsiteY8343" fmla="*/ 482764 h 6479439"/>
                <a:gd name="connsiteX8344" fmla="*/ 6222042 w 9586368"/>
                <a:gd name="connsiteY8344" fmla="*/ 478724 h 6479439"/>
                <a:gd name="connsiteX8345" fmla="*/ 6231952 w 9586368"/>
                <a:gd name="connsiteY8345" fmla="*/ 478724 h 6479439"/>
                <a:gd name="connsiteX8346" fmla="*/ 6235971 w 9586368"/>
                <a:gd name="connsiteY8346" fmla="*/ 482764 h 6479439"/>
                <a:gd name="connsiteX8347" fmla="*/ 6235971 w 9586368"/>
                <a:gd name="connsiteY8347" fmla="*/ 492633 h 6479439"/>
                <a:gd name="connsiteX8348" fmla="*/ 6231952 w 9586368"/>
                <a:gd name="connsiteY8348" fmla="*/ 496671 h 6479439"/>
                <a:gd name="connsiteX8349" fmla="*/ 6222042 w 9586368"/>
                <a:gd name="connsiteY8349" fmla="*/ 496671 h 6479439"/>
                <a:gd name="connsiteX8350" fmla="*/ 6218023 w 9586368"/>
                <a:gd name="connsiteY8350" fmla="*/ 492633 h 6479439"/>
                <a:gd name="connsiteX8351" fmla="*/ 6218023 w 9586368"/>
                <a:gd name="connsiteY8351" fmla="*/ 482764 h 6479439"/>
                <a:gd name="connsiteX8352" fmla="*/ 5982729 w 9586368"/>
                <a:gd name="connsiteY8352" fmla="*/ 478724 h 6479439"/>
                <a:gd name="connsiteX8353" fmla="*/ 5992639 w 9586368"/>
                <a:gd name="connsiteY8353" fmla="*/ 478724 h 6479439"/>
                <a:gd name="connsiteX8354" fmla="*/ 5996658 w 9586368"/>
                <a:gd name="connsiteY8354" fmla="*/ 482764 h 6479439"/>
                <a:gd name="connsiteX8355" fmla="*/ 5996658 w 9586368"/>
                <a:gd name="connsiteY8355" fmla="*/ 492633 h 6479439"/>
                <a:gd name="connsiteX8356" fmla="*/ 5992639 w 9586368"/>
                <a:gd name="connsiteY8356" fmla="*/ 496671 h 6479439"/>
                <a:gd name="connsiteX8357" fmla="*/ 5982729 w 9586368"/>
                <a:gd name="connsiteY8357" fmla="*/ 496671 h 6479439"/>
                <a:gd name="connsiteX8358" fmla="*/ 5978710 w 9586368"/>
                <a:gd name="connsiteY8358" fmla="*/ 492633 h 6479439"/>
                <a:gd name="connsiteX8359" fmla="*/ 5978710 w 9586368"/>
                <a:gd name="connsiteY8359" fmla="*/ 482764 h 6479439"/>
                <a:gd name="connsiteX8360" fmla="*/ 7897241 w 9586368"/>
                <a:gd name="connsiteY8360" fmla="*/ 478712 h 6479439"/>
                <a:gd name="connsiteX8361" fmla="*/ 7907151 w 9586368"/>
                <a:gd name="connsiteY8361" fmla="*/ 478712 h 6479439"/>
                <a:gd name="connsiteX8362" fmla="*/ 7911170 w 9586368"/>
                <a:gd name="connsiteY8362" fmla="*/ 482751 h 6479439"/>
                <a:gd name="connsiteX8363" fmla="*/ 7911170 w 9586368"/>
                <a:gd name="connsiteY8363" fmla="*/ 492620 h 6479439"/>
                <a:gd name="connsiteX8364" fmla="*/ 7907151 w 9586368"/>
                <a:gd name="connsiteY8364" fmla="*/ 496658 h 6479439"/>
                <a:gd name="connsiteX8365" fmla="*/ 7897241 w 9586368"/>
                <a:gd name="connsiteY8365" fmla="*/ 496658 h 6479439"/>
                <a:gd name="connsiteX8366" fmla="*/ 7893222 w 9586368"/>
                <a:gd name="connsiteY8366" fmla="*/ 492620 h 6479439"/>
                <a:gd name="connsiteX8367" fmla="*/ 7893222 w 9586368"/>
                <a:gd name="connsiteY8367" fmla="*/ 482751 h 6479439"/>
                <a:gd name="connsiteX8368" fmla="*/ 7657926 w 9586368"/>
                <a:gd name="connsiteY8368" fmla="*/ 478712 h 6479439"/>
                <a:gd name="connsiteX8369" fmla="*/ 7667836 w 9586368"/>
                <a:gd name="connsiteY8369" fmla="*/ 478712 h 6479439"/>
                <a:gd name="connsiteX8370" fmla="*/ 7671855 w 9586368"/>
                <a:gd name="connsiteY8370" fmla="*/ 482751 h 6479439"/>
                <a:gd name="connsiteX8371" fmla="*/ 7671855 w 9586368"/>
                <a:gd name="connsiteY8371" fmla="*/ 492620 h 6479439"/>
                <a:gd name="connsiteX8372" fmla="*/ 7667836 w 9586368"/>
                <a:gd name="connsiteY8372" fmla="*/ 496659 h 6479439"/>
                <a:gd name="connsiteX8373" fmla="*/ 7657926 w 9586368"/>
                <a:gd name="connsiteY8373" fmla="*/ 496659 h 6479439"/>
                <a:gd name="connsiteX8374" fmla="*/ 7653906 w 9586368"/>
                <a:gd name="connsiteY8374" fmla="*/ 492620 h 6479439"/>
                <a:gd name="connsiteX8375" fmla="*/ 7653906 w 9586368"/>
                <a:gd name="connsiteY8375" fmla="*/ 482751 h 6479439"/>
                <a:gd name="connsiteX8376" fmla="*/ 7418611 w 9586368"/>
                <a:gd name="connsiteY8376" fmla="*/ 478712 h 6479439"/>
                <a:gd name="connsiteX8377" fmla="*/ 7428521 w 9586368"/>
                <a:gd name="connsiteY8377" fmla="*/ 478712 h 6479439"/>
                <a:gd name="connsiteX8378" fmla="*/ 7432540 w 9586368"/>
                <a:gd name="connsiteY8378" fmla="*/ 482751 h 6479439"/>
                <a:gd name="connsiteX8379" fmla="*/ 7432540 w 9586368"/>
                <a:gd name="connsiteY8379" fmla="*/ 492620 h 6479439"/>
                <a:gd name="connsiteX8380" fmla="*/ 7428521 w 9586368"/>
                <a:gd name="connsiteY8380" fmla="*/ 496659 h 6479439"/>
                <a:gd name="connsiteX8381" fmla="*/ 7418611 w 9586368"/>
                <a:gd name="connsiteY8381" fmla="*/ 496659 h 6479439"/>
                <a:gd name="connsiteX8382" fmla="*/ 7414592 w 9586368"/>
                <a:gd name="connsiteY8382" fmla="*/ 492620 h 6479439"/>
                <a:gd name="connsiteX8383" fmla="*/ 7414592 w 9586368"/>
                <a:gd name="connsiteY8383" fmla="*/ 482751 h 6479439"/>
                <a:gd name="connsiteX8384" fmla="*/ 7179298 w 9586368"/>
                <a:gd name="connsiteY8384" fmla="*/ 478712 h 6479439"/>
                <a:gd name="connsiteX8385" fmla="*/ 7189209 w 9586368"/>
                <a:gd name="connsiteY8385" fmla="*/ 478712 h 6479439"/>
                <a:gd name="connsiteX8386" fmla="*/ 7193228 w 9586368"/>
                <a:gd name="connsiteY8386" fmla="*/ 482751 h 6479439"/>
                <a:gd name="connsiteX8387" fmla="*/ 7193228 w 9586368"/>
                <a:gd name="connsiteY8387" fmla="*/ 492620 h 6479439"/>
                <a:gd name="connsiteX8388" fmla="*/ 7189209 w 9586368"/>
                <a:gd name="connsiteY8388" fmla="*/ 496659 h 6479439"/>
                <a:gd name="connsiteX8389" fmla="*/ 7179298 w 9586368"/>
                <a:gd name="connsiteY8389" fmla="*/ 496659 h 6479439"/>
                <a:gd name="connsiteX8390" fmla="*/ 7175279 w 9586368"/>
                <a:gd name="connsiteY8390" fmla="*/ 492620 h 6479439"/>
                <a:gd name="connsiteX8391" fmla="*/ 7175279 w 9586368"/>
                <a:gd name="connsiteY8391" fmla="*/ 482751 h 6479439"/>
                <a:gd name="connsiteX8392" fmla="*/ 8136553 w 9586368"/>
                <a:gd name="connsiteY8392" fmla="*/ 478711 h 6479439"/>
                <a:gd name="connsiteX8393" fmla="*/ 8146464 w 9586368"/>
                <a:gd name="connsiteY8393" fmla="*/ 478711 h 6479439"/>
                <a:gd name="connsiteX8394" fmla="*/ 8150483 w 9586368"/>
                <a:gd name="connsiteY8394" fmla="*/ 482751 h 6479439"/>
                <a:gd name="connsiteX8395" fmla="*/ 8150483 w 9586368"/>
                <a:gd name="connsiteY8395" fmla="*/ 492620 h 6479439"/>
                <a:gd name="connsiteX8396" fmla="*/ 8146464 w 9586368"/>
                <a:gd name="connsiteY8396" fmla="*/ 496658 h 6479439"/>
                <a:gd name="connsiteX8397" fmla="*/ 8136553 w 9586368"/>
                <a:gd name="connsiteY8397" fmla="*/ 496658 h 6479439"/>
                <a:gd name="connsiteX8398" fmla="*/ 8132534 w 9586368"/>
                <a:gd name="connsiteY8398" fmla="*/ 492620 h 6479439"/>
                <a:gd name="connsiteX8399" fmla="*/ 8132534 w 9586368"/>
                <a:gd name="connsiteY8399" fmla="*/ 482751 h 6479439"/>
                <a:gd name="connsiteX8400" fmla="*/ 9093811 w 9586368"/>
                <a:gd name="connsiteY8400" fmla="*/ 478699 h 6479439"/>
                <a:gd name="connsiteX8401" fmla="*/ 9103722 w 9586368"/>
                <a:gd name="connsiteY8401" fmla="*/ 478699 h 6479439"/>
                <a:gd name="connsiteX8402" fmla="*/ 9107741 w 9586368"/>
                <a:gd name="connsiteY8402" fmla="*/ 482738 h 6479439"/>
                <a:gd name="connsiteX8403" fmla="*/ 9107741 w 9586368"/>
                <a:gd name="connsiteY8403" fmla="*/ 492608 h 6479439"/>
                <a:gd name="connsiteX8404" fmla="*/ 9103722 w 9586368"/>
                <a:gd name="connsiteY8404" fmla="*/ 496646 h 6479439"/>
                <a:gd name="connsiteX8405" fmla="*/ 9093811 w 9586368"/>
                <a:gd name="connsiteY8405" fmla="*/ 496646 h 6479439"/>
                <a:gd name="connsiteX8406" fmla="*/ 9089792 w 9586368"/>
                <a:gd name="connsiteY8406" fmla="*/ 492608 h 6479439"/>
                <a:gd name="connsiteX8407" fmla="*/ 9089792 w 9586368"/>
                <a:gd name="connsiteY8407" fmla="*/ 482738 h 6479439"/>
                <a:gd name="connsiteX8408" fmla="*/ 8854496 w 9586368"/>
                <a:gd name="connsiteY8408" fmla="*/ 478699 h 6479439"/>
                <a:gd name="connsiteX8409" fmla="*/ 8864407 w 9586368"/>
                <a:gd name="connsiteY8409" fmla="*/ 478699 h 6479439"/>
                <a:gd name="connsiteX8410" fmla="*/ 8868426 w 9586368"/>
                <a:gd name="connsiteY8410" fmla="*/ 482738 h 6479439"/>
                <a:gd name="connsiteX8411" fmla="*/ 8868426 w 9586368"/>
                <a:gd name="connsiteY8411" fmla="*/ 492608 h 6479439"/>
                <a:gd name="connsiteX8412" fmla="*/ 8864407 w 9586368"/>
                <a:gd name="connsiteY8412" fmla="*/ 496647 h 6479439"/>
                <a:gd name="connsiteX8413" fmla="*/ 8854496 w 9586368"/>
                <a:gd name="connsiteY8413" fmla="*/ 496647 h 6479439"/>
                <a:gd name="connsiteX8414" fmla="*/ 8850477 w 9586368"/>
                <a:gd name="connsiteY8414" fmla="*/ 492608 h 6479439"/>
                <a:gd name="connsiteX8415" fmla="*/ 8850477 w 9586368"/>
                <a:gd name="connsiteY8415" fmla="*/ 482738 h 6479439"/>
                <a:gd name="connsiteX8416" fmla="*/ 8615184 w 9586368"/>
                <a:gd name="connsiteY8416" fmla="*/ 478699 h 6479439"/>
                <a:gd name="connsiteX8417" fmla="*/ 8625095 w 9586368"/>
                <a:gd name="connsiteY8417" fmla="*/ 478699 h 6479439"/>
                <a:gd name="connsiteX8418" fmla="*/ 8629114 w 9586368"/>
                <a:gd name="connsiteY8418" fmla="*/ 482739 h 6479439"/>
                <a:gd name="connsiteX8419" fmla="*/ 8629114 w 9586368"/>
                <a:gd name="connsiteY8419" fmla="*/ 492608 h 6479439"/>
                <a:gd name="connsiteX8420" fmla="*/ 8625095 w 9586368"/>
                <a:gd name="connsiteY8420" fmla="*/ 496647 h 6479439"/>
                <a:gd name="connsiteX8421" fmla="*/ 8615184 w 9586368"/>
                <a:gd name="connsiteY8421" fmla="*/ 496647 h 6479439"/>
                <a:gd name="connsiteX8422" fmla="*/ 8611165 w 9586368"/>
                <a:gd name="connsiteY8422" fmla="*/ 492608 h 6479439"/>
                <a:gd name="connsiteX8423" fmla="*/ 8611165 w 9586368"/>
                <a:gd name="connsiteY8423" fmla="*/ 482739 h 6479439"/>
                <a:gd name="connsiteX8424" fmla="*/ 8375869 w 9586368"/>
                <a:gd name="connsiteY8424" fmla="*/ 478699 h 6479439"/>
                <a:gd name="connsiteX8425" fmla="*/ 8385779 w 9586368"/>
                <a:gd name="connsiteY8425" fmla="*/ 478699 h 6479439"/>
                <a:gd name="connsiteX8426" fmla="*/ 8389799 w 9586368"/>
                <a:gd name="connsiteY8426" fmla="*/ 482739 h 6479439"/>
                <a:gd name="connsiteX8427" fmla="*/ 8389799 w 9586368"/>
                <a:gd name="connsiteY8427" fmla="*/ 492608 h 6479439"/>
                <a:gd name="connsiteX8428" fmla="*/ 8385779 w 9586368"/>
                <a:gd name="connsiteY8428" fmla="*/ 496647 h 6479439"/>
                <a:gd name="connsiteX8429" fmla="*/ 8375869 w 9586368"/>
                <a:gd name="connsiteY8429" fmla="*/ 496647 h 6479439"/>
                <a:gd name="connsiteX8430" fmla="*/ 8371850 w 9586368"/>
                <a:gd name="connsiteY8430" fmla="*/ 492608 h 6479439"/>
                <a:gd name="connsiteX8431" fmla="*/ 8371850 w 9586368"/>
                <a:gd name="connsiteY8431" fmla="*/ 482739 h 6479439"/>
                <a:gd name="connsiteX8432" fmla="*/ 9333125 w 9586368"/>
                <a:gd name="connsiteY8432" fmla="*/ 478698 h 6479439"/>
                <a:gd name="connsiteX8433" fmla="*/ 9343036 w 9586368"/>
                <a:gd name="connsiteY8433" fmla="*/ 478698 h 6479439"/>
                <a:gd name="connsiteX8434" fmla="*/ 9347055 w 9586368"/>
                <a:gd name="connsiteY8434" fmla="*/ 482738 h 6479439"/>
                <a:gd name="connsiteX8435" fmla="*/ 9347055 w 9586368"/>
                <a:gd name="connsiteY8435" fmla="*/ 492608 h 6479439"/>
                <a:gd name="connsiteX8436" fmla="*/ 9343036 w 9586368"/>
                <a:gd name="connsiteY8436" fmla="*/ 496646 h 6479439"/>
                <a:gd name="connsiteX8437" fmla="*/ 9333125 w 9586368"/>
                <a:gd name="connsiteY8437" fmla="*/ 496646 h 6479439"/>
                <a:gd name="connsiteX8438" fmla="*/ 9329106 w 9586368"/>
                <a:gd name="connsiteY8438" fmla="*/ 492608 h 6479439"/>
                <a:gd name="connsiteX8439" fmla="*/ 9329106 w 9586368"/>
                <a:gd name="connsiteY8439" fmla="*/ 482738 h 6479439"/>
                <a:gd name="connsiteX8440" fmla="*/ 9572438 w 9586368"/>
                <a:gd name="connsiteY8440" fmla="*/ 478687 h 6479439"/>
                <a:gd name="connsiteX8441" fmla="*/ 9582349 w 9586368"/>
                <a:gd name="connsiteY8441" fmla="*/ 478687 h 6479439"/>
                <a:gd name="connsiteX8442" fmla="*/ 9586368 w 9586368"/>
                <a:gd name="connsiteY8442" fmla="*/ 482726 h 6479439"/>
                <a:gd name="connsiteX8443" fmla="*/ 9586368 w 9586368"/>
                <a:gd name="connsiteY8443" fmla="*/ 492596 h 6479439"/>
                <a:gd name="connsiteX8444" fmla="*/ 9582349 w 9586368"/>
                <a:gd name="connsiteY8444" fmla="*/ 496634 h 6479439"/>
                <a:gd name="connsiteX8445" fmla="*/ 9572438 w 9586368"/>
                <a:gd name="connsiteY8445" fmla="*/ 496634 h 6479439"/>
                <a:gd name="connsiteX8446" fmla="*/ 9568419 w 9586368"/>
                <a:gd name="connsiteY8446" fmla="*/ 492596 h 6479439"/>
                <a:gd name="connsiteX8447" fmla="*/ 9568419 w 9586368"/>
                <a:gd name="connsiteY8447" fmla="*/ 482726 h 6479439"/>
                <a:gd name="connsiteX8448" fmla="*/ 721976 w 9586368"/>
                <a:gd name="connsiteY8448" fmla="*/ 478660 h 6479439"/>
                <a:gd name="connsiteX8449" fmla="*/ 731886 w 9586368"/>
                <a:gd name="connsiteY8449" fmla="*/ 478660 h 6479439"/>
                <a:gd name="connsiteX8450" fmla="*/ 735905 w 9586368"/>
                <a:gd name="connsiteY8450" fmla="*/ 482698 h 6479439"/>
                <a:gd name="connsiteX8451" fmla="*/ 735905 w 9586368"/>
                <a:gd name="connsiteY8451" fmla="*/ 492569 h 6479439"/>
                <a:gd name="connsiteX8452" fmla="*/ 731886 w 9586368"/>
                <a:gd name="connsiteY8452" fmla="*/ 496608 h 6479439"/>
                <a:gd name="connsiteX8453" fmla="*/ 721976 w 9586368"/>
                <a:gd name="connsiteY8453" fmla="*/ 496608 h 6479439"/>
                <a:gd name="connsiteX8454" fmla="*/ 717957 w 9586368"/>
                <a:gd name="connsiteY8454" fmla="*/ 492569 h 6479439"/>
                <a:gd name="connsiteX8455" fmla="*/ 717957 w 9586368"/>
                <a:gd name="connsiteY8455" fmla="*/ 482698 h 6479439"/>
                <a:gd name="connsiteX8456" fmla="*/ 482664 w 9586368"/>
                <a:gd name="connsiteY8456" fmla="*/ 478660 h 6479439"/>
                <a:gd name="connsiteX8457" fmla="*/ 492574 w 9586368"/>
                <a:gd name="connsiteY8457" fmla="*/ 478660 h 6479439"/>
                <a:gd name="connsiteX8458" fmla="*/ 496593 w 9586368"/>
                <a:gd name="connsiteY8458" fmla="*/ 482698 h 6479439"/>
                <a:gd name="connsiteX8459" fmla="*/ 496593 w 9586368"/>
                <a:gd name="connsiteY8459" fmla="*/ 492569 h 6479439"/>
                <a:gd name="connsiteX8460" fmla="*/ 492574 w 9586368"/>
                <a:gd name="connsiteY8460" fmla="*/ 496608 h 6479439"/>
                <a:gd name="connsiteX8461" fmla="*/ 482664 w 9586368"/>
                <a:gd name="connsiteY8461" fmla="*/ 496608 h 6479439"/>
                <a:gd name="connsiteX8462" fmla="*/ 478645 w 9586368"/>
                <a:gd name="connsiteY8462" fmla="*/ 492569 h 6479439"/>
                <a:gd name="connsiteX8463" fmla="*/ 478645 w 9586368"/>
                <a:gd name="connsiteY8463" fmla="*/ 482698 h 6479439"/>
                <a:gd name="connsiteX8464" fmla="*/ 243350 w 9586368"/>
                <a:gd name="connsiteY8464" fmla="*/ 478660 h 6479439"/>
                <a:gd name="connsiteX8465" fmla="*/ 253260 w 9586368"/>
                <a:gd name="connsiteY8465" fmla="*/ 478660 h 6479439"/>
                <a:gd name="connsiteX8466" fmla="*/ 257279 w 9586368"/>
                <a:gd name="connsiteY8466" fmla="*/ 482698 h 6479439"/>
                <a:gd name="connsiteX8467" fmla="*/ 257279 w 9586368"/>
                <a:gd name="connsiteY8467" fmla="*/ 492569 h 6479439"/>
                <a:gd name="connsiteX8468" fmla="*/ 253260 w 9586368"/>
                <a:gd name="connsiteY8468" fmla="*/ 496608 h 6479439"/>
                <a:gd name="connsiteX8469" fmla="*/ 243350 w 9586368"/>
                <a:gd name="connsiteY8469" fmla="*/ 496608 h 6479439"/>
                <a:gd name="connsiteX8470" fmla="*/ 239331 w 9586368"/>
                <a:gd name="connsiteY8470" fmla="*/ 492569 h 6479439"/>
                <a:gd name="connsiteX8471" fmla="*/ 239331 w 9586368"/>
                <a:gd name="connsiteY8471" fmla="*/ 482698 h 6479439"/>
                <a:gd name="connsiteX8472" fmla="*/ 4037 w 9586368"/>
                <a:gd name="connsiteY8472" fmla="*/ 478660 h 6479439"/>
                <a:gd name="connsiteX8473" fmla="*/ 13947 w 9586368"/>
                <a:gd name="connsiteY8473" fmla="*/ 478660 h 6479439"/>
                <a:gd name="connsiteX8474" fmla="*/ 17966 w 9586368"/>
                <a:gd name="connsiteY8474" fmla="*/ 482698 h 6479439"/>
                <a:gd name="connsiteX8475" fmla="*/ 17966 w 9586368"/>
                <a:gd name="connsiteY8475" fmla="*/ 492569 h 6479439"/>
                <a:gd name="connsiteX8476" fmla="*/ 13947 w 9586368"/>
                <a:gd name="connsiteY8476" fmla="*/ 496608 h 6479439"/>
                <a:gd name="connsiteX8477" fmla="*/ 4037 w 9586368"/>
                <a:gd name="connsiteY8477" fmla="*/ 496608 h 6479439"/>
                <a:gd name="connsiteX8478" fmla="*/ 18 w 9586368"/>
                <a:gd name="connsiteY8478" fmla="*/ 492569 h 6479439"/>
                <a:gd name="connsiteX8479" fmla="*/ 18 w 9586368"/>
                <a:gd name="connsiteY8479" fmla="*/ 482698 h 6479439"/>
                <a:gd name="connsiteX8480" fmla="*/ 1679220 w 9586368"/>
                <a:gd name="connsiteY8480" fmla="*/ 478650 h 6479439"/>
                <a:gd name="connsiteX8481" fmla="*/ 1689130 w 9586368"/>
                <a:gd name="connsiteY8481" fmla="*/ 478650 h 6479439"/>
                <a:gd name="connsiteX8482" fmla="*/ 1693149 w 9586368"/>
                <a:gd name="connsiteY8482" fmla="*/ 482688 h 6479439"/>
                <a:gd name="connsiteX8483" fmla="*/ 1693149 w 9586368"/>
                <a:gd name="connsiteY8483" fmla="*/ 492559 h 6479439"/>
                <a:gd name="connsiteX8484" fmla="*/ 1689130 w 9586368"/>
                <a:gd name="connsiteY8484" fmla="*/ 496598 h 6479439"/>
                <a:gd name="connsiteX8485" fmla="*/ 1679220 w 9586368"/>
                <a:gd name="connsiteY8485" fmla="*/ 496598 h 6479439"/>
                <a:gd name="connsiteX8486" fmla="*/ 1675200 w 9586368"/>
                <a:gd name="connsiteY8486" fmla="*/ 492559 h 6479439"/>
                <a:gd name="connsiteX8487" fmla="*/ 1675200 w 9586368"/>
                <a:gd name="connsiteY8487" fmla="*/ 482688 h 6479439"/>
                <a:gd name="connsiteX8488" fmla="*/ 1439902 w 9586368"/>
                <a:gd name="connsiteY8488" fmla="*/ 478650 h 6479439"/>
                <a:gd name="connsiteX8489" fmla="*/ 1449812 w 9586368"/>
                <a:gd name="connsiteY8489" fmla="*/ 478650 h 6479439"/>
                <a:gd name="connsiteX8490" fmla="*/ 1453831 w 9586368"/>
                <a:gd name="connsiteY8490" fmla="*/ 482688 h 6479439"/>
                <a:gd name="connsiteX8491" fmla="*/ 1453831 w 9586368"/>
                <a:gd name="connsiteY8491" fmla="*/ 492559 h 6479439"/>
                <a:gd name="connsiteX8492" fmla="*/ 1449812 w 9586368"/>
                <a:gd name="connsiteY8492" fmla="*/ 496598 h 6479439"/>
                <a:gd name="connsiteX8493" fmla="*/ 1439902 w 9586368"/>
                <a:gd name="connsiteY8493" fmla="*/ 496598 h 6479439"/>
                <a:gd name="connsiteX8494" fmla="*/ 1435883 w 9586368"/>
                <a:gd name="connsiteY8494" fmla="*/ 492559 h 6479439"/>
                <a:gd name="connsiteX8495" fmla="*/ 1435883 w 9586368"/>
                <a:gd name="connsiteY8495" fmla="*/ 482688 h 6479439"/>
                <a:gd name="connsiteX8496" fmla="*/ 1200585 w 9586368"/>
                <a:gd name="connsiteY8496" fmla="*/ 478650 h 6479439"/>
                <a:gd name="connsiteX8497" fmla="*/ 1210496 w 9586368"/>
                <a:gd name="connsiteY8497" fmla="*/ 478650 h 6479439"/>
                <a:gd name="connsiteX8498" fmla="*/ 1214515 w 9586368"/>
                <a:gd name="connsiteY8498" fmla="*/ 482689 h 6479439"/>
                <a:gd name="connsiteX8499" fmla="*/ 1214515 w 9586368"/>
                <a:gd name="connsiteY8499" fmla="*/ 492559 h 6479439"/>
                <a:gd name="connsiteX8500" fmla="*/ 1210496 w 9586368"/>
                <a:gd name="connsiteY8500" fmla="*/ 496598 h 6479439"/>
                <a:gd name="connsiteX8501" fmla="*/ 1200585 w 9586368"/>
                <a:gd name="connsiteY8501" fmla="*/ 496598 h 6479439"/>
                <a:gd name="connsiteX8502" fmla="*/ 1196567 w 9586368"/>
                <a:gd name="connsiteY8502" fmla="*/ 492559 h 6479439"/>
                <a:gd name="connsiteX8503" fmla="*/ 1196567 w 9586368"/>
                <a:gd name="connsiteY8503" fmla="*/ 482689 h 6479439"/>
                <a:gd name="connsiteX8504" fmla="*/ 961273 w 9586368"/>
                <a:gd name="connsiteY8504" fmla="*/ 478650 h 6479439"/>
                <a:gd name="connsiteX8505" fmla="*/ 971183 w 9586368"/>
                <a:gd name="connsiteY8505" fmla="*/ 478650 h 6479439"/>
                <a:gd name="connsiteX8506" fmla="*/ 975202 w 9586368"/>
                <a:gd name="connsiteY8506" fmla="*/ 482689 h 6479439"/>
                <a:gd name="connsiteX8507" fmla="*/ 975202 w 9586368"/>
                <a:gd name="connsiteY8507" fmla="*/ 492559 h 6479439"/>
                <a:gd name="connsiteX8508" fmla="*/ 971183 w 9586368"/>
                <a:gd name="connsiteY8508" fmla="*/ 496598 h 6479439"/>
                <a:gd name="connsiteX8509" fmla="*/ 961273 w 9586368"/>
                <a:gd name="connsiteY8509" fmla="*/ 496598 h 6479439"/>
                <a:gd name="connsiteX8510" fmla="*/ 957254 w 9586368"/>
                <a:gd name="connsiteY8510" fmla="*/ 492559 h 6479439"/>
                <a:gd name="connsiteX8511" fmla="*/ 957254 w 9586368"/>
                <a:gd name="connsiteY8511" fmla="*/ 482689 h 6479439"/>
                <a:gd name="connsiteX8512" fmla="*/ 1918515 w 9586368"/>
                <a:gd name="connsiteY8512" fmla="*/ 478641 h 6479439"/>
                <a:gd name="connsiteX8513" fmla="*/ 1928425 w 9586368"/>
                <a:gd name="connsiteY8513" fmla="*/ 478641 h 6479439"/>
                <a:gd name="connsiteX8514" fmla="*/ 1932444 w 9586368"/>
                <a:gd name="connsiteY8514" fmla="*/ 482679 h 6479439"/>
                <a:gd name="connsiteX8515" fmla="*/ 1932444 w 9586368"/>
                <a:gd name="connsiteY8515" fmla="*/ 492550 h 6479439"/>
                <a:gd name="connsiteX8516" fmla="*/ 1928425 w 9586368"/>
                <a:gd name="connsiteY8516" fmla="*/ 496589 h 6479439"/>
                <a:gd name="connsiteX8517" fmla="*/ 1918515 w 9586368"/>
                <a:gd name="connsiteY8517" fmla="*/ 496589 h 6479439"/>
                <a:gd name="connsiteX8518" fmla="*/ 1914495 w 9586368"/>
                <a:gd name="connsiteY8518" fmla="*/ 492550 h 6479439"/>
                <a:gd name="connsiteX8519" fmla="*/ 1914495 w 9586368"/>
                <a:gd name="connsiteY8519" fmla="*/ 482679 h 6479439"/>
                <a:gd name="connsiteX8520" fmla="*/ 2157823 w 9586368"/>
                <a:gd name="connsiteY8520" fmla="*/ 478638 h 6479439"/>
                <a:gd name="connsiteX8521" fmla="*/ 2167734 w 9586368"/>
                <a:gd name="connsiteY8521" fmla="*/ 478638 h 6479439"/>
                <a:gd name="connsiteX8522" fmla="*/ 2171753 w 9586368"/>
                <a:gd name="connsiteY8522" fmla="*/ 482677 h 6479439"/>
                <a:gd name="connsiteX8523" fmla="*/ 2171753 w 9586368"/>
                <a:gd name="connsiteY8523" fmla="*/ 492548 h 6479439"/>
                <a:gd name="connsiteX8524" fmla="*/ 2167734 w 9586368"/>
                <a:gd name="connsiteY8524" fmla="*/ 496587 h 6479439"/>
                <a:gd name="connsiteX8525" fmla="*/ 2157823 w 9586368"/>
                <a:gd name="connsiteY8525" fmla="*/ 496587 h 6479439"/>
                <a:gd name="connsiteX8526" fmla="*/ 2153804 w 9586368"/>
                <a:gd name="connsiteY8526" fmla="*/ 492548 h 6479439"/>
                <a:gd name="connsiteX8527" fmla="*/ 2153804 w 9586368"/>
                <a:gd name="connsiteY8527" fmla="*/ 482677 h 6479439"/>
                <a:gd name="connsiteX8528" fmla="*/ 2632423 w 9586368"/>
                <a:gd name="connsiteY8528" fmla="*/ 239432 h 6479439"/>
                <a:gd name="connsiteX8529" fmla="*/ 2642334 w 9586368"/>
                <a:gd name="connsiteY8529" fmla="*/ 239432 h 6479439"/>
                <a:gd name="connsiteX8530" fmla="*/ 2646352 w 9586368"/>
                <a:gd name="connsiteY8530" fmla="*/ 243470 h 6479439"/>
                <a:gd name="connsiteX8531" fmla="*/ 2646352 w 9586368"/>
                <a:gd name="connsiteY8531" fmla="*/ 253341 h 6479439"/>
                <a:gd name="connsiteX8532" fmla="*/ 2642334 w 9586368"/>
                <a:gd name="connsiteY8532" fmla="*/ 257380 h 6479439"/>
                <a:gd name="connsiteX8533" fmla="*/ 2632423 w 9586368"/>
                <a:gd name="connsiteY8533" fmla="*/ 257380 h 6479439"/>
                <a:gd name="connsiteX8534" fmla="*/ 2628404 w 9586368"/>
                <a:gd name="connsiteY8534" fmla="*/ 253341 h 6479439"/>
                <a:gd name="connsiteX8535" fmla="*/ 2628404 w 9586368"/>
                <a:gd name="connsiteY8535" fmla="*/ 243470 h 6479439"/>
                <a:gd name="connsiteX8536" fmla="*/ 2393104 w 9586368"/>
                <a:gd name="connsiteY8536" fmla="*/ 239432 h 6479439"/>
                <a:gd name="connsiteX8537" fmla="*/ 2403015 w 9586368"/>
                <a:gd name="connsiteY8537" fmla="*/ 239432 h 6479439"/>
                <a:gd name="connsiteX8538" fmla="*/ 2407034 w 9586368"/>
                <a:gd name="connsiteY8538" fmla="*/ 243470 h 6479439"/>
                <a:gd name="connsiteX8539" fmla="*/ 2407034 w 9586368"/>
                <a:gd name="connsiteY8539" fmla="*/ 253341 h 6479439"/>
                <a:gd name="connsiteX8540" fmla="*/ 2403015 w 9586368"/>
                <a:gd name="connsiteY8540" fmla="*/ 257380 h 6479439"/>
                <a:gd name="connsiteX8541" fmla="*/ 2393104 w 9586368"/>
                <a:gd name="connsiteY8541" fmla="*/ 257380 h 6479439"/>
                <a:gd name="connsiteX8542" fmla="*/ 2389087 w 9586368"/>
                <a:gd name="connsiteY8542" fmla="*/ 253341 h 6479439"/>
                <a:gd name="connsiteX8543" fmla="*/ 2389087 w 9586368"/>
                <a:gd name="connsiteY8543" fmla="*/ 243470 h 6479439"/>
                <a:gd name="connsiteX8544" fmla="*/ 3350359 w 9586368"/>
                <a:gd name="connsiteY8544" fmla="*/ 239432 h 6479439"/>
                <a:gd name="connsiteX8545" fmla="*/ 3360268 w 9586368"/>
                <a:gd name="connsiteY8545" fmla="*/ 239432 h 6479439"/>
                <a:gd name="connsiteX8546" fmla="*/ 3364287 w 9586368"/>
                <a:gd name="connsiteY8546" fmla="*/ 243470 h 6479439"/>
                <a:gd name="connsiteX8547" fmla="*/ 3364287 w 9586368"/>
                <a:gd name="connsiteY8547" fmla="*/ 253341 h 6479439"/>
                <a:gd name="connsiteX8548" fmla="*/ 3360268 w 9586368"/>
                <a:gd name="connsiteY8548" fmla="*/ 257380 h 6479439"/>
                <a:gd name="connsiteX8549" fmla="*/ 3350359 w 9586368"/>
                <a:gd name="connsiteY8549" fmla="*/ 257380 h 6479439"/>
                <a:gd name="connsiteX8550" fmla="*/ 3346340 w 9586368"/>
                <a:gd name="connsiteY8550" fmla="*/ 253341 h 6479439"/>
                <a:gd name="connsiteX8551" fmla="*/ 3346340 w 9586368"/>
                <a:gd name="connsiteY8551" fmla="*/ 243470 h 6479439"/>
                <a:gd name="connsiteX8552" fmla="*/ 3111048 w 9586368"/>
                <a:gd name="connsiteY8552" fmla="*/ 239432 h 6479439"/>
                <a:gd name="connsiteX8553" fmla="*/ 3120959 w 9586368"/>
                <a:gd name="connsiteY8553" fmla="*/ 239432 h 6479439"/>
                <a:gd name="connsiteX8554" fmla="*/ 3124977 w 9586368"/>
                <a:gd name="connsiteY8554" fmla="*/ 243470 h 6479439"/>
                <a:gd name="connsiteX8555" fmla="*/ 3124977 w 9586368"/>
                <a:gd name="connsiteY8555" fmla="*/ 253341 h 6479439"/>
                <a:gd name="connsiteX8556" fmla="*/ 3120959 w 9586368"/>
                <a:gd name="connsiteY8556" fmla="*/ 257380 h 6479439"/>
                <a:gd name="connsiteX8557" fmla="*/ 3111048 w 9586368"/>
                <a:gd name="connsiteY8557" fmla="*/ 257380 h 6479439"/>
                <a:gd name="connsiteX8558" fmla="*/ 3107029 w 9586368"/>
                <a:gd name="connsiteY8558" fmla="*/ 253341 h 6479439"/>
                <a:gd name="connsiteX8559" fmla="*/ 3107029 w 9586368"/>
                <a:gd name="connsiteY8559" fmla="*/ 243470 h 6479439"/>
                <a:gd name="connsiteX8560" fmla="*/ 2871737 w 9586368"/>
                <a:gd name="connsiteY8560" fmla="*/ 239432 h 6479439"/>
                <a:gd name="connsiteX8561" fmla="*/ 2881646 w 9586368"/>
                <a:gd name="connsiteY8561" fmla="*/ 239432 h 6479439"/>
                <a:gd name="connsiteX8562" fmla="*/ 2885666 w 9586368"/>
                <a:gd name="connsiteY8562" fmla="*/ 243470 h 6479439"/>
                <a:gd name="connsiteX8563" fmla="*/ 2885666 w 9586368"/>
                <a:gd name="connsiteY8563" fmla="*/ 253341 h 6479439"/>
                <a:gd name="connsiteX8564" fmla="*/ 2881646 w 9586368"/>
                <a:gd name="connsiteY8564" fmla="*/ 257380 h 6479439"/>
                <a:gd name="connsiteX8565" fmla="*/ 2871737 w 9586368"/>
                <a:gd name="connsiteY8565" fmla="*/ 257380 h 6479439"/>
                <a:gd name="connsiteX8566" fmla="*/ 2867717 w 9586368"/>
                <a:gd name="connsiteY8566" fmla="*/ 253341 h 6479439"/>
                <a:gd name="connsiteX8567" fmla="*/ 2867717 w 9586368"/>
                <a:gd name="connsiteY8567" fmla="*/ 243470 h 6479439"/>
                <a:gd name="connsiteX8568" fmla="*/ 3828990 w 9586368"/>
                <a:gd name="connsiteY8568" fmla="*/ 239420 h 6479439"/>
                <a:gd name="connsiteX8569" fmla="*/ 3838899 w 9586368"/>
                <a:gd name="connsiteY8569" fmla="*/ 239420 h 6479439"/>
                <a:gd name="connsiteX8570" fmla="*/ 3842917 w 9586368"/>
                <a:gd name="connsiteY8570" fmla="*/ 243457 h 6479439"/>
                <a:gd name="connsiteX8571" fmla="*/ 3842917 w 9586368"/>
                <a:gd name="connsiteY8571" fmla="*/ 253328 h 6479439"/>
                <a:gd name="connsiteX8572" fmla="*/ 3838899 w 9586368"/>
                <a:gd name="connsiteY8572" fmla="*/ 257367 h 6479439"/>
                <a:gd name="connsiteX8573" fmla="*/ 3828990 w 9586368"/>
                <a:gd name="connsiteY8573" fmla="*/ 257367 h 6479439"/>
                <a:gd name="connsiteX8574" fmla="*/ 3824971 w 9586368"/>
                <a:gd name="connsiteY8574" fmla="*/ 253328 h 6479439"/>
                <a:gd name="connsiteX8575" fmla="*/ 3824971 w 9586368"/>
                <a:gd name="connsiteY8575" fmla="*/ 243457 h 6479439"/>
                <a:gd name="connsiteX8576" fmla="*/ 3589676 w 9586368"/>
                <a:gd name="connsiteY8576" fmla="*/ 239420 h 6479439"/>
                <a:gd name="connsiteX8577" fmla="*/ 3599585 w 9586368"/>
                <a:gd name="connsiteY8577" fmla="*/ 239420 h 6479439"/>
                <a:gd name="connsiteX8578" fmla="*/ 3603604 w 9586368"/>
                <a:gd name="connsiteY8578" fmla="*/ 243457 h 6479439"/>
                <a:gd name="connsiteX8579" fmla="*/ 3603604 w 9586368"/>
                <a:gd name="connsiteY8579" fmla="*/ 253328 h 6479439"/>
                <a:gd name="connsiteX8580" fmla="*/ 3599585 w 9586368"/>
                <a:gd name="connsiteY8580" fmla="*/ 257367 h 6479439"/>
                <a:gd name="connsiteX8581" fmla="*/ 3589676 w 9586368"/>
                <a:gd name="connsiteY8581" fmla="*/ 257367 h 6479439"/>
                <a:gd name="connsiteX8582" fmla="*/ 3585657 w 9586368"/>
                <a:gd name="connsiteY8582" fmla="*/ 253328 h 6479439"/>
                <a:gd name="connsiteX8583" fmla="*/ 3585657 w 9586368"/>
                <a:gd name="connsiteY8583" fmla="*/ 243457 h 6479439"/>
                <a:gd name="connsiteX8584" fmla="*/ 4546929 w 9586368"/>
                <a:gd name="connsiteY8584" fmla="*/ 239419 h 6479439"/>
                <a:gd name="connsiteX8585" fmla="*/ 4556840 w 9586368"/>
                <a:gd name="connsiteY8585" fmla="*/ 239419 h 6479439"/>
                <a:gd name="connsiteX8586" fmla="*/ 4560859 w 9586368"/>
                <a:gd name="connsiteY8586" fmla="*/ 243457 h 6479439"/>
                <a:gd name="connsiteX8587" fmla="*/ 4560859 w 9586368"/>
                <a:gd name="connsiteY8587" fmla="*/ 253328 h 6479439"/>
                <a:gd name="connsiteX8588" fmla="*/ 4556840 w 9586368"/>
                <a:gd name="connsiteY8588" fmla="*/ 257367 h 6479439"/>
                <a:gd name="connsiteX8589" fmla="*/ 4546929 w 9586368"/>
                <a:gd name="connsiteY8589" fmla="*/ 257367 h 6479439"/>
                <a:gd name="connsiteX8590" fmla="*/ 4542910 w 9586368"/>
                <a:gd name="connsiteY8590" fmla="*/ 253328 h 6479439"/>
                <a:gd name="connsiteX8591" fmla="*/ 4542910 w 9586368"/>
                <a:gd name="connsiteY8591" fmla="*/ 243457 h 6479439"/>
                <a:gd name="connsiteX8592" fmla="*/ 4307612 w 9586368"/>
                <a:gd name="connsiteY8592" fmla="*/ 239419 h 6479439"/>
                <a:gd name="connsiteX8593" fmla="*/ 4317523 w 9586368"/>
                <a:gd name="connsiteY8593" fmla="*/ 239419 h 6479439"/>
                <a:gd name="connsiteX8594" fmla="*/ 4321543 w 9586368"/>
                <a:gd name="connsiteY8594" fmla="*/ 243457 h 6479439"/>
                <a:gd name="connsiteX8595" fmla="*/ 4321543 w 9586368"/>
                <a:gd name="connsiteY8595" fmla="*/ 253328 h 6479439"/>
                <a:gd name="connsiteX8596" fmla="*/ 4317523 w 9586368"/>
                <a:gd name="connsiteY8596" fmla="*/ 257367 h 6479439"/>
                <a:gd name="connsiteX8597" fmla="*/ 4307612 w 9586368"/>
                <a:gd name="connsiteY8597" fmla="*/ 257367 h 6479439"/>
                <a:gd name="connsiteX8598" fmla="*/ 4303595 w 9586368"/>
                <a:gd name="connsiteY8598" fmla="*/ 253328 h 6479439"/>
                <a:gd name="connsiteX8599" fmla="*/ 4303595 w 9586368"/>
                <a:gd name="connsiteY8599" fmla="*/ 243457 h 6479439"/>
                <a:gd name="connsiteX8600" fmla="*/ 4068297 w 9586368"/>
                <a:gd name="connsiteY8600" fmla="*/ 239419 h 6479439"/>
                <a:gd name="connsiteX8601" fmla="*/ 4078210 w 9586368"/>
                <a:gd name="connsiteY8601" fmla="*/ 239419 h 6479439"/>
                <a:gd name="connsiteX8602" fmla="*/ 4082229 w 9586368"/>
                <a:gd name="connsiteY8602" fmla="*/ 243457 h 6479439"/>
                <a:gd name="connsiteX8603" fmla="*/ 4082229 w 9586368"/>
                <a:gd name="connsiteY8603" fmla="*/ 253328 h 6479439"/>
                <a:gd name="connsiteX8604" fmla="*/ 4078210 w 9586368"/>
                <a:gd name="connsiteY8604" fmla="*/ 257367 h 6479439"/>
                <a:gd name="connsiteX8605" fmla="*/ 4068297 w 9586368"/>
                <a:gd name="connsiteY8605" fmla="*/ 257367 h 6479439"/>
                <a:gd name="connsiteX8606" fmla="*/ 4064278 w 9586368"/>
                <a:gd name="connsiteY8606" fmla="*/ 253328 h 6479439"/>
                <a:gd name="connsiteX8607" fmla="*/ 4064278 w 9586368"/>
                <a:gd name="connsiteY8607" fmla="*/ 243457 h 6479439"/>
                <a:gd name="connsiteX8608" fmla="*/ 5025470 w 9586368"/>
                <a:gd name="connsiteY8608" fmla="*/ 239407 h 6479439"/>
                <a:gd name="connsiteX8609" fmla="*/ 5035381 w 9586368"/>
                <a:gd name="connsiteY8609" fmla="*/ 239407 h 6479439"/>
                <a:gd name="connsiteX8610" fmla="*/ 5039400 w 9586368"/>
                <a:gd name="connsiteY8610" fmla="*/ 243445 h 6479439"/>
                <a:gd name="connsiteX8611" fmla="*/ 5039400 w 9586368"/>
                <a:gd name="connsiteY8611" fmla="*/ 253316 h 6479439"/>
                <a:gd name="connsiteX8612" fmla="*/ 5035381 w 9586368"/>
                <a:gd name="connsiteY8612" fmla="*/ 257355 h 6479439"/>
                <a:gd name="connsiteX8613" fmla="*/ 5025470 w 9586368"/>
                <a:gd name="connsiteY8613" fmla="*/ 257355 h 6479439"/>
                <a:gd name="connsiteX8614" fmla="*/ 5021451 w 9586368"/>
                <a:gd name="connsiteY8614" fmla="*/ 253316 h 6479439"/>
                <a:gd name="connsiteX8615" fmla="*/ 5021451 w 9586368"/>
                <a:gd name="connsiteY8615" fmla="*/ 243445 h 6479439"/>
                <a:gd name="connsiteX8616" fmla="*/ 4786241 w 9586368"/>
                <a:gd name="connsiteY8616" fmla="*/ 239407 h 6479439"/>
                <a:gd name="connsiteX8617" fmla="*/ 4796152 w 9586368"/>
                <a:gd name="connsiteY8617" fmla="*/ 239407 h 6479439"/>
                <a:gd name="connsiteX8618" fmla="*/ 4800171 w 9586368"/>
                <a:gd name="connsiteY8618" fmla="*/ 243445 h 6479439"/>
                <a:gd name="connsiteX8619" fmla="*/ 4800171 w 9586368"/>
                <a:gd name="connsiteY8619" fmla="*/ 253316 h 6479439"/>
                <a:gd name="connsiteX8620" fmla="*/ 4796152 w 9586368"/>
                <a:gd name="connsiteY8620" fmla="*/ 257355 h 6479439"/>
                <a:gd name="connsiteX8621" fmla="*/ 4786241 w 9586368"/>
                <a:gd name="connsiteY8621" fmla="*/ 257355 h 6479439"/>
                <a:gd name="connsiteX8622" fmla="*/ 4782224 w 9586368"/>
                <a:gd name="connsiteY8622" fmla="*/ 253316 h 6479439"/>
                <a:gd name="connsiteX8623" fmla="*/ 4782224 w 9586368"/>
                <a:gd name="connsiteY8623" fmla="*/ 243445 h 6479439"/>
                <a:gd name="connsiteX8624" fmla="*/ 5743412 w 9586368"/>
                <a:gd name="connsiteY8624" fmla="*/ 239407 h 6479439"/>
                <a:gd name="connsiteX8625" fmla="*/ 5753323 w 9586368"/>
                <a:gd name="connsiteY8625" fmla="*/ 239407 h 6479439"/>
                <a:gd name="connsiteX8626" fmla="*/ 5757342 w 9586368"/>
                <a:gd name="connsiteY8626" fmla="*/ 243445 h 6479439"/>
                <a:gd name="connsiteX8627" fmla="*/ 5757342 w 9586368"/>
                <a:gd name="connsiteY8627" fmla="*/ 253316 h 6479439"/>
                <a:gd name="connsiteX8628" fmla="*/ 5753323 w 9586368"/>
                <a:gd name="connsiteY8628" fmla="*/ 257355 h 6479439"/>
                <a:gd name="connsiteX8629" fmla="*/ 5743412 w 9586368"/>
                <a:gd name="connsiteY8629" fmla="*/ 257355 h 6479439"/>
                <a:gd name="connsiteX8630" fmla="*/ 5739393 w 9586368"/>
                <a:gd name="connsiteY8630" fmla="*/ 253316 h 6479439"/>
                <a:gd name="connsiteX8631" fmla="*/ 5739393 w 9586368"/>
                <a:gd name="connsiteY8631" fmla="*/ 243445 h 6479439"/>
                <a:gd name="connsiteX8632" fmla="*/ 5504099 w 9586368"/>
                <a:gd name="connsiteY8632" fmla="*/ 239407 h 6479439"/>
                <a:gd name="connsiteX8633" fmla="*/ 5514010 w 9586368"/>
                <a:gd name="connsiteY8633" fmla="*/ 239407 h 6479439"/>
                <a:gd name="connsiteX8634" fmla="*/ 5518029 w 9586368"/>
                <a:gd name="connsiteY8634" fmla="*/ 243445 h 6479439"/>
                <a:gd name="connsiteX8635" fmla="*/ 5518029 w 9586368"/>
                <a:gd name="connsiteY8635" fmla="*/ 253316 h 6479439"/>
                <a:gd name="connsiteX8636" fmla="*/ 5514010 w 9586368"/>
                <a:gd name="connsiteY8636" fmla="*/ 257355 h 6479439"/>
                <a:gd name="connsiteX8637" fmla="*/ 5504099 w 9586368"/>
                <a:gd name="connsiteY8637" fmla="*/ 257355 h 6479439"/>
                <a:gd name="connsiteX8638" fmla="*/ 5500080 w 9586368"/>
                <a:gd name="connsiteY8638" fmla="*/ 253316 h 6479439"/>
                <a:gd name="connsiteX8639" fmla="*/ 5500080 w 9586368"/>
                <a:gd name="connsiteY8639" fmla="*/ 243445 h 6479439"/>
                <a:gd name="connsiteX8640" fmla="*/ 5264784 w 9586368"/>
                <a:gd name="connsiteY8640" fmla="*/ 239407 h 6479439"/>
                <a:gd name="connsiteX8641" fmla="*/ 5274694 w 9586368"/>
                <a:gd name="connsiteY8641" fmla="*/ 239407 h 6479439"/>
                <a:gd name="connsiteX8642" fmla="*/ 5278713 w 9586368"/>
                <a:gd name="connsiteY8642" fmla="*/ 243445 h 6479439"/>
                <a:gd name="connsiteX8643" fmla="*/ 5278713 w 9586368"/>
                <a:gd name="connsiteY8643" fmla="*/ 253316 h 6479439"/>
                <a:gd name="connsiteX8644" fmla="*/ 5274694 w 9586368"/>
                <a:gd name="connsiteY8644" fmla="*/ 257355 h 6479439"/>
                <a:gd name="connsiteX8645" fmla="*/ 5264784 w 9586368"/>
                <a:gd name="connsiteY8645" fmla="*/ 257355 h 6479439"/>
                <a:gd name="connsiteX8646" fmla="*/ 5260765 w 9586368"/>
                <a:gd name="connsiteY8646" fmla="*/ 253316 h 6479439"/>
                <a:gd name="connsiteX8647" fmla="*/ 5260765 w 9586368"/>
                <a:gd name="connsiteY8647" fmla="*/ 243445 h 6479439"/>
                <a:gd name="connsiteX8648" fmla="*/ 6222042 w 9586368"/>
                <a:gd name="connsiteY8648" fmla="*/ 239395 h 6479439"/>
                <a:gd name="connsiteX8649" fmla="*/ 6231952 w 9586368"/>
                <a:gd name="connsiteY8649" fmla="*/ 239395 h 6479439"/>
                <a:gd name="connsiteX8650" fmla="*/ 6235971 w 9586368"/>
                <a:gd name="connsiteY8650" fmla="*/ 243432 h 6479439"/>
                <a:gd name="connsiteX8651" fmla="*/ 6235971 w 9586368"/>
                <a:gd name="connsiteY8651" fmla="*/ 253303 h 6479439"/>
                <a:gd name="connsiteX8652" fmla="*/ 6231952 w 9586368"/>
                <a:gd name="connsiteY8652" fmla="*/ 257342 h 6479439"/>
                <a:gd name="connsiteX8653" fmla="*/ 6222042 w 9586368"/>
                <a:gd name="connsiteY8653" fmla="*/ 257342 h 6479439"/>
                <a:gd name="connsiteX8654" fmla="*/ 6218023 w 9586368"/>
                <a:gd name="connsiteY8654" fmla="*/ 253303 h 6479439"/>
                <a:gd name="connsiteX8655" fmla="*/ 6218023 w 9586368"/>
                <a:gd name="connsiteY8655" fmla="*/ 243432 h 6479439"/>
                <a:gd name="connsiteX8656" fmla="*/ 5982729 w 9586368"/>
                <a:gd name="connsiteY8656" fmla="*/ 239395 h 6479439"/>
                <a:gd name="connsiteX8657" fmla="*/ 5992639 w 9586368"/>
                <a:gd name="connsiteY8657" fmla="*/ 239395 h 6479439"/>
                <a:gd name="connsiteX8658" fmla="*/ 5996658 w 9586368"/>
                <a:gd name="connsiteY8658" fmla="*/ 243433 h 6479439"/>
                <a:gd name="connsiteX8659" fmla="*/ 5996658 w 9586368"/>
                <a:gd name="connsiteY8659" fmla="*/ 253303 h 6479439"/>
                <a:gd name="connsiteX8660" fmla="*/ 5992639 w 9586368"/>
                <a:gd name="connsiteY8660" fmla="*/ 257342 h 6479439"/>
                <a:gd name="connsiteX8661" fmla="*/ 5982729 w 9586368"/>
                <a:gd name="connsiteY8661" fmla="*/ 257342 h 6479439"/>
                <a:gd name="connsiteX8662" fmla="*/ 5978710 w 9586368"/>
                <a:gd name="connsiteY8662" fmla="*/ 253303 h 6479439"/>
                <a:gd name="connsiteX8663" fmla="*/ 5978710 w 9586368"/>
                <a:gd name="connsiteY8663" fmla="*/ 243433 h 6479439"/>
                <a:gd name="connsiteX8664" fmla="*/ 6939983 w 9586368"/>
                <a:gd name="connsiteY8664" fmla="*/ 239394 h 6479439"/>
                <a:gd name="connsiteX8665" fmla="*/ 6949894 w 9586368"/>
                <a:gd name="connsiteY8665" fmla="*/ 239394 h 6479439"/>
                <a:gd name="connsiteX8666" fmla="*/ 6953913 w 9586368"/>
                <a:gd name="connsiteY8666" fmla="*/ 243432 h 6479439"/>
                <a:gd name="connsiteX8667" fmla="*/ 6953913 w 9586368"/>
                <a:gd name="connsiteY8667" fmla="*/ 253303 h 6479439"/>
                <a:gd name="connsiteX8668" fmla="*/ 6949894 w 9586368"/>
                <a:gd name="connsiteY8668" fmla="*/ 257342 h 6479439"/>
                <a:gd name="connsiteX8669" fmla="*/ 6939983 w 9586368"/>
                <a:gd name="connsiteY8669" fmla="*/ 257342 h 6479439"/>
                <a:gd name="connsiteX8670" fmla="*/ 6935964 w 9586368"/>
                <a:gd name="connsiteY8670" fmla="*/ 253303 h 6479439"/>
                <a:gd name="connsiteX8671" fmla="*/ 6935964 w 9586368"/>
                <a:gd name="connsiteY8671" fmla="*/ 243432 h 6479439"/>
                <a:gd name="connsiteX8672" fmla="*/ 6700670 w 9586368"/>
                <a:gd name="connsiteY8672" fmla="*/ 239394 h 6479439"/>
                <a:gd name="connsiteX8673" fmla="*/ 6710581 w 9586368"/>
                <a:gd name="connsiteY8673" fmla="*/ 239394 h 6479439"/>
                <a:gd name="connsiteX8674" fmla="*/ 6714600 w 9586368"/>
                <a:gd name="connsiteY8674" fmla="*/ 243432 h 6479439"/>
                <a:gd name="connsiteX8675" fmla="*/ 6714600 w 9586368"/>
                <a:gd name="connsiteY8675" fmla="*/ 253303 h 6479439"/>
                <a:gd name="connsiteX8676" fmla="*/ 6710581 w 9586368"/>
                <a:gd name="connsiteY8676" fmla="*/ 257342 h 6479439"/>
                <a:gd name="connsiteX8677" fmla="*/ 6700670 w 9586368"/>
                <a:gd name="connsiteY8677" fmla="*/ 257342 h 6479439"/>
                <a:gd name="connsiteX8678" fmla="*/ 6696651 w 9586368"/>
                <a:gd name="connsiteY8678" fmla="*/ 253303 h 6479439"/>
                <a:gd name="connsiteX8679" fmla="*/ 6696651 w 9586368"/>
                <a:gd name="connsiteY8679" fmla="*/ 243432 h 6479439"/>
                <a:gd name="connsiteX8680" fmla="*/ 6461356 w 9586368"/>
                <a:gd name="connsiteY8680" fmla="*/ 239394 h 6479439"/>
                <a:gd name="connsiteX8681" fmla="*/ 6471266 w 9586368"/>
                <a:gd name="connsiteY8681" fmla="*/ 239394 h 6479439"/>
                <a:gd name="connsiteX8682" fmla="*/ 6475285 w 9586368"/>
                <a:gd name="connsiteY8682" fmla="*/ 243432 h 6479439"/>
                <a:gd name="connsiteX8683" fmla="*/ 6475285 w 9586368"/>
                <a:gd name="connsiteY8683" fmla="*/ 253303 h 6479439"/>
                <a:gd name="connsiteX8684" fmla="*/ 6471266 w 9586368"/>
                <a:gd name="connsiteY8684" fmla="*/ 257342 h 6479439"/>
                <a:gd name="connsiteX8685" fmla="*/ 6461356 w 9586368"/>
                <a:gd name="connsiteY8685" fmla="*/ 257342 h 6479439"/>
                <a:gd name="connsiteX8686" fmla="*/ 6457337 w 9586368"/>
                <a:gd name="connsiteY8686" fmla="*/ 253303 h 6479439"/>
                <a:gd name="connsiteX8687" fmla="*/ 6457337 w 9586368"/>
                <a:gd name="connsiteY8687" fmla="*/ 243432 h 6479439"/>
                <a:gd name="connsiteX8688" fmla="*/ 7418611 w 9586368"/>
                <a:gd name="connsiteY8688" fmla="*/ 239382 h 6479439"/>
                <a:gd name="connsiteX8689" fmla="*/ 7428521 w 9586368"/>
                <a:gd name="connsiteY8689" fmla="*/ 239382 h 6479439"/>
                <a:gd name="connsiteX8690" fmla="*/ 7432540 w 9586368"/>
                <a:gd name="connsiteY8690" fmla="*/ 243420 h 6479439"/>
                <a:gd name="connsiteX8691" fmla="*/ 7432540 w 9586368"/>
                <a:gd name="connsiteY8691" fmla="*/ 253291 h 6479439"/>
                <a:gd name="connsiteX8692" fmla="*/ 7428521 w 9586368"/>
                <a:gd name="connsiteY8692" fmla="*/ 257330 h 6479439"/>
                <a:gd name="connsiteX8693" fmla="*/ 7418611 w 9586368"/>
                <a:gd name="connsiteY8693" fmla="*/ 257330 h 6479439"/>
                <a:gd name="connsiteX8694" fmla="*/ 7414592 w 9586368"/>
                <a:gd name="connsiteY8694" fmla="*/ 253291 h 6479439"/>
                <a:gd name="connsiteX8695" fmla="*/ 7414592 w 9586368"/>
                <a:gd name="connsiteY8695" fmla="*/ 243420 h 6479439"/>
                <a:gd name="connsiteX8696" fmla="*/ 7179298 w 9586368"/>
                <a:gd name="connsiteY8696" fmla="*/ 239382 h 6479439"/>
                <a:gd name="connsiteX8697" fmla="*/ 7189209 w 9586368"/>
                <a:gd name="connsiteY8697" fmla="*/ 239382 h 6479439"/>
                <a:gd name="connsiteX8698" fmla="*/ 7193228 w 9586368"/>
                <a:gd name="connsiteY8698" fmla="*/ 243421 h 6479439"/>
                <a:gd name="connsiteX8699" fmla="*/ 7193228 w 9586368"/>
                <a:gd name="connsiteY8699" fmla="*/ 253292 h 6479439"/>
                <a:gd name="connsiteX8700" fmla="*/ 7189209 w 9586368"/>
                <a:gd name="connsiteY8700" fmla="*/ 257330 h 6479439"/>
                <a:gd name="connsiteX8701" fmla="*/ 7179298 w 9586368"/>
                <a:gd name="connsiteY8701" fmla="*/ 257330 h 6479439"/>
                <a:gd name="connsiteX8702" fmla="*/ 7175279 w 9586368"/>
                <a:gd name="connsiteY8702" fmla="*/ 253292 h 6479439"/>
                <a:gd name="connsiteX8703" fmla="*/ 7175279 w 9586368"/>
                <a:gd name="connsiteY8703" fmla="*/ 243421 h 6479439"/>
                <a:gd name="connsiteX8704" fmla="*/ 8136553 w 9586368"/>
                <a:gd name="connsiteY8704" fmla="*/ 239382 h 6479439"/>
                <a:gd name="connsiteX8705" fmla="*/ 8146464 w 9586368"/>
                <a:gd name="connsiteY8705" fmla="*/ 239382 h 6479439"/>
                <a:gd name="connsiteX8706" fmla="*/ 8150483 w 9586368"/>
                <a:gd name="connsiteY8706" fmla="*/ 243420 h 6479439"/>
                <a:gd name="connsiteX8707" fmla="*/ 8150483 w 9586368"/>
                <a:gd name="connsiteY8707" fmla="*/ 253291 h 6479439"/>
                <a:gd name="connsiteX8708" fmla="*/ 8146464 w 9586368"/>
                <a:gd name="connsiteY8708" fmla="*/ 257330 h 6479439"/>
                <a:gd name="connsiteX8709" fmla="*/ 8136553 w 9586368"/>
                <a:gd name="connsiteY8709" fmla="*/ 257330 h 6479439"/>
                <a:gd name="connsiteX8710" fmla="*/ 8132534 w 9586368"/>
                <a:gd name="connsiteY8710" fmla="*/ 253291 h 6479439"/>
                <a:gd name="connsiteX8711" fmla="*/ 8132534 w 9586368"/>
                <a:gd name="connsiteY8711" fmla="*/ 243420 h 6479439"/>
                <a:gd name="connsiteX8712" fmla="*/ 7897241 w 9586368"/>
                <a:gd name="connsiteY8712" fmla="*/ 239382 h 6479439"/>
                <a:gd name="connsiteX8713" fmla="*/ 7907151 w 9586368"/>
                <a:gd name="connsiteY8713" fmla="*/ 239382 h 6479439"/>
                <a:gd name="connsiteX8714" fmla="*/ 7911170 w 9586368"/>
                <a:gd name="connsiteY8714" fmla="*/ 243420 h 6479439"/>
                <a:gd name="connsiteX8715" fmla="*/ 7911170 w 9586368"/>
                <a:gd name="connsiteY8715" fmla="*/ 253291 h 6479439"/>
                <a:gd name="connsiteX8716" fmla="*/ 7907151 w 9586368"/>
                <a:gd name="connsiteY8716" fmla="*/ 257330 h 6479439"/>
                <a:gd name="connsiteX8717" fmla="*/ 7897241 w 9586368"/>
                <a:gd name="connsiteY8717" fmla="*/ 257330 h 6479439"/>
                <a:gd name="connsiteX8718" fmla="*/ 7893222 w 9586368"/>
                <a:gd name="connsiteY8718" fmla="*/ 253291 h 6479439"/>
                <a:gd name="connsiteX8719" fmla="*/ 7893222 w 9586368"/>
                <a:gd name="connsiteY8719" fmla="*/ 243420 h 6479439"/>
                <a:gd name="connsiteX8720" fmla="*/ 7657926 w 9586368"/>
                <a:gd name="connsiteY8720" fmla="*/ 239382 h 6479439"/>
                <a:gd name="connsiteX8721" fmla="*/ 7667836 w 9586368"/>
                <a:gd name="connsiteY8721" fmla="*/ 239382 h 6479439"/>
                <a:gd name="connsiteX8722" fmla="*/ 7671855 w 9586368"/>
                <a:gd name="connsiteY8722" fmla="*/ 243420 h 6479439"/>
                <a:gd name="connsiteX8723" fmla="*/ 7671855 w 9586368"/>
                <a:gd name="connsiteY8723" fmla="*/ 253291 h 6479439"/>
                <a:gd name="connsiteX8724" fmla="*/ 7667836 w 9586368"/>
                <a:gd name="connsiteY8724" fmla="*/ 257330 h 6479439"/>
                <a:gd name="connsiteX8725" fmla="*/ 7657926 w 9586368"/>
                <a:gd name="connsiteY8725" fmla="*/ 257330 h 6479439"/>
                <a:gd name="connsiteX8726" fmla="*/ 7653906 w 9586368"/>
                <a:gd name="connsiteY8726" fmla="*/ 253291 h 6479439"/>
                <a:gd name="connsiteX8727" fmla="*/ 7653906 w 9586368"/>
                <a:gd name="connsiteY8727" fmla="*/ 243420 h 6479439"/>
                <a:gd name="connsiteX8728" fmla="*/ 1679220 w 9586368"/>
                <a:gd name="connsiteY8728" fmla="*/ 239371 h 6479439"/>
                <a:gd name="connsiteX8729" fmla="*/ 1689131 w 9586368"/>
                <a:gd name="connsiteY8729" fmla="*/ 239371 h 6479439"/>
                <a:gd name="connsiteX8730" fmla="*/ 1693150 w 9586368"/>
                <a:gd name="connsiteY8730" fmla="*/ 243409 h 6479439"/>
                <a:gd name="connsiteX8731" fmla="*/ 1693150 w 9586368"/>
                <a:gd name="connsiteY8731" fmla="*/ 253280 h 6479439"/>
                <a:gd name="connsiteX8732" fmla="*/ 1689131 w 9586368"/>
                <a:gd name="connsiteY8732" fmla="*/ 257319 h 6479439"/>
                <a:gd name="connsiteX8733" fmla="*/ 1679220 w 9586368"/>
                <a:gd name="connsiteY8733" fmla="*/ 257319 h 6479439"/>
                <a:gd name="connsiteX8734" fmla="*/ 1675202 w 9586368"/>
                <a:gd name="connsiteY8734" fmla="*/ 253280 h 6479439"/>
                <a:gd name="connsiteX8735" fmla="*/ 1675202 w 9586368"/>
                <a:gd name="connsiteY8735" fmla="*/ 243409 h 6479439"/>
                <a:gd name="connsiteX8736" fmla="*/ 1439902 w 9586368"/>
                <a:gd name="connsiteY8736" fmla="*/ 239371 h 6479439"/>
                <a:gd name="connsiteX8737" fmla="*/ 1449813 w 9586368"/>
                <a:gd name="connsiteY8737" fmla="*/ 239371 h 6479439"/>
                <a:gd name="connsiteX8738" fmla="*/ 1453832 w 9586368"/>
                <a:gd name="connsiteY8738" fmla="*/ 243409 h 6479439"/>
                <a:gd name="connsiteX8739" fmla="*/ 1453832 w 9586368"/>
                <a:gd name="connsiteY8739" fmla="*/ 253280 h 6479439"/>
                <a:gd name="connsiteX8740" fmla="*/ 1449813 w 9586368"/>
                <a:gd name="connsiteY8740" fmla="*/ 257319 h 6479439"/>
                <a:gd name="connsiteX8741" fmla="*/ 1439902 w 9586368"/>
                <a:gd name="connsiteY8741" fmla="*/ 257319 h 6479439"/>
                <a:gd name="connsiteX8742" fmla="*/ 1435884 w 9586368"/>
                <a:gd name="connsiteY8742" fmla="*/ 253280 h 6479439"/>
                <a:gd name="connsiteX8743" fmla="*/ 1435884 w 9586368"/>
                <a:gd name="connsiteY8743" fmla="*/ 243409 h 6479439"/>
                <a:gd name="connsiteX8744" fmla="*/ 1200587 w 9586368"/>
                <a:gd name="connsiteY8744" fmla="*/ 239371 h 6479439"/>
                <a:gd name="connsiteX8745" fmla="*/ 1210496 w 9586368"/>
                <a:gd name="connsiteY8745" fmla="*/ 239371 h 6479439"/>
                <a:gd name="connsiteX8746" fmla="*/ 1214515 w 9586368"/>
                <a:gd name="connsiteY8746" fmla="*/ 243409 h 6479439"/>
                <a:gd name="connsiteX8747" fmla="*/ 1214515 w 9586368"/>
                <a:gd name="connsiteY8747" fmla="*/ 253280 h 6479439"/>
                <a:gd name="connsiteX8748" fmla="*/ 1210496 w 9586368"/>
                <a:gd name="connsiteY8748" fmla="*/ 257319 h 6479439"/>
                <a:gd name="connsiteX8749" fmla="*/ 1200587 w 9586368"/>
                <a:gd name="connsiteY8749" fmla="*/ 257319 h 6479439"/>
                <a:gd name="connsiteX8750" fmla="*/ 1196567 w 9586368"/>
                <a:gd name="connsiteY8750" fmla="*/ 253280 h 6479439"/>
                <a:gd name="connsiteX8751" fmla="*/ 1196567 w 9586368"/>
                <a:gd name="connsiteY8751" fmla="*/ 243409 h 6479439"/>
                <a:gd name="connsiteX8752" fmla="*/ 961273 w 9586368"/>
                <a:gd name="connsiteY8752" fmla="*/ 239371 h 6479439"/>
                <a:gd name="connsiteX8753" fmla="*/ 971184 w 9586368"/>
                <a:gd name="connsiteY8753" fmla="*/ 239371 h 6479439"/>
                <a:gd name="connsiteX8754" fmla="*/ 975203 w 9586368"/>
                <a:gd name="connsiteY8754" fmla="*/ 243409 h 6479439"/>
                <a:gd name="connsiteX8755" fmla="*/ 975203 w 9586368"/>
                <a:gd name="connsiteY8755" fmla="*/ 253280 h 6479439"/>
                <a:gd name="connsiteX8756" fmla="*/ 971184 w 9586368"/>
                <a:gd name="connsiteY8756" fmla="*/ 257319 h 6479439"/>
                <a:gd name="connsiteX8757" fmla="*/ 961273 w 9586368"/>
                <a:gd name="connsiteY8757" fmla="*/ 257319 h 6479439"/>
                <a:gd name="connsiteX8758" fmla="*/ 957255 w 9586368"/>
                <a:gd name="connsiteY8758" fmla="*/ 253280 h 6479439"/>
                <a:gd name="connsiteX8759" fmla="*/ 957255 w 9586368"/>
                <a:gd name="connsiteY8759" fmla="*/ 243409 h 6479439"/>
                <a:gd name="connsiteX8760" fmla="*/ 8615184 w 9586368"/>
                <a:gd name="connsiteY8760" fmla="*/ 239370 h 6479439"/>
                <a:gd name="connsiteX8761" fmla="*/ 8625095 w 9586368"/>
                <a:gd name="connsiteY8761" fmla="*/ 239370 h 6479439"/>
                <a:gd name="connsiteX8762" fmla="*/ 8629114 w 9586368"/>
                <a:gd name="connsiteY8762" fmla="*/ 243408 h 6479439"/>
                <a:gd name="connsiteX8763" fmla="*/ 8629114 w 9586368"/>
                <a:gd name="connsiteY8763" fmla="*/ 253278 h 6479439"/>
                <a:gd name="connsiteX8764" fmla="*/ 8625095 w 9586368"/>
                <a:gd name="connsiteY8764" fmla="*/ 257317 h 6479439"/>
                <a:gd name="connsiteX8765" fmla="*/ 8615184 w 9586368"/>
                <a:gd name="connsiteY8765" fmla="*/ 257317 h 6479439"/>
                <a:gd name="connsiteX8766" fmla="*/ 8611165 w 9586368"/>
                <a:gd name="connsiteY8766" fmla="*/ 253278 h 6479439"/>
                <a:gd name="connsiteX8767" fmla="*/ 8611165 w 9586368"/>
                <a:gd name="connsiteY8767" fmla="*/ 243408 h 6479439"/>
                <a:gd name="connsiteX8768" fmla="*/ 8375869 w 9586368"/>
                <a:gd name="connsiteY8768" fmla="*/ 239370 h 6479439"/>
                <a:gd name="connsiteX8769" fmla="*/ 8385779 w 9586368"/>
                <a:gd name="connsiteY8769" fmla="*/ 239370 h 6479439"/>
                <a:gd name="connsiteX8770" fmla="*/ 8389799 w 9586368"/>
                <a:gd name="connsiteY8770" fmla="*/ 243408 h 6479439"/>
                <a:gd name="connsiteX8771" fmla="*/ 8389799 w 9586368"/>
                <a:gd name="connsiteY8771" fmla="*/ 253279 h 6479439"/>
                <a:gd name="connsiteX8772" fmla="*/ 8385779 w 9586368"/>
                <a:gd name="connsiteY8772" fmla="*/ 257318 h 6479439"/>
                <a:gd name="connsiteX8773" fmla="*/ 8375869 w 9586368"/>
                <a:gd name="connsiteY8773" fmla="*/ 257318 h 6479439"/>
                <a:gd name="connsiteX8774" fmla="*/ 8371850 w 9586368"/>
                <a:gd name="connsiteY8774" fmla="*/ 253279 h 6479439"/>
                <a:gd name="connsiteX8775" fmla="*/ 8371850 w 9586368"/>
                <a:gd name="connsiteY8775" fmla="*/ 243408 h 6479439"/>
                <a:gd name="connsiteX8776" fmla="*/ 9333125 w 9586368"/>
                <a:gd name="connsiteY8776" fmla="*/ 239369 h 6479439"/>
                <a:gd name="connsiteX8777" fmla="*/ 9343036 w 9586368"/>
                <a:gd name="connsiteY8777" fmla="*/ 239369 h 6479439"/>
                <a:gd name="connsiteX8778" fmla="*/ 9347055 w 9586368"/>
                <a:gd name="connsiteY8778" fmla="*/ 243407 h 6479439"/>
                <a:gd name="connsiteX8779" fmla="*/ 9347055 w 9586368"/>
                <a:gd name="connsiteY8779" fmla="*/ 253278 h 6479439"/>
                <a:gd name="connsiteX8780" fmla="*/ 9343036 w 9586368"/>
                <a:gd name="connsiteY8780" fmla="*/ 257317 h 6479439"/>
                <a:gd name="connsiteX8781" fmla="*/ 9333125 w 9586368"/>
                <a:gd name="connsiteY8781" fmla="*/ 257317 h 6479439"/>
                <a:gd name="connsiteX8782" fmla="*/ 9329106 w 9586368"/>
                <a:gd name="connsiteY8782" fmla="*/ 253278 h 6479439"/>
                <a:gd name="connsiteX8783" fmla="*/ 9329106 w 9586368"/>
                <a:gd name="connsiteY8783" fmla="*/ 243407 h 6479439"/>
                <a:gd name="connsiteX8784" fmla="*/ 9093811 w 9586368"/>
                <a:gd name="connsiteY8784" fmla="*/ 239369 h 6479439"/>
                <a:gd name="connsiteX8785" fmla="*/ 9103722 w 9586368"/>
                <a:gd name="connsiteY8785" fmla="*/ 239369 h 6479439"/>
                <a:gd name="connsiteX8786" fmla="*/ 9107741 w 9586368"/>
                <a:gd name="connsiteY8786" fmla="*/ 243407 h 6479439"/>
                <a:gd name="connsiteX8787" fmla="*/ 9107741 w 9586368"/>
                <a:gd name="connsiteY8787" fmla="*/ 253278 h 6479439"/>
                <a:gd name="connsiteX8788" fmla="*/ 9103722 w 9586368"/>
                <a:gd name="connsiteY8788" fmla="*/ 257317 h 6479439"/>
                <a:gd name="connsiteX8789" fmla="*/ 9093811 w 9586368"/>
                <a:gd name="connsiteY8789" fmla="*/ 257317 h 6479439"/>
                <a:gd name="connsiteX8790" fmla="*/ 9089792 w 9586368"/>
                <a:gd name="connsiteY8790" fmla="*/ 253278 h 6479439"/>
                <a:gd name="connsiteX8791" fmla="*/ 9089792 w 9586368"/>
                <a:gd name="connsiteY8791" fmla="*/ 243407 h 6479439"/>
                <a:gd name="connsiteX8792" fmla="*/ 8854496 w 9586368"/>
                <a:gd name="connsiteY8792" fmla="*/ 239369 h 6479439"/>
                <a:gd name="connsiteX8793" fmla="*/ 8864407 w 9586368"/>
                <a:gd name="connsiteY8793" fmla="*/ 239369 h 6479439"/>
                <a:gd name="connsiteX8794" fmla="*/ 8868426 w 9586368"/>
                <a:gd name="connsiteY8794" fmla="*/ 243407 h 6479439"/>
                <a:gd name="connsiteX8795" fmla="*/ 8868426 w 9586368"/>
                <a:gd name="connsiteY8795" fmla="*/ 253278 h 6479439"/>
                <a:gd name="connsiteX8796" fmla="*/ 8864407 w 9586368"/>
                <a:gd name="connsiteY8796" fmla="*/ 257317 h 6479439"/>
                <a:gd name="connsiteX8797" fmla="*/ 8854496 w 9586368"/>
                <a:gd name="connsiteY8797" fmla="*/ 257317 h 6479439"/>
                <a:gd name="connsiteX8798" fmla="*/ 8850477 w 9586368"/>
                <a:gd name="connsiteY8798" fmla="*/ 253278 h 6479439"/>
                <a:gd name="connsiteX8799" fmla="*/ 8850477 w 9586368"/>
                <a:gd name="connsiteY8799" fmla="*/ 243407 h 6479439"/>
                <a:gd name="connsiteX8800" fmla="*/ 1918515 w 9586368"/>
                <a:gd name="connsiteY8800" fmla="*/ 239361 h 6479439"/>
                <a:gd name="connsiteX8801" fmla="*/ 1928425 w 9586368"/>
                <a:gd name="connsiteY8801" fmla="*/ 239361 h 6479439"/>
                <a:gd name="connsiteX8802" fmla="*/ 1932444 w 9586368"/>
                <a:gd name="connsiteY8802" fmla="*/ 243400 h 6479439"/>
                <a:gd name="connsiteX8803" fmla="*/ 1932444 w 9586368"/>
                <a:gd name="connsiteY8803" fmla="*/ 253271 h 6479439"/>
                <a:gd name="connsiteX8804" fmla="*/ 1928425 w 9586368"/>
                <a:gd name="connsiteY8804" fmla="*/ 257310 h 6479439"/>
                <a:gd name="connsiteX8805" fmla="*/ 1918515 w 9586368"/>
                <a:gd name="connsiteY8805" fmla="*/ 257310 h 6479439"/>
                <a:gd name="connsiteX8806" fmla="*/ 1914495 w 9586368"/>
                <a:gd name="connsiteY8806" fmla="*/ 253271 h 6479439"/>
                <a:gd name="connsiteX8807" fmla="*/ 1914495 w 9586368"/>
                <a:gd name="connsiteY8807" fmla="*/ 243400 h 6479439"/>
                <a:gd name="connsiteX8808" fmla="*/ 2157824 w 9586368"/>
                <a:gd name="connsiteY8808" fmla="*/ 239359 h 6479439"/>
                <a:gd name="connsiteX8809" fmla="*/ 2167734 w 9586368"/>
                <a:gd name="connsiteY8809" fmla="*/ 239359 h 6479439"/>
                <a:gd name="connsiteX8810" fmla="*/ 2171753 w 9586368"/>
                <a:gd name="connsiteY8810" fmla="*/ 243397 h 6479439"/>
                <a:gd name="connsiteX8811" fmla="*/ 2171753 w 9586368"/>
                <a:gd name="connsiteY8811" fmla="*/ 253268 h 6479439"/>
                <a:gd name="connsiteX8812" fmla="*/ 2167734 w 9586368"/>
                <a:gd name="connsiteY8812" fmla="*/ 257307 h 6479439"/>
                <a:gd name="connsiteX8813" fmla="*/ 2157824 w 9586368"/>
                <a:gd name="connsiteY8813" fmla="*/ 257307 h 6479439"/>
                <a:gd name="connsiteX8814" fmla="*/ 2153804 w 9586368"/>
                <a:gd name="connsiteY8814" fmla="*/ 253268 h 6479439"/>
                <a:gd name="connsiteX8815" fmla="*/ 2153804 w 9586368"/>
                <a:gd name="connsiteY8815" fmla="*/ 243397 h 6479439"/>
                <a:gd name="connsiteX8816" fmla="*/ 9572438 w 9586368"/>
                <a:gd name="connsiteY8816" fmla="*/ 239357 h 6479439"/>
                <a:gd name="connsiteX8817" fmla="*/ 9582349 w 9586368"/>
                <a:gd name="connsiteY8817" fmla="*/ 239357 h 6479439"/>
                <a:gd name="connsiteX8818" fmla="*/ 9586368 w 9586368"/>
                <a:gd name="connsiteY8818" fmla="*/ 243395 h 6479439"/>
                <a:gd name="connsiteX8819" fmla="*/ 9586368 w 9586368"/>
                <a:gd name="connsiteY8819" fmla="*/ 253267 h 6479439"/>
                <a:gd name="connsiteX8820" fmla="*/ 9582349 w 9586368"/>
                <a:gd name="connsiteY8820" fmla="*/ 257306 h 6479439"/>
                <a:gd name="connsiteX8821" fmla="*/ 9572438 w 9586368"/>
                <a:gd name="connsiteY8821" fmla="*/ 257306 h 6479439"/>
                <a:gd name="connsiteX8822" fmla="*/ 9568419 w 9586368"/>
                <a:gd name="connsiteY8822" fmla="*/ 253267 h 6479439"/>
                <a:gd name="connsiteX8823" fmla="*/ 9568419 w 9586368"/>
                <a:gd name="connsiteY8823" fmla="*/ 243395 h 6479439"/>
                <a:gd name="connsiteX8824" fmla="*/ 721976 w 9586368"/>
                <a:gd name="connsiteY8824" fmla="*/ 239330 h 6479439"/>
                <a:gd name="connsiteX8825" fmla="*/ 731887 w 9586368"/>
                <a:gd name="connsiteY8825" fmla="*/ 239330 h 6479439"/>
                <a:gd name="connsiteX8826" fmla="*/ 735906 w 9586368"/>
                <a:gd name="connsiteY8826" fmla="*/ 243368 h 6479439"/>
                <a:gd name="connsiteX8827" fmla="*/ 735906 w 9586368"/>
                <a:gd name="connsiteY8827" fmla="*/ 253239 h 6479439"/>
                <a:gd name="connsiteX8828" fmla="*/ 731887 w 9586368"/>
                <a:gd name="connsiteY8828" fmla="*/ 257278 h 6479439"/>
                <a:gd name="connsiteX8829" fmla="*/ 721976 w 9586368"/>
                <a:gd name="connsiteY8829" fmla="*/ 257278 h 6479439"/>
                <a:gd name="connsiteX8830" fmla="*/ 717958 w 9586368"/>
                <a:gd name="connsiteY8830" fmla="*/ 253239 h 6479439"/>
                <a:gd name="connsiteX8831" fmla="*/ 717958 w 9586368"/>
                <a:gd name="connsiteY8831" fmla="*/ 243368 h 6479439"/>
                <a:gd name="connsiteX8832" fmla="*/ 482664 w 9586368"/>
                <a:gd name="connsiteY8832" fmla="*/ 239330 h 6479439"/>
                <a:gd name="connsiteX8833" fmla="*/ 492575 w 9586368"/>
                <a:gd name="connsiteY8833" fmla="*/ 239330 h 6479439"/>
                <a:gd name="connsiteX8834" fmla="*/ 496594 w 9586368"/>
                <a:gd name="connsiteY8834" fmla="*/ 243368 h 6479439"/>
                <a:gd name="connsiteX8835" fmla="*/ 496594 w 9586368"/>
                <a:gd name="connsiteY8835" fmla="*/ 253239 h 6479439"/>
                <a:gd name="connsiteX8836" fmla="*/ 492575 w 9586368"/>
                <a:gd name="connsiteY8836" fmla="*/ 257278 h 6479439"/>
                <a:gd name="connsiteX8837" fmla="*/ 482664 w 9586368"/>
                <a:gd name="connsiteY8837" fmla="*/ 257278 h 6479439"/>
                <a:gd name="connsiteX8838" fmla="*/ 478645 w 9586368"/>
                <a:gd name="connsiteY8838" fmla="*/ 253239 h 6479439"/>
                <a:gd name="connsiteX8839" fmla="*/ 478645 w 9586368"/>
                <a:gd name="connsiteY8839" fmla="*/ 243368 h 6479439"/>
                <a:gd name="connsiteX8840" fmla="*/ 243350 w 9586368"/>
                <a:gd name="connsiteY8840" fmla="*/ 239330 h 6479439"/>
                <a:gd name="connsiteX8841" fmla="*/ 253261 w 9586368"/>
                <a:gd name="connsiteY8841" fmla="*/ 239330 h 6479439"/>
                <a:gd name="connsiteX8842" fmla="*/ 257280 w 9586368"/>
                <a:gd name="connsiteY8842" fmla="*/ 243368 h 6479439"/>
                <a:gd name="connsiteX8843" fmla="*/ 257280 w 9586368"/>
                <a:gd name="connsiteY8843" fmla="*/ 253239 h 6479439"/>
                <a:gd name="connsiteX8844" fmla="*/ 253261 w 9586368"/>
                <a:gd name="connsiteY8844" fmla="*/ 257278 h 6479439"/>
                <a:gd name="connsiteX8845" fmla="*/ 243350 w 9586368"/>
                <a:gd name="connsiteY8845" fmla="*/ 257278 h 6479439"/>
                <a:gd name="connsiteX8846" fmla="*/ 239332 w 9586368"/>
                <a:gd name="connsiteY8846" fmla="*/ 253239 h 6479439"/>
                <a:gd name="connsiteX8847" fmla="*/ 239332 w 9586368"/>
                <a:gd name="connsiteY8847" fmla="*/ 243368 h 6479439"/>
                <a:gd name="connsiteX8848" fmla="*/ 4037 w 9586368"/>
                <a:gd name="connsiteY8848" fmla="*/ 239330 h 6479439"/>
                <a:gd name="connsiteX8849" fmla="*/ 13948 w 9586368"/>
                <a:gd name="connsiteY8849" fmla="*/ 239330 h 6479439"/>
                <a:gd name="connsiteX8850" fmla="*/ 17967 w 9586368"/>
                <a:gd name="connsiteY8850" fmla="*/ 243368 h 6479439"/>
                <a:gd name="connsiteX8851" fmla="*/ 17967 w 9586368"/>
                <a:gd name="connsiteY8851" fmla="*/ 253239 h 6479439"/>
                <a:gd name="connsiteX8852" fmla="*/ 13948 w 9586368"/>
                <a:gd name="connsiteY8852" fmla="*/ 257278 h 6479439"/>
                <a:gd name="connsiteX8853" fmla="*/ 4037 w 9586368"/>
                <a:gd name="connsiteY8853" fmla="*/ 257278 h 6479439"/>
                <a:gd name="connsiteX8854" fmla="*/ 18 w 9586368"/>
                <a:gd name="connsiteY8854" fmla="*/ 253239 h 6479439"/>
                <a:gd name="connsiteX8855" fmla="*/ 18 w 9586368"/>
                <a:gd name="connsiteY8855" fmla="*/ 243368 h 6479439"/>
                <a:gd name="connsiteX8856" fmla="*/ 3111048 w 9586368"/>
                <a:gd name="connsiteY8856" fmla="*/ 106 h 6479439"/>
                <a:gd name="connsiteX8857" fmla="*/ 3120959 w 9586368"/>
                <a:gd name="connsiteY8857" fmla="*/ 106 h 6479439"/>
                <a:gd name="connsiteX8858" fmla="*/ 3124977 w 9586368"/>
                <a:gd name="connsiteY8858" fmla="*/ 4144 h 6479439"/>
                <a:gd name="connsiteX8859" fmla="*/ 3124977 w 9586368"/>
                <a:gd name="connsiteY8859" fmla="*/ 14015 h 6479439"/>
                <a:gd name="connsiteX8860" fmla="*/ 3120959 w 9586368"/>
                <a:gd name="connsiteY8860" fmla="*/ 18054 h 6479439"/>
                <a:gd name="connsiteX8861" fmla="*/ 3111048 w 9586368"/>
                <a:gd name="connsiteY8861" fmla="*/ 18054 h 6479439"/>
                <a:gd name="connsiteX8862" fmla="*/ 3107029 w 9586368"/>
                <a:gd name="connsiteY8862" fmla="*/ 14015 h 6479439"/>
                <a:gd name="connsiteX8863" fmla="*/ 3107029 w 9586368"/>
                <a:gd name="connsiteY8863" fmla="*/ 4144 h 6479439"/>
                <a:gd name="connsiteX8864" fmla="*/ 2871737 w 9586368"/>
                <a:gd name="connsiteY8864" fmla="*/ 106 h 6479439"/>
                <a:gd name="connsiteX8865" fmla="*/ 2881646 w 9586368"/>
                <a:gd name="connsiteY8865" fmla="*/ 106 h 6479439"/>
                <a:gd name="connsiteX8866" fmla="*/ 2885666 w 9586368"/>
                <a:gd name="connsiteY8866" fmla="*/ 4145 h 6479439"/>
                <a:gd name="connsiteX8867" fmla="*/ 2885666 w 9586368"/>
                <a:gd name="connsiteY8867" fmla="*/ 14015 h 6479439"/>
                <a:gd name="connsiteX8868" fmla="*/ 2881646 w 9586368"/>
                <a:gd name="connsiteY8868" fmla="*/ 18054 h 6479439"/>
                <a:gd name="connsiteX8869" fmla="*/ 2871737 w 9586368"/>
                <a:gd name="connsiteY8869" fmla="*/ 18054 h 6479439"/>
                <a:gd name="connsiteX8870" fmla="*/ 2867717 w 9586368"/>
                <a:gd name="connsiteY8870" fmla="*/ 14015 h 6479439"/>
                <a:gd name="connsiteX8871" fmla="*/ 2867717 w 9586368"/>
                <a:gd name="connsiteY8871" fmla="*/ 4145 h 6479439"/>
                <a:gd name="connsiteX8872" fmla="*/ 2632423 w 9586368"/>
                <a:gd name="connsiteY8872" fmla="*/ 106 h 6479439"/>
                <a:gd name="connsiteX8873" fmla="*/ 2642334 w 9586368"/>
                <a:gd name="connsiteY8873" fmla="*/ 106 h 6479439"/>
                <a:gd name="connsiteX8874" fmla="*/ 2646352 w 9586368"/>
                <a:gd name="connsiteY8874" fmla="*/ 4145 h 6479439"/>
                <a:gd name="connsiteX8875" fmla="*/ 2646352 w 9586368"/>
                <a:gd name="connsiteY8875" fmla="*/ 14016 h 6479439"/>
                <a:gd name="connsiteX8876" fmla="*/ 2642334 w 9586368"/>
                <a:gd name="connsiteY8876" fmla="*/ 18055 h 6479439"/>
                <a:gd name="connsiteX8877" fmla="*/ 2632423 w 9586368"/>
                <a:gd name="connsiteY8877" fmla="*/ 18055 h 6479439"/>
                <a:gd name="connsiteX8878" fmla="*/ 2628404 w 9586368"/>
                <a:gd name="connsiteY8878" fmla="*/ 14016 h 6479439"/>
                <a:gd name="connsiteX8879" fmla="*/ 2628404 w 9586368"/>
                <a:gd name="connsiteY8879" fmla="*/ 4145 h 6479439"/>
                <a:gd name="connsiteX8880" fmla="*/ 2393104 w 9586368"/>
                <a:gd name="connsiteY8880" fmla="*/ 106 h 6479439"/>
                <a:gd name="connsiteX8881" fmla="*/ 2403015 w 9586368"/>
                <a:gd name="connsiteY8881" fmla="*/ 106 h 6479439"/>
                <a:gd name="connsiteX8882" fmla="*/ 2407034 w 9586368"/>
                <a:gd name="connsiteY8882" fmla="*/ 4145 h 6479439"/>
                <a:gd name="connsiteX8883" fmla="*/ 2407034 w 9586368"/>
                <a:gd name="connsiteY8883" fmla="*/ 14016 h 6479439"/>
                <a:gd name="connsiteX8884" fmla="*/ 2403015 w 9586368"/>
                <a:gd name="connsiteY8884" fmla="*/ 18055 h 6479439"/>
                <a:gd name="connsiteX8885" fmla="*/ 2393104 w 9586368"/>
                <a:gd name="connsiteY8885" fmla="*/ 18055 h 6479439"/>
                <a:gd name="connsiteX8886" fmla="*/ 2389087 w 9586368"/>
                <a:gd name="connsiteY8886" fmla="*/ 14016 h 6479439"/>
                <a:gd name="connsiteX8887" fmla="*/ 2389087 w 9586368"/>
                <a:gd name="connsiteY8887" fmla="*/ 4145 h 6479439"/>
                <a:gd name="connsiteX8888" fmla="*/ 3350359 w 9586368"/>
                <a:gd name="connsiteY8888" fmla="*/ 106 h 6479439"/>
                <a:gd name="connsiteX8889" fmla="*/ 3360268 w 9586368"/>
                <a:gd name="connsiteY8889" fmla="*/ 106 h 6479439"/>
                <a:gd name="connsiteX8890" fmla="*/ 3364287 w 9586368"/>
                <a:gd name="connsiteY8890" fmla="*/ 4144 h 6479439"/>
                <a:gd name="connsiteX8891" fmla="*/ 3364287 w 9586368"/>
                <a:gd name="connsiteY8891" fmla="*/ 14015 h 6479439"/>
                <a:gd name="connsiteX8892" fmla="*/ 3360268 w 9586368"/>
                <a:gd name="connsiteY8892" fmla="*/ 18054 h 6479439"/>
                <a:gd name="connsiteX8893" fmla="*/ 3350359 w 9586368"/>
                <a:gd name="connsiteY8893" fmla="*/ 18054 h 6479439"/>
                <a:gd name="connsiteX8894" fmla="*/ 3346340 w 9586368"/>
                <a:gd name="connsiteY8894" fmla="*/ 14015 h 6479439"/>
                <a:gd name="connsiteX8895" fmla="*/ 3346340 w 9586368"/>
                <a:gd name="connsiteY8895" fmla="*/ 4144 h 6479439"/>
                <a:gd name="connsiteX8896" fmla="*/ 4546929 w 9586368"/>
                <a:gd name="connsiteY8896" fmla="*/ 93 h 6479439"/>
                <a:gd name="connsiteX8897" fmla="*/ 4556840 w 9586368"/>
                <a:gd name="connsiteY8897" fmla="*/ 93 h 6479439"/>
                <a:gd name="connsiteX8898" fmla="*/ 4560859 w 9586368"/>
                <a:gd name="connsiteY8898" fmla="*/ 4132 h 6479439"/>
                <a:gd name="connsiteX8899" fmla="*/ 4560859 w 9586368"/>
                <a:gd name="connsiteY8899" fmla="*/ 14002 h 6479439"/>
                <a:gd name="connsiteX8900" fmla="*/ 4556840 w 9586368"/>
                <a:gd name="connsiteY8900" fmla="*/ 18041 h 6479439"/>
                <a:gd name="connsiteX8901" fmla="*/ 4546929 w 9586368"/>
                <a:gd name="connsiteY8901" fmla="*/ 18041 h 6479439"/>
                <a:gd name="connsiteX8902" fmla="*/ 4542910 w 9586368"/>
                <a:gd name="connsiteY8902" fmla="*/ 14002 h 6479439"/>
                <a:gd name="connsiteX8903" fmla="*/ 4542910 w 9586368"/>
                <a:gd name="connsiteY8903" fmla="*/ 4132 h 6479439"/>
                <a:gd name="connsiteX8904" fmla="*/ 4307612 w 9586368"/>
                <a:gd name="connsiteY8904" fmla="*/ 93 h 6479439"/>
                <a:gd name="connsiteX8905" fmla="*/ 4317523 w 9586368"/>
                <a:gd name="connsiteY8905" fmla="*/ 93 h 6479439"/>
                <a:gd name="connsiteX8906" fmla="*/ 4321543 w 9586368"/>
                <a:gd name="connsiteY8906" fmla="*/ 4132 h 6479439"/>
                <a:gd name="connsiteX8907" fmla="*/ 4321543 w 9586368"/>
                <a:gd name="connsiteY8907" fmla="*/ 14003 h 6479439"/>
                <a:gd name="connsiteX8908" fmla="*/ 4317523 w 9586368"/>
                <a:gd name="connsiteY8908" fmla="*/ 18042 h 6479439"/>
                <a:gd name="connsiteX8909" fmla="*/ 4307612 w 9586368"/>
                <a:gd name="connsiteY8909" fmla="*/ 18042 h 6479439"/>
                <a:gd name="connsiteX8910" fmla="*/ 4303595 w 9586368"/>
                <a:gd name="connsiteY8910" fmla="*/ 14003 h 6479439"/>
                <a:gd name="connsiteX8911" fmla="*/ 4303595 w 9586368"/>
                <a:gd name="connsiteY8911" fmla="*/ 4132 h 6479439"/>
                <a:gd name="connsiteX8912" fmla="*/ 4068297 w 9586368"/>
                <a:gd name="connsiteY8912" fmla="*/ 93 h 6479439"/>
                <a:gd name="connsiteX8913" fmla="*/ 4078210 w 9586368"/>
                <a:gd name="connsiteY8913" fmla="*/ 93 h 6479439"/>
                <a:gd name="connsiteX8914" fmla="*/ 4082229 w 9586368"/>
                <a:gd name="connsiteY8914" fmla="*/ 4132 h 6479439"/>
                <a:gd name="connsiteX8915" fmla="*/ 4082229 w 9586368"/>
                <a:gd name="connsiteY8915" fmla="*/ 14003 h 6479439"/>
                <a:gd name="connsiteX8916" fmla="*/ 4078210 w 9586368"/>
                <a:gd name="connsiteY8916" fmla="*/ 18042 h 6479439"/>
                <a:gd name="connsiteX8917" fmla="*/ 4068297 w 9586368"/>
                <a:gd name="connsiteY8917" fmla="*/ 18042 h 6479439"/>
                <a:gd name="connsiteX8918" fmla="*/ 4064278 w 9586368"/>
                <a:gd name="connsiteY8918" fmla="*/ 14003 h 6479439"/>
                <a:gd name="connsiteX8919" fmla="*/ 4064278 w 9586368"/>
                <a:gd name="connsiteY8919" fmla="*/ 4132 h 6479439"/>
                <a:gd name="connsiteX8920" fmla="*/ 3828990 w 9586368"/>
                <a:gd name="connsiteY8920" fmla="*/ 93 h 6479439"/>
                <a:gd name="connsiteX8921" fmla="*/ 3838899 w 9586368"/>
                <a:gd name="connsiteY8921" fmla="*/ 93 h 6479439"/>
                <a:gd name="connsiteX8922" fmla="*/ 3842917 w 9586368"/>
                <a:gd name="connsiteY8922" fmla="*/ 4132 h 6479439"/>
                <a:gd name="connsiteX8923" fmla="*/ 3842917 w 9586368"/>
                <a:gd name="connsiteY8923" fmla="*/ 14003 h 6479439"/>
                <a:gd name="connsiteX8924" fmla="*/ 3838899 w 9586368"/>
                <a:gd name="connsiteY8924" fmla="*/ 18042 h 6479439"/>
                <a:gd name="connsiteX8925" fmla="*/ 3828990 w 9586368"/>
                <a:gd name="connsiteY8925" fmla="*/ 18042 h 6479439"/>
                <a:gd name="connsiteX8926" fmla="*/ 3824971 w 9586368"/>
                <a:gd name="connsiteY8926" fmla="*/ 14003 h 6479439"/>
                <a:gd name="connsiteX8927" fmla="*/ 3824971 w 9586368"/>
                <a:gd name="connsiteY8927" fmla="*/ 4132 h 6479439"/>
                <a:gd name="connsiteX8928" fmla="*/ 3589676 w 9586368"/>
                <a:gd name="connsiteY8928" fmla="*/ 93 h 6479439"/>
                <a:gd name="connsiteX8929" fmla="*/ 3599585 w 9586368"/>
                <a:gd name="connsiteY8929" fmla="*/ 93 h 6479439"/>
                <a:gd name="connsiteX8930" fmla="*/ 3603604 w 9586368"/>
                <a:gd name="connsiteY8930" fmla="*/ 4132 h 6479439"/>
                <a:gd name="connsiteX8931" fmla="*/ 3603604 w 9586368"/>
                <a:gd name="connsiteY8931" fmla="*/ 14003 h 6479439"/>
                <a:gd name="connsiteX8932" fmla="*/ 3599585 w 9586368"/>
                <a:gd name="connsiteY8932" fmla="*/ 18042 h 6479439"/>
                <a:gd name="connsiteX8933" fmla="*/ 3589676 w 9586368"/>
                <a:gd name="connsiteY8933" fmla="*/ 18042 h 6479439"/>
                <a:gd name="connsiteX8934" fmla="*/ 3585657 w 9586368"/>
                <a:gd name="connsiteY8934" fmla="*/ 14003 h 6479439"/>
                <a:gd name="connsiteX8935" fmla="*/ 3585657 w 9586368"/>
                <a:gd name="connsiteY8935" fmla="*/ 4132 h 6479439"/>
                <a:gd name="connsiteX8936" fmla="*/ 4786241 w 9586368"/>
                <a:gd name="connsiteY8936" fmla="*/ 81 h 6479439"/>
                <a:gd name="connsiteX8937" fmla="*/ 4796152 w 9586368"/>
                <a:gd name="connsiteY8937" fmla="*/ 81 h 6479439"/>
                <a:gd name="connsiteX8938" fmla="*/ 4800171 w 9586368"/>
                <a:gd name="connsiteY8938" fmla="*/ 4119 h 6479439"/>
                <a:gd name="connsiteX8939" fmla="*/ 4800171 w 9586368"/>
                <a:gd name="connsiteY8939" fmla="*/ 13990 h 6479439"/>
                <a:gd name="connsiteX8940" fmla="*/ 4796152 w 9586368"/>
                <a:gd name="connsiteY8940" fmla="*/ 18029 h 6479439"/>
                <a:gd name="connsiteX8941" fmla="*/ 4786241 w 9586368"/>
                <a:gd name="connsiteY8941" fmla="*/ 18029 h 6479439"/>
                <a:gd name="connsiteX8942" fmla="*/ 4782224 w 9586368"/>
                <a:gd name="connsiteY8942" fmla="*/ 13990 h 6479439"/>
                <a:gd name="connsiteX8943" fmla="*/ 4782224 w 9586368"/>
                <a:gd name="connsiteY8943" fmla="*/ 4119 h 6479439"/>
                <a:gd name="connsiteX8944" fmla="*/ 5743412 w 9586368"/>
                <a:gd name="connsiteY8944" fmla="*/ 80 h 6479439"/>
                <a:gd name="connsiteX8945" fmla="*/ 5753323 w 9586368"/>
                <a:gd name="connsiteY8945" fmla="*/ 80 h 6479439"/>
                <a:gd name="connsiteX8946" fmla="*/ 5757342 w 9586368"/>
                <a:gd name="connsiteY8946" fmla="*/ 4119 h 6479439"/>
                <a:gd name="connsiteX8947" fmla="*/ 5757342 w 9586368"/>
                <a:gd name="connsiteY8947" fmla="*/ 13990 h 6479439"/>
                <a:gd name="connsiteX8948" fmla="*/ 5753323 w 9586368"/>
                <a:gd name="connsiteY8948" fmla="*/ 18029 h 6479439"/>
                <a:gd name="connsiteX8949" fmla="*/ 5743412 w 9586368"/>
                <a:gd name="connsiteY8949" fmla="*/ 18029 h 6479439"/>
                <a:gd name="connsiteX8950" fmla="*/ 5739393 w 9586368"/>
                <a:gd name="connsiteY8950" fmla="*/ 13990 h 6479439"/>
                <a:gd name="connsiteX8951" fmla="*/ 5739393 w 9586368"/>
                <a:gd name="connsiteY8951" fmla="*/ 4119 h 6479439"/>
                <a:gd name="connsiteX8952" fmla="*/ 5504099 w 9586368"/>
                <a:gd name="connsiteY8952" fmla="*/ 80 h 6479439"/>
                <a:gd name="connsiteX8953" fmla="*/ 5514010 w 9586368"/>
                <a:gd name="connsiteY8953" fmla="*/ 80 h 6479439"/>
                <a:gd name="connsiteX8954" fmla="*/ 5518029 w 9586368"/>
                <a:gd name="connsiteY8954" fmla="*/ 4119 h 6479439"/>
                <a:gd name="connsiteX8955" fmla="*/ 5518029 w 9586368"/>
                <a:gd name="connsiteY8955" fmla="*/ 13990 h 6479439"/>
                <a:gd name="connsiteX8956" fmla="*/ 5514010 w 9586368"/>
                <a:gd name="connsiteY8956" fmla="*/ 18029 h 6479439"/>
                <a:gd name="connsiteX8957" fmla="*/ 5504099 w 9586368"/>
                <a:gd name="connsiteY8957" fmla="*/ 18029 h 6479439"/>
                <a:gd name="connsiteX8958" fmla="*/ 5500080 w 9586368"/>
                <a:gd name="connsiteY8958" fmla="*/ 13990 h 6479439"/>
                <a:gd name="connsiteX8959" fmla="*/ 5500080 w 9586368"/>
                <a:gd name="connsiteY8959" fmla="*/ 4119 h 6479439"/>
                <a:gd name="connsiteX8960" fmla="*/ 5264784 w 9586368"/>
                <a:gd name="connsiteY8960" fmla="*/ 80 h 6479439"/>
                <a:gd name="connsiteX8961" fmla="*/ 5274694 w 9586368"/>
                <a:gd name="connsiteY8961" fmla="*/ 80 h 6479439"/>
                <a:gd name="connsiteX8962" fmla="*/ 5278713 w 9586368"/>
                <a:gd name="connsiteY8962" fmla="*/ 4119 h 6479439"/>
                <a:gd name="connsiteX8963" fmla="*/ 5278713 w 9586368"/>
                <a:gd name="connsiteY8963" fmla="*/ 13990 h 6479439"/>
                <a:gd name="connsiteX8964" fmla="*/ 5274694 w 9586368"/>
                <a:gd name="connsiteY8964" fmla="*/ 18029 h 6479439"/>
                <a:gd name="connsiteX8965" fmla="*/ 5264784 w 9586368"/>
                <a:gd name="connsiteY8965" fmla="*/ 18029 h 6479439"/>
                <a:gd name="connsiteX8966" fmla="*/ 5260765 w 9586368"/>
                <a:gd name="connsiteY8966" fmla="*/ 13990 h 6479439"/>
                <a:gd name="connsiteX8967" fmla="*/ 5260765 w 9586368"/>
                <a:gd name="connsiteY8967" fmla="*/ 4119 h 6479439"/>
                <a:gd name="connsiteX8968" fmla="*/ 5025470 w 9586368"/>
                <a:gd name="connsiteY8968" fmla="*/ 80 h 6479439"/>
                <a:gd name="connsiteX8969" fmla="*/ 5035381 w 9586368"/>
                <a:gd name="connsiteY8969" fmla="*/ 80 h 6479439"/>
                <a:gd name="connsiteX8970" fmla="*/ 5039400 w 9586368"/>
                <a:gd name="connsiteY8970" fmla="*/ 4119 h 6479439"/>
                <a:gd name="connsiteX8971" fmla="*/ 5039400 w 9586368"/>
                <a:gd name="connsiteY8971" fmla="*/ 13990 h 6479439"/>
                <a:gd name="connsiteX8972" fmla="*/ 5035381 w 9586368"/>
                <a:gd name="connsiteY8972" fmla="*/ 18029 h 6479439"/>
                <a:gd name="connsiteX8973" fmla="*/ 5025470 w 9586368"/>
                <a:gd name="connsiteY8973" fmla="*/ 18029 h 6479439"/>
                <a:gd name="connsiteX8974" fmla="*/ 5021451 w 9586368"/>
                <a:gd name="connsiteY8974" fmla="*/ 13990 h 6479439"/>
                <a:gd name="connsiteX8975" fmla="*/ 5021451 w 9586368"/>
                <a:gd name="connsiteY8975" fmla="*/ 4119 h 6479439"/>
                <a:gd name="connsiteX8976" fmla="*/ 6461356 w 9586368"/>
                <a:gd name="connsiteY8976" fmla="*/ 68 h 6479439"/>
                <a:gd name="connsiteX8977" fmla="*/ 6471266 w 9586368"/>
                <a:gd name="connsiteY8977" fmla="*/ 68 h 6479439"/>
                <a:gd name="connsiteX8978" fmla="*/ 6475285 w 9586368"/>
                <a:gd name="connsiteY8978" fmla="*/ 4106 h 6479439"/>
                <a:gd name="connsiteX8979" fmla="*/ 6475285 w 9586368"/>
                <a:gd name="connsiteY8979" fmla="*/ 13976 h 6479439"/>
                <a:gd name="connsiteX8980" fmla="*/ 6471266 w 9586368"/>
                <a:gd name="connsiteY8980" fmla="*/ 18015 h 6479439"/>
                <a:gd name="connsiteX8981" fmla="*/ 6461356 w 9586368"/>
                <a:gd name="connsiteY8981" fmla="*/ 18015 h 6479439"/>
                <a:gd name="connsiteX8982" fmla="*/ 6457337 w 9586368"/>
                <a:gd name="connsiteY8982" fmla="*/ 13976 h 6479439"/>
                <a:gd name="connsiteX8983" fmla="*/ 6457337 w 9586368"/>
                <a:gd name="connsiteY8983" fmla="*/ 4106 h 6479439"/>
                <a:gd name="connsiteX8984" fmla="*/ 6222042 w 9586368"/>
                <a:gd name="connsiteY8984" fmla="*/ 68 h 6479439"/>
                <a:gd name="connsiteX8985" fmla="*/ 6231952 w 9586368"/>
                <a:gd name="connsiteY8985" fmla="*/ 68 h 6479439"/>
                <a:gd name="connsiteX8986" fmla="*/ 6235971 w 9586368"/>
                <a:gd name="connsiteY8986" fmla="*/ 4106 h 6479439"/>
                <a:gd name="connsiteX8987" fmla="*/ 6235971 w 9586368"/>
                <a:gd name="connsiteY8987" fmla="*/ 13977 h 6479439"/>
                <a:gd name="connsiteX8988" fmla="*/ 6231952 w 9586368"/>
                <a:gd name="connsiteY8988" fmla="*/ 18016 h 6479439"/>
                <a:gd name="connsiteX8989" fmla="*/ 6222042 w 9586368"/>
                <a:gd name="connsiteY8989" fmla="*/ 18016 h 6479439"/>
                <a:gd name="connsiteX8990" fmla="*/ 6218023 w 9586368"/>
                <a:gd name="connsiteY8990" fmla="*/ 13977 h 6479439"/>
                <a:gd name="connsiteX8991" fmla="*/ 6218023 w 9586368"/>
                <a:gd name="connsiteY8991" fmla="*/ 4106 h 6479439"/>
                <a:gd name="connsiteX8992" fmla="*/ 5982729 w 9586368"/>
                <a:gd name="connsiteY8992" fmla="*/ 68 h 6479439"/>
                <a:gd name="connsiteX8993" fmla="*/ 5992639 w 9586368"/>
                <a:gd name="connsiteY8993" fmla="*/ 68 h 6479439"/>
                <a:gd name="connsiteX8994" fmla="*/ 5996658 w 9586368"/>
                <a:gd name="connsiteY8994" fmla="*/ 4106 h 6479439"/>
                <a:gd name="connsiteX8995" fmla="*/ 5996658 w 9586368"/>
                <a:gd name="connsiteY8995" fmla="*/ 13977 h 6479439"/>
                <a:gd name="connsiteX8996" fmla="*/ 5992639 w 9586368"/>
                <a:gd name="connsiteY8996" fmla="*/ 18016 h 6479439"/>
                <a:gd name="connsiteX8997" fmla="*/ 5982729 w 9586368"/>
                <a:gd name="connsiteY8997" fmla="*/ 18016 h 6479439"/>
                <a:gd name="connsiteX8998" fmla="*/ 5978710 w 9586368"/>
                <a:gd name="connsiteY8998" fmla="*/ 13977 h 6479439"/>
                <a:gd name="connsiteX8999" fmla="*/ 5978710 w 9586368"/>
                <a:gd name="connsiteY8999" fmla="*/ 4106 h 6479439"/>
                <a:gd name="connsiteX9000" fmla="*/ 6939983 w 9586368"/>
                <a:gd name="connsiteY9000" fmla="*/ 67 h 6479439"/>
                <a:gd name="connsiteX9001" fmla="*/ 6949894 w 9586368"/>
                <a:gd name="connsiteY9001" fmla="*/ 67 h 6479439"/>
                <a:gd name="connsiteX9002" fmla="*/ 6953913 w 9586368"/>
                <a:gd name="connsiteY9002" fmla="*/ 4105 h 6479439"/>
                <a:gd name="connsiteX9003" fmla="*/ 6953913 w 9586368"/>
                <a:gd name="connsiteY9003" fmla="*/ 13976 h 6479439"/>
                <a:gd name="connsiteX9004" fmla="*/ 6949894 w 9586368"/>
                <a:gd name="connsiteY9004" fmla="*/ 18015 h 6479439"/>
                <a:gd name="connsiteX9005" fmla="*/ 6939983 w 9586368"/>
                <a:gd name="connsiteY9005" fmla="*/ 18015 h 6479439"/>
                <a:gd name="connsiteX9006" fmla="*/ 6935964 w 9586368"/>
                <a:gd name="connsiteY9006" fmla="*/ 13976 h 6479439"/>
                <a:gd name="connsiteX9007" fmla="*/ 6935964 w 9586368"/>
                <a:gd name="connsiteY9007" fmla="*/ 4105 h 6479439"/>
                <a:gd name="connsiteX9008" fmla="*/ 6700670 w 9586368"/>
                <a:gd name="connsiteY9008" fmla="*/ 67 h 6479439"/>
                <a:gd name="connsiteX9009" fmla="*/ 6710581 w 9586368"/>
                <a:gd name="connsiteY9009" fmla="*/ 67 h 6479439"/>
                <a:gd name="connsiteX9010" fmla="*/ 6714600 w 9586368"/>
                <a:gd name="connsiteY9010" fmla="*/ 4105 h 6479439"/>
                <a:gd name="connsiteX9011" fmla="*/ 6714600 w 9586368"/>
                <a:gd name="connsiteY9011" fmla="*/ 13976 h 6479439"/>
                <a:gd name="connsiteX9012" fmla="*/ 6710581 w 9586368"/>
                <a:gd name="connsiteY9012" fmla="*/ 18015 h 6479439"/>
                <a:gd name="connsiteX9013" fmla="*/ 6700670 w 9586368"/>
                <a:gd name="connsiteY9013" fmla="*/ 18015 h 6479439"/>
                <a:gd name="connsiteX9014" fmla="*/ 6696651 w 9586368"/>
                <a:gd name="connsiteY9014" fmla="*/ 13976 h 6479439"/>
                <a:gd name="connsiteX9015" fmla="*/ 6696651 w 9586368"/>
                <a:gd name="connsiteY9015" fmla="*/ 4105 h 6479439"/>
                <a:gd name="connsiteX9016" fmla="*/ 8136553 w 9586368"/>
                <a:gd name="connsiteY9016" fmla="*/ 54 h 6479439"/>
                <a:gd name="connsiteX9017" fmla="*/ 8146464 w 9586368"/>
                <a:gd name="connsiteY9017" fmla="*/ 54 h 6479439"/>
                <a:gd name="connsiteX9018" fmla="*/ 8150483 w 9586368"/>
                <a:gd name="connsiteY9018" fmla="*/ 4093 h 6479439"/>
                <a:gd name="connsiteX9019" fmla="*/ 8150483 w 9586368"/>
                <a:gd name="connsiteY9019" fmla="*/ 13963 h 6479439"/>
                <a:gd name="connsiteX9020" fmla="*/ 8146464 w 9586368"/>
                <a:gd name="connsiteY9020" fmla="*/ 18002 h 6479439"/>
                <a:gd name="connsiteX9021" fmla="*/ 8136553 w 9586368"/>
                <a:gd name="connsiteY9021" fmla="*/ 18002 h 6479439"/>
                <a:gd name="connsiteX9022" fmla="*/ 8132534 w 9586368"/>
                <a:gd name="connsiteY9022" fmla="*/ 13963 h 6479439"/>
                <a:gd name="connsiteX9023" fmla="*/ 8132534 w 9586368"/>
                <a:gd name="connsiteY9023" fmla="*/ 4093 h 6479439"/>
                <a:gd name="connsiteX9024" fmla="*/ 7897241 w 9586368"/>
                <a:gd name="connsiteY9024" fmla="*/ 54 h 6479439"/>
                <a:gd name="connsiteX9025" fmla="*/ 7907151 w 9586368"/>
                <a:gd name="connsiteY9025" fmla="*/ 54 h 6479439"/>
                <a:gd name="connsiteX9026" fmla="*/ 7911170 w 9586368"/>
                <a:gd name="connsiteY9026" fmla="*/ 4093 h 6479439"/>
                <a:gd name="connsiteX9027" fmla="*/ 7911170 w 9586368"/>
                <a:gd name="connsiteY9027" fmla="*/ 13964 h 6479439"/>
                <a:gd name="connsiteX9028" fmla="*/ 7907151 w 9586368"/>
                <a:gd name="connsiteY9028" fmla="*/ 18003 h 6479439"/>
                <a:gd name="connsiteX9029" fmla="*/ 7897241 w 9586368"/>
                <a:gd name="connsiteY9029" fmla="*/ 18003 h 6479439"/>
                <a:gd name="connsiteX9030" fmla="*/ 7893222 w 9586368"/>
                <a:gd name="connsiteY9030" fmla="*/ 13964 h 6479439"/>
                <a:gd name="connsiteX9031" fmla="*/ 7893222 w 9586368"/>
                <a:gd name="connsiteY9031" fmla="*/ 4093 h 6479439"/>
                <a:gd name="connsiteX9032" fmla="*/ 7657926 w 9586368"/>
                <a:gd name="connsiteY9032" fmla="*/ 54 h 6479439"/>
                <a:gd name="connsiteX9033" fmla="*/ 7667836 w 9586368"/>
                <a:gd name="connsiteY9033" fmla="*/ 54 h 6479439"/>
                <a:gd name="connsiteX9034" fmla="*/ 7671855 w 9586368"/>
                <a:gd name="connsiteY9034" fmla="*/ 4093 h 6479439"/>
                <a:gd name="connsiteX9035" fmla="*/ 7671855 w 9586368"/>
                <a:gd name="connsiteY9035" fmla="*/ 13964 h 6479439"/>
                <a:gd name="connsiteX9036" fmla="*/ 7667836 w 9586368"/>
                <a:gd name="connsiteY9036" fmla="*/ 18003 h 6479439"/>
                <a:gd name="connsiteX9037" fmla="*/ 7657926 w 9586368"/>
                <a:gd name="connsiteY9037" fmla="*/ 18003 h 6479439"/>
                <a:gd name="connsiteX9038" fmla="*/ 7653906 w 9586368"/>
                <a:gd name="connsiteY9038" fmla="*/ 13964 h 6479439"/>
                <a:gd name="connsiteX9039" fmla="*/ 7653906 w 9586368"/>
                <a:gd name="connsiteY9039" fmla="*/ 4093 h 6479439"/>
                <a:gd name="connsiteX9040" fmla="*/ 7418611 w 9586368"/>
                <a:gd name="connsiteY9040" fmla="*/ 54 h 6479439"/>
                <a:gd name="connsiteX9041" fmla="*/ 7428521 w 9586368"/>
                <a:gd name="connsiteY9041" fmla="*/ 54 h 6479439"/>
                <a:gd name="connsiteX9042" fmla="*/ 7432540 w 9586368"/>
                <a:gd name="connsiteY9042" fmla="*/ 4093 h 6479439"/>
                <a:gd name="connsiteX9043" fmla="*/ 7432540 w 9586368"/>
                <a:gd name="connsiteY9043" fmla="*/ 13964 h 6479439"/>
                <a:gd name="connsiteX9044" fmla="*/ 7428521 w 9586368"/>
                <a:gd name="connsiteY9044" fmla="*/ 18003 h 6479439"/>
                <a:gd name="connsiteX9045" fmla="*/ 7418611 w 9586368"/>
                <a:gd name="connsiteY9045" fmla="*/ 18003 h 6479439"/>
                <a:gd name="connsiteX9046" fmla="*/ 7414592 w 9586368"/>
                <a:gd name="connsiteY9046" fmla="*/ 13964 h 6479439"/>
                <a:gd name="connsiteX9047" fmla="*/ 7414592 w 9586368"/>
                <a:gd name="connsiteY9047" fmla="*/ 4093 h 6479439"/>
                <a:gd name="connsiteX9048" fmla="*/ 7179298 w 9586368"/>
                <a:gd name="connsiteY9048" fmla="*/ 54 h 6479439"/>
                <a:gd name="connsiteX9049" fmla="*/ 7189209 w 9586368"/>
                <a:gd name="connsiteY9049" fmla="*/ 54 h 6479439"/>
                <a:gd name="connsiteX9050" fmla="*/ 7193228 w 9586368"/>
                <a:gd name="connsiteY9050" fmla="*/ 4093 h 6479439"/>
                <a:gd name="connsiteX9051" fmla="*/ 7193228 w 9586368"/>
                <a:gd name="connsiteY9051" fmla="*/ 13964 h 6479439"/>
                <a:gd name="connsiteX9052" fmla="*/ 7189209 w 9586368"/>
                <a:gd name="connsiteY9052" fmla="*/ 18003 h 6479439"/>
                <a:gd name="connsiteX9053" fmla="*/ 7179298 w 9586368"/>
                <a:gd name="connsiteY9053" fmla="*/ 18003 h 6479439"/>
                <a:gd name="connsiteX9054" fmla="*/ 7175279 w 9586368"/>
                <a:gd name="connsiteY9054" fmla="*/ 13964 h 6479439"/>
                <a:gd name="connsiteX9055" fmla="*/ 7175279 w 9586368"/>
                <a:gd name="connsiteY9055" fmla="*/ 4093 h 6479439"/>
                <a:gd name="connsiteX9056" fmla="*/ 8375869 w 9586368"/>
                <a:gd name="connsiteY9056" fmla="*/ 42 h 6479439"/>
                <a:gd name="connsiteX9057" fmla="*/ 8385779 w 9586368"/>
                <a:gd name="connsiteY9057" fmla="*/ 42 h 6479439"/>
                <a:gd name="connsiteX9058" fmla="*/ 8389799 w 9586368"/>
                <a:gd name="connsiteY9058" fmla="*/ 4080 h 6479439"/>
                <a:gd name="connsiteX9059" fmla="*/ 8389799 w 9586368"/>
                <a:gd name="connsiteY9059" fmla="*/ 13951 h 6479439"/>
                <a:gd name="connsiteX9060" fmla="*/ 8385779 w 9586368"/>
                <a:gd name="connsiteY9060" fmla="*/ 17990 h 6479439"/>
                <a:gd name="connsiteX9061" fmla="*/ 8375869 w 9586368"/>
                <a:gd name="connsiteY9061" fmla="*/ 17990 h 6479439"/>
                <a:gd name="connsiteX9062" fmla="*/ 8371850 w 9586368"/>
                <a:gd name="connsiteY9062" fmla="*/ 13951 h 6479439"/>
                <a:gd name="connsiteX9063" fmla="*/ 8371850 w 9586368"/>
                <a:gd name="connsiteY9063" fmla="*/ 4080 h 6479439"/>
                <a:gd name="connsiteX9064" fmla="*/ 9333125 w 9586368"/>
                <a:gd name="connsiteY9064" fmla="*/ 41 h 6479439"/>
                <a:gd name="connsiteX9065" fmla="*/ 9343036 w 9586368"/>
                <a:gd name="connsiteY9065" fmla="*/ 41 h 6479439"/>
                <a:gd name="connsiteX9066" fmla="*/ 9347055 w 9586368"/>
                <a:gd name="connsiteY9066" fmla="*/ 4080 h 6479439"/>
                <a:gd name="connsiteX9067" fmla="*/ 9347055 w 9586368"/>
                <a:gd name="connsiteY9067" fmla="*/ 13951 h 6479439"/>
                <a:gd name="connsiteX9068" fmla="*/ 9343036 w 9586368"/>
                <a:gd name="connsiteY9068" fmla="*/ 17990 h 6479439"/>
                <a:gd name="connsiteX9069" fmla="*/ 9333125 w 9586368"/>
                <a:gd name="connsiteY9069" fmla="*/ 17990 h 6479439"/>
                <a:gd name="connsiteX9070" fmla="*/ 9329106 w 9586368"/>
                <a:gd name="connsiteY9070" fmla="*/ 13951 h 6479439"/>
                <a:gd name="connsiteX9071" fmla="*/ 9329106 w 9586368"/>
                <a:gd name="connsiteY9071" fmla="*/ 4080 h 6479439"/>
                <a:gd name="connsiteX9072" fmla="*/ 9093811 w 9586368"/>
                <a:gd name="connsiteY9072" fmla="*/ 41 h 6479439"/>
                <a:gd name="connsiteX9073" fmla="*/ 9103722 w 9586368"/>
                <a:gd name="connsiteY9073" fmla="*/ 41 h 6479439"/>
                <a:gd name="connsiteX9074" fmla="*/ 9107741 w 9586368"/>
                <a:gd name="connsiteY9074" fmla="*/ 4080 h 6479439"/>
                <a:gd name="connsiteX9075" fmla="*/ 9107741 w 9586368"/>
                <a:gd name="connsiteY9075" fmla="*/ 13951 h 6479439"/>
                <a:gd name="connsiteX9076" fmla="*/ 9103722 w 9586368"/>
                <a:gd name="connsiteY9076" fmla="*/ 17990 h 6479439"/>
                <a:gd name="connsiteX9077" fmla="*/ 9093811 w 9586368"/>
                <a:gd name="connsiteY9077" fmla="*/ 17990 h 6479439"/>
                <a:gd name="connsiteX9078" fmla="*/ 9089792 w 9586368"/>
                <a:gd name="connsiteY9078" fmla="*/ 13951 h 6479439"/>
                <a:gd name="connsiteX9079" fmla="*/ 9089792 w 9586368"/>
                <a:gd name="connsiteY9079" fmla="*/ 4080 h 6479439"/>
                <a:gd name="connsiteX9080" fmla="*/ 8854496 w 9586368"/>
                <a:gd name="connsiteY9080" fmla="*/ 41 h 6479439"/>
                <a:gd name="connsiteX9081" fmla="*/ 8864407 w 9586368"/>
                <a:gd name="connsiteY9081" fmla="*/ 41 h 6479439"/>
                <a:gd name="connsiteX9082" fmla="*/ 8868426 w 9586368"/>
                <a:gd name="connsiteY9082" fmla="*/ 4080 h 6479439"/>
                <a:gd name="connsiteX9083" fmla="*/ 8868426 w 9586368"/>
                <a:gd name="connsiteY9083" fmla="*/ 13951 h 6479439"/>
                <a:gd name="connsiteX9084" fmla="*/ 8864407 w 9586368"/>
                <a:gd name="connsiteY9084" fmla="*/ 17990 h 6479439"/>
                <a:gd name="connsiteX9085" fmla="*/ 8854496 w 9586368"/>
                <a:gd name="connsiteY9085" fmla="*/ 17990 h 6479439"/>
                <a:gd name="connsiteX9086" fmla="*/ 8850477 w 9586368"/>
                <a:gd name="connsiteY9086" fmla="*/ 13951 h 6479439"/>
                <a:gd name="connsiteX9087" fmla="*/ 8850477 w 9586368"/>
                <a:gd name="connsiteY9087" fmla="*/ 4080 h 6479439"/>
                <a:gd name="connsiteX9088" fmla="*/ 8615184 w 9586368"/>
                <a:gd name="connsiteY9088" fmla="*/ 41 h 6479439"/>
                <a:gd name="connsiteX9089" fmla="*/ 8625095 w 9586368"/>
                <a:gd name="connsiteY9089" fmla="*/ 41 h 6479439"/>
                <a:gd name="connsiteX9090" fmla="*/ 8629114 w 9586368"/>
                <a:gd name="connsiteY9090" fmla="*/ 4080 h 6479439"/>
                <a:gd name="connsiteX9091" fmla="*/ 8629114 w 9586368"/>
                <a:gd name="connsiteY9091" fmla="*/ 13951 h 6479439"/>
                <a:gd name="connsiteX9092" fmla="*/ 8625095 w 9586368"/>
                <a:gd name="connsiteY9092" fmla="*/ 17990 h 6479439"/>
                <a:gd name="connsiteX9093" fmla="*/ 8615184 w 9586368"/>
                <a:gd name="connsiteY9093" fmla="*/ 17990 h 6479439"/>
                <a:gd name="connsiteX9094" fmla="*/ 8611165 w 9586368"/>
                <a:gd name="connsiteY9094" fmla="*/ 13951 h 6479439"/>
                <a:gd name="connsiteX9095" fmla="*/ 8611165 w 9586368"/>
                <a:gd name="connsiteY9095" fmla="*/ 4080 h 6479439"/>
                <a:gd name="connsiteX9096" fmla="*/ 961275 w 9586368"/>
                <a:gd name="connsiteY9096" fmla="*/ 41 h 6479439"/>
                <a:gd name="connsiteX9097" fmla="*/ 971184 w 9586368"/>
                <a:gd name="connsiteY9097" fmla="*/ 41 h 6479439"/>
                <a:gd name="connsiteX9098" fmla="*/ 975204 w 9586368"/>
                <a:gd name="connsiteY9098" fmla="*/ 4080 h 6479439"/>
                <a:gd name="connsiteX9099" fmla="*/ 975204 w 9586368"/>
                <a:gd name="connsiteY9099" fmla="*/ 13951 h 6479439"/>
                <a:gd name="connsiteX9100" fmla="*/ 971184 w 9586368"/>
                <a:gd name="connsiteY9100" fmla="*/ 17990 h 6479439"/>
                <a:gd name="connsiteX9101" fmla="*/ 961275 w 9586368"/>
                <a:gd name="connsiteY9101" fmla="*/ 17990 h 6479439"/>
                <a:gd name="connsiteX9102" fmla="*/ 957256 w 9586368"/>
                <a:gd name="connsiteY9102" fmla="*/ 13951 h 6479439"/>
                <a:gd name="connsiteX9103" fmla="*/ 957256 w 9586368"/>
                <a:gd name="connsiteY9103" fmla="*/ 4080 h 6479439"/>
                <a:gd name="connsiteX9104" fmla="*/ 1679221 w 9586368"/>
                <a:gd name="connsiteY9104" fmla="*/ 41 h 6479439"/>
                <a:gd name="connsiteX9105" fmla="*/ 1689131 w 9586368"/>
                <a:gd name="connsiteY9105" fmla="*/ 41 h 6479439"/>
                <a:gd name="connsiteX9106" fmla="*/ 1693151 w 9586368"/>
                <a:gd name="connsiteY9106" fmla="*/ 4079 h 6479439"/>
                <a:gd name="connsiteX9107" fmla="*/ 1693151 w 9586368"/>
                <a:gd name="connsiteY9107" fmla="*/ 13950 h 6479439"/>
                <a:gd name="connsiteX9108" fmla="*/ 1689131 w 9586368"/>
                <a:gd name="connsiteY9108" fmla="*/ 17989 h 6479439"/>
                <a:gd name="connsiteX9109" fmla="*/ 1679221 w 9586368"/>
                <a:gd name="connsiteY9109" fmla="*/ 17989 h 6479439"/>
                <a:gd name="connsiteX9110" fmla="*/ 1675203 w 9586368"/>
                <a:gd name="connsiteY9110" fmla="*/ 13950 h 6479439"/>
                <a:gd name="connsiteX9111" fmla="*/ 1675203 w 9586368"/>
                <a:gd name="connsiteY9111" fmla="*/ 4079 h 6479439"/>
                <a:gd name="connsiteX9112" fmla="*/ 1439904 w 9586368"/>
                <a:gd name="connsiteY9112" fmla="*/ 41 h 6479439"/>
                <a:gd name="connsiteX9113" fmla="*/ 1449813 w 9586368"/>
                <a:gd name="connsiteY9113" fmla="*/ 41 h 6479439"/>
                <a:gd name="connsiteX9114" fmla="*/ 1453833 w 9586368"/>
                <a:gd name="connsiteY9114" fmla="*/ 4079 h 6479439"/>
                <a:gd name="connsiteX9115" fmla="*/ 1453833 w 9586368"/>
                <a:gd name="connsiteY9115" fmla="*/ 13950 h 6479439"/>
                <a:gd name="connsiteX9116" fmla="*/ 1449813 w 9586368"/>
                <a:gd name="connsiteY9116" fmla="*/ 17989 h 6479439"/>
                <a:gd name="connsiteX9117" fmla="*/ 1439904 w 9586368"/>
                <a:gd name="connsiteY9117" fmla="*/ 17989 h 6479439"/>
                <a:gd name="connsiteX9118" fmla="*/ 1435885 w 9586368"/>
                <a:gd name="connsiteY9118" fmla="*/ 13950 h 6479439"/>
                <a:gd name="connsiteX9119" fmla="*/ 1435885 w 9586368"/>
                <a:gd name="connsiteY9119" fmla="*/ 4079 h 6479439"/>
                <a:gd name="connsiteX9120" fmla="*/ 1200587 w 9586368"/>
                <a:gd name="connsiteY9120" fmla="*/ 41 h 6479439"/>
                <a:gd name="connsiteX9121" fmla="*/ 1210497 w 9586368"/>
                <a:gd name="connsiteY9121" fmla="*/ 41 h 6479439"/>
                <a:gd name="connsiteX9122" fmla="*/ 1214516 w 9586368"/>
                <a:gd name="connsiteY9122" fmla="*/ 4080 h 6479439"/>
                <a:gd name="connsiteX9123" fmla="*/ 1214516 w 9586368"/>
                <a:gd name="connsiteY9123" fmla="*/ 13951 h 6479439"/>
                <a:gd name="connsiteX9124" fmla="*/ 1210497 w 9586368"/>
                <a:gd name="connsiteY9124" fmla="*/ 17989 h 6479439"/>
                <a:gd name="connsiteX9125" fmla="*/ 1200587 w 9586368"/>
                <a:gd name="connsiteY9125" fmla="*/ 17989 h 6479439"/>
                <a:gd name="connsiteX9126" fmla="*/ 1196568 w 9586368"/>
                <a:gd name="connsiteY9126" fmla="*/ 13951 h 6479439"/>
                <a:gd name="connsiteX9127" fmla="*/ 1196568 w 9586368"/>
                <a:gd name="connsiteY9127" fmla="*/ 4080 h 6479439"/>
                <a:gd name="connsiteX9128" fmla="*/ 1918515 w 9586368"/>
                <a:gd name="connsiteY9128" fmla="*/ 31 h 6479439"/>
                <a:gd name="connsiteX9129" fmla="*/ 1928425 w 9586368"/>
                <a:gd name="connsiteY9129" fmla="*/ 31 h 6479439"/>
                <a:gd name="connsiteX9130" fmla="*/ 1932444 w 9586368"/>
                <a:gd name="connsiteY9130" fmla="*/ 4069 h 6479439"/>
                <a:gd name="connsiteX9131" fmla="*/ 1932444 w 9586368"/>
                <a:gd name="connsiteY9131" fmla="*/ 13940 h 6479439"/>
                <a:gd name="connsiteX9132" fmla="*/ 1928425 w 9586368"/>
                <a:gd name="connsiteY9132" fmla="*/ 17979 h 6479439"/>
                <a:gd name="connsiteX9133" fmla="*/ 1918515 w 9586368"/>
                <a:gd name="connsiteY9133" fmla="*/ 17979 h 6479439"/>
                <a:gd name="connsiteX9134" fmla="*/ 1914497 w 9586368"/>
                <a:gd name="connsiteY9134" fmla="*/ 13940 h 6479439"/>
                <a:gd name="connsiteX9135" fmla="*/ 1914497 w 9586368"/>
                <a:gd name="connsiteY9135" fmla="*/ 4069 h 6479439"/>
                <a:gd name="connsiteX9136" fmla="*/ 9572438 w 9586368"/>
                <a:gd name="connsiteY9136" fmla="*/ 29 h 6479439"/>
                <a:gd name="connsiteX9137" fmla="*/ 9582349 w 9586368"/>
                <a:gd name="connsiteY9137" fmla="*/ 29 h 6479439"/>
                <a:gd name="connsiteX9138" fmla="*/ 9586368 w 9586368"/>
                <a:gd name="connsiteY9138" fmla="*/ 4067 h 6479439"/>
                <a:gd name="connsiteX9139" fmla="*/ 9586368 w 9586368"/>
                <a:gd name="connsiteY9139" fmla="*/ 13938 h 6479439"/>
                <a:gd name="connsiteX9140" fmla="*/ 9582349 w 9586368"/>
                <a:gd name="connsiteY9140" fmla="*/ 17977 h 6479439"/>
                <a:gd name="connsiteX9141" fmla="*/ 9572438 w 9586368"/>
                <a:gd name="connsiteY9141" fmla="*/ 17977 h 6479439"/>
                <a:gd name="connsiteX9142" fmla="*/ 9568419 w 9586368"/>
                <a:gd name="connsiteY9142" fmla="*/ 13938 h 6479439"/>
                <a:gd name="connsiteX9143" fmla="*/ 9568419 w 9586368"/>
                <a:gd name="connsiteY9143" fmla="*/ 4067 h 6479439"/>
                <a:gd name="connsiteX9144" fmla="*/ 2157824 w 9586368"/>
                <a:gd name="connsiteY9144" fmla="*/ 28 h 6479439"/>
                <a:gd name="connsiteX9145" fmla="*/ 2167734 w 9586368"/>
                <a:gd name="connsiteY9145" fmla="*/ 28 h 6479439"/>
                <a:gd name="connsiteX9146" fmla="*/ 2171753 w 9586368"/>
                <a:gd name="connsiteY9146" fmla="*/ 4067 h 6479439"/>
                <a:gd name="connsiteX9147" fmla="*/ 2171753 w 9586368"/>
                <a:gd name="connsiteY9147" fmla="*/ 13938 h 6479439"/>
                <a:gd name="connsiteX9148" fmla="*/ 2167734 w 9586368"/>
                <a:gd name="connsiteY9148" fmla="*/ 17977 h 6479439"/>
                <a:gd name="connsiteX9149" fmla="*/ 2157824 w 9586368"/>
                <a:gd name="connsiteY9149" fmla="*/ 17977 h 6479439"/>
                <a:gd name="connsiteX9150" fmla="*/ 2153804 w 9586368"/>
                <a:gd name="connsiteY9150" fmla="*/ 13938 h 6479439"/>
                <a:gd name="connsiteX9151" fmla="*/ 2153804 w 9586368"/>
                <a:gd name="connsiteY9151" fmla="*/ 4067 h 6479439"/>
                <a:gd name="connsiteX9152" fmla="*/ 721977 w 9586368"/>
                <a:gd name="connsiteY9152" fmla="*/ 0 h 6479439"/>
                <a:gd name="connsiteX9153" fmla="*/ 731887 w 9586368"/>
                <a:gd name="connsiteY9153" fmla="*/ 0 h 6479439"/>
                <a:gd name="connsiteX9154" fmla="*/ 735906 w 9586368"/>
                <a:gd name="connsiteY9154" fmla="*/ 4039 h 6479439"/>
                <a:gd name="connsiteX9155" fmla="*/ 735906 w 9586368"/>
                <a:gd name="connsiteY9155" fmla="*/ 13910 h 6479439"/>
                <a:gd name="connsiteX9156" fmla="*/ 731887 w 9586368"/>
                <a:gd name="connsiteY9156" fmla="*/ 17949 h 6479439"/>
                <a:gd name="connsiteX9157" fmla="*/ 721977 w 9586368"/>
                <a:gd name="connsiteY9157" fmla="*/ 17949 h 6479439"/>
                <a:gd name="connsiteX9158" fmla="*/ 717959 w 9586368"/>
                <a:gd name="connsiteY9158" fmla="*/ 13910 h 6479439"/>
                <a:gd name="connsiteX9159" fmla="*/ 717959 w 9586368"/>
                <a:gd name="connsiteY9159" fmla="*/ 4039 h 6479439"/>
                <a:gd name="connsiteX9160" fmla="*/ 482665 w 9586368"/>
                <a:gd name="connsiteY9160" fmla="*/ 0 h 6479439"/>
                <a:gd name="connsiteX9161" fmla="*/ 492575 w 9586368"/>
                <a:gd name="connsiteY9161" fmla="*/ 0 h 6479439"/>
                <a:gd name="connsiteX9162" fmla="*/ 496594 w 9586368"/>
                <a:gd name="connsiteY9162" fmla="*/ 4039 h 6479439"/>
                <a:gd name="connsiteX9163" fmla="*/ 496594 w 9586368"/>
                <a:gd name="connsiteY9163" fmla="*/ 13910 h 6479439"/>
                <a:gd name="connsiteX9164" fmla="*/ 492575 w 9586368"/>
                <a:gd name="connsiteY9164" fmla="*/ 17949 h 6479439"/>
                <a:gd name="connsiteX9165" fmla="*/ 482665 w 9586368"/>
                <a:gd name="connsiteY9165" fmla="*/ 17949 h 6479439"/>
                <a:gd name="connsiteX9166" fmla="*/ 478646 w 9586368"/>
                <a:gd name="connsiteY9166" fmla="*/ 13910 h 6479439"/>
                <a:gd name="connsiteX9167" fmla="*/ 478646 w 9586368"/>
                <a:gd name="connsiteY9167" fmla="*/ 4039 h 6479439"/>
                <a:gd name="connsiteX9168" fmla="*/ 243351 w 9586368"/>
                <a:gd name="connsiteY9168" fmla="*/ 0 h 6479439"/>
                <a:gd name="connsiteX9169" fmla="*/ 253261 w 9586368"/>
                <a:gd name="connsiteY9169" fmla="*/ 0 h 6479439"/>
                <a:gd name="connsiteX9170" fmla="*/ 257281 w 9586368"/>
                <a:gd name="connsiteY9170" fmla="*/ 4039 h 6479439"/>
                <a:gd name="connsiteX9171" fmla="*/ 257281 w 9586368"/>
                <a:gd name="connsiteY9171" fmla="*/ 13910 h 6479439"/>
                <a:gd name="connsiteX9172" fmla="*/ 253261 w 9586368"/>
                <a:gd name="connsiteY9172" fmla="*/ 17949 h 6479439"/>
                <a:gd name="connsiteX9173" fmla="*/ 243351 w 9586368"/>
                <a:gd name="connsiteY9173" fmla="*/ 17949 h 6479439"/>
                <a:gd name="connsiteX9174" fmla="*/ 239332 w 9586368"/>
                <a:gd name="connsiteY9174" fmla="*/ 13910 h 6479439"/>
                <a:gd name="connsiteX9175" fmla="*/ 239332 w 9586368"/>
                <a:gd name="connsiteY9175" fmla="*/ 4039 h 6479439"/>
                <a:gd name="connsiteX9176" fmla="*/ 4039 w 9586368"/>
                <a:gd name="connsiteY9176" fmla="*/ 0 h 6479439"/>
                <a:gd name="connsiteX9177" fmla="*/ 13948 w 9586368"/>
                <a:gd name="connsiteY9177" fmla="*/ 0 h 6479439"/>
                <a:gd name="connsiteX9178" fmla="*/ 17967 w 9586368"/>
                <a:gd name="connsiteY9178" fmla="*/ 4039 h 6479439"/>
                <a:gd name="connsiteX9179" fmla="*/ 17967 w 9586368"/>
                <a:gd name="connsiteY9179" fmla="*/ 13910 h 6479439"/>
                <a:gd name="connsiteX9180" fmla="*/ 13948 w 9586368"/>
                <a:gd name="connsiteY9180" fmla="*/ 17949 h 6479439"/>
                <a:gd name="connsiteX9181" fmla="*/ 4039 w 9586368"/>
                <a:gd name="connsiteY9181" fmla="*/ 17949 h 6479439"/>
                <a:gd name="connsiteX9182" fmla="*/ 19 w 9586368"/>
                <a:gd name="connsiteY9182" fmla="*/ 13910 h 6479439"/>
                <a:gd name="connsiteX9183" fmla="*/ 19 w 9586368"/>
                <a:gd name="connsiteY9183" fmla="*/ 4039 h 64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Lst>
              <a:rect l="l" t="t" r="r" b="b"/>
              <a:pathLst>
                <a:path w="9586368" h="6479439">
                  <a:moveTo>
                    <a:pt x="2157895" y="6461491"/>
                  </a:moveTo>
                  <a:lnTo>
                    <a:pt x="2167802" y="6461491"/>
                  </a:lnTo>
                  <a:lnTo>
                    <a:pt x="2171820" y="6465529"/>
                  </a:lnTo>
                  <a:lnTo>
                    <a:pt x="2171820" y="6475400"/>
                  </a:lnTo>
                  <a:lnTo>
                    <a:pt x="2167802" y="6479439"/>
                  </a:lnTo>
                  <a:lnTo>
                    <a:pt x="2157895" y="6479439"/>
                  </a:lnTo>
                  <a:lnTo>
                    <a:pt x="2153871" y="6475400"/>
                  </a:lnTo>
                  <a:lnTo>
                    <a:pt x="2153871" y="6465529"/>
                  </a:lnTo>
                  <a:close/>
                  <a:moveTo>
                    <a:pt x="1918509" y="6461491"/>
                  </a:moveTo>
                  <a:lnTo>
                    <a:pt x="1928419" y="6461491"/>
                  </a:lnTo>
                  <a:lnTo>
                    <a:pt x="1932437" y="6465529"/>
                  </a:lnTo>
                  <a:lnTo>
                    <a:pt x="1932437" y="6475400"/>
                  </a:lnTo>
                  <a:lnTo>
                    <a:pt x="1928419" y="6479439"/>
                  </a:lnTo>
                  <a:lnTo>
                    <a:pt x="1918509" y="6479439"/>
                  </a:lnTo>
                  <a:lnTo>
                    <a:pt x="1914490" y="6475400"/>
                  </a:lnTo>
                  <a:lnTo>
                    <a:pt x="1914490" y="6465529"/>
                  </a:lnTo>
                  <a:close/>
                  <a:moveTo>
                    <a:pt x="1679200" y="6461491"/>
                  </a:moveTo>
                  <a:lnTo>
                    <a:pt x="1689110" y="6461491"/>
                  </a:lnTo>
                  <a:lnTo>
                    <a:pt x="1693128" y="6465529"/>
                  </a:lnTo>
                  <a:lnTo>
                    <a:pt x="1693128" y="6475400"/>
                  </a:lnTo>
                  <a:lnTo>
                    <a:pt x="1689110" y="6479439"/>
                  </a:lnTo>
                  <a:lnTo>
                    <a:pt x="1679200" y="6479439"/>
                  </a:lnTo>
                  <a:lnTo>
                    <a:pt x="1675180" y="6475400"/>
                  </a:lnTo>
                  <a:lnTo>
                    <a:pt x="1675180" y="6465529"/>
                  </a:lnTo>
                  <a:close/>
                  <a:moveTo>
                    <a:pt x="1439885" y="6461491"/>
                  </a:moveTo>
                  <a:lnTo>
                    <a:pt x="1449795" y="6461491"/>
                  </a:lnTo>
                  <a:lnTo>
                    <a:pt x="1453813" y="6465529"/>
                  </a:lnTo>
                  <a:lnTo>
                    <a:pt x="1453813" y="6475400"/>
                  </a:lnTo>
                  <a:lnTo>
                    <a:pt x="1449795" y="6479439"/>
                  </a:lnTo>
                  <a:lnTo>
                    <a:pt x="1439885" y="6479439"/>
                  </a:lnTo>
                  <a:lnTo>
                    <a:pt x="1435865" y="6475400"/>
                  </a:lnTo>
                  <a:lnTo>
                    <a:pt x="1435865" y="6465529"/>
                  </a:lnTo>
                  <a:close/>
                  <a:moveTo>
                    <a:pt x="1200570" y="6461491"/>
                  </a:moveTo>
                  <a:lnTo>
                    <a:pt x="1210480" y="6461491"/>
                  </a:lnTo>
                  <a:lnTo>
                    <a:pt x="1214498" y="6465529"/>
                  </a:lnTo>
                  <a:lnTo>
                    <a:pt x="1214498" y="6475400"/>
                  </a:lnTo>
                  <a:lnTo>
                    <a:pt x="1210480" y="6479439"/>
                  </a:lnTo>
                  <a:lnTo>
                    <a:pt x="1200570" y="6479439"/>
                  </a:lnTo>
                  <a:lnTo>
                    <a:pt x="1196551" y="6475400"/>
                  </a:lnTo>
                  <a:lnTo>
                    <a:pt x="1196551" y="6465529"/>
                  </a:lnTo>
                  <a:close/>
                  <a:moveTo>
                    <a:pt x="961257" y="6461491"/>
                  </a:moveTo>
                  <a:lnTo>
                    <a:pt x="971167" y="6461491"/>
                  </a:lnTo>
                  <a:lnTo>
                    <a:pt x="975186" y="6465529"/>
                  </a:lnTo>
                  <a:lnTo>
                    <a:pt x="975186" y="6475400"/>
                  </a:lnTo>
                  <a:lnTo>
                    <a:pt x="971167" y="6479439"/>
                  </a:lnTo>
                  <a:lnTo>
                    <a:pt x="961257" y="6479439"/>
                  </a:lnTo>
                  <a:lnTo>
                    <a:pt x="957238" y="6475400"/>
                  </a:lnTo>
                  <a:lnTo>
                    <a:pt x="957238" y="6465529"/>
                  </a:lnTo>
                  <a:close/>
                  <a:moveTo>
                    <a:pt x="9572438" y="6461440"/>
                  </a:moveTo>
                  <a:lnTo>
                    <a:pt x="9582349" y="6461440"/>
                  </a:lnTo>
                  <a:lnTo>
                    <a:pt x="9586368" y="6465478"/>
                  </a:lnTo>
                  <a:lnTo>
                    <a:pt x="9586368" y="6475349"/>
                  </a:lnTo>
                  <a:lnTo>
                    <a:pt x="9582349" y="6479388"/>
                  </a:lnTo>
                  <a:lnTo>
                    <a:pt x="9572438" y="6479388"/>
                  </a:lnTo>
                  <a:lnTo>
                    <a:pt x="9568419" y="6475349"/>
                  </a:lnTo>
                  <a:lnTo>
                    <a:pt x="9568419" y="6465478"/>
                  </a:lnTo>
                  <a:close/>
                  <a:moveTo>
                    <a:pt x="9333125" y="6461440"/>
                  </a:moveTo>
                  <a:lnTo>
                    <a:pt x="9343036" y="6461440"/>
                  </a:lnTo>
                  <a:lnTo>
                    <a:pt x="9347055" y="6465478"/>
                  </a:lnTo>
                  <a:lnTo>
                    <a:pt x="9347055" y="6475349"/>
                  </a:lnTo>
                  <a:lnTo>
                    <a:pt x="9343036" y="6479388"/>
                  </a:lnTo>
                  <a:lnTo>
                    <a:pt x="9333125" y="6479388"/>
                  </a:lnTo>
                  <a:lnTo>
                    <a:pt x="9329106" y="6475349"/>
                  </a:lnTo>
                  <a:lnTo>
                    <a:pt x="9329106" y="6465478"/>
                  </a:lnTo>
                  <a:close/>
                  <a:moveTo>
                    <a:pt x="9093811" y="6461440"/>
                  </a:moveTo>
                  <a:lnTo>
                    <a:pt x="9103722" y="6461440"/>
                  </a:lnTo>
                  <a:lnTo>
                    <a:pt x="9107741" y="6465478"/>
                  </a:lnTo>
                  <a:lnTo>
                    <a:pt x="9107741" y="6475349"/>
                  </a:lnTo>
                  <a:lnTo>
                    <a:pt x="9103722" y="6479388"/>
                  </a:lnTo>
                  <a:lnTo>
                    <a:pt x="9093811" y="6479388"/>
                  </a:lnTo>
                  <a:lnTo>
                    <a:pt x="9089792" y="6475349"/>
                  </a:lnTo>
                  <a:lnTo>
                    <a:pt x="9089792" y="6465478"/>
                  </a:lnTo>
                  <a:close/>
                  <a:moveTo>
                    <a:pt x="8854496" y="6461440"/>
                  </a:moveTo>
                  <a:lnTo>
                    <a:pt x="8864407" y="6461440"/>
                  </a:lnTo>
                  <a:lnTo>
                    <a:pt x="8868426" y="6465478"/>
                  </a:lnTo>
                  <a:lnTo>
                    <a:pt x="8868426" y="6475349"/>
                  </a:lnTo>
                  <a:lnTo>
                    <a:pt x="8864407" y="6479388"/>
                  </a:lnTo>
                  <a:lnTo>
                    <a:pt x="8854496" y="6479388"/>
                  </a:lnTo>
                  <a:lnTo>
                    <a:pt x="8850477" y="6475349"/>
                  </a:lnTo>
                  <a:lnTo>
                    <a:pt x="8850477" y="6465478"/>
                  </a:lnTo>
                  <a:close/>
                  <a:moveTo>
                    <a:pt x="8615184" y="6461440"/>
                  </a:moveTo>
                  <a:lnTo>
                    <a:pt x="8625095" y="6461440"/>
                  </a:lnTo>
                  <a:lnTo>
                    <a:pt x="8629114" y="6465478"/>
                  </a:lnTo>
                  <a:lnTo>
                    <a:pt x="8629114" y="6475349"/>
                  </a:lnTo>
                  <a:lnTo>
                    <a:pt x="8625095" y="6479388"/>
                  </a:lnTo>
                  <a:lnTo>
                    <a:pt x="8615184" y="6479388"/>
                  </a:lnTo>
                  <a:lnTo>
                    <a:pt x="8611165" y="6475349"/>
                  </a:lnTo>
                  <a:lnTo>
                    <a:pt x="8611165" y="6465478"/>
                  </a:lnTo>
                  <a:close/>
                  <a:moveTo>
                    <a:pt x="8375869" y="6461440"/>
                  </a:moveTo>
                  <a:lnTo>
                    <a:pt x="8385779" y="6461440"/>
                  </a:lnTo>
                  <a:lnTo>
                    <a:pt x="8389799" y="6465478"/>
                  </a:lnTo>
                  <a:lnTo>
                    <a:pt x="8389799" y="6475349"/>
                  </a:lnTo>
                  <a:lnTo>
                    <a:pt x="8385779" y="6479388"/>
                  </a:lnTo>
                  <a:lnTo>
                    <a:pt x="8375869" y="6479388"/>
                  </a:lnTo>
                  <a:lnTo>
                    <a:pt x="8371850" y="6475349"/>
                  </a:lnTo>
                  <a:lnTo>
                    <a:pt x="8371850" y="6465478"/>
                  </a:lnTo>
                  <a:close/>
                  <a:moveTo>
                    <a:pt x="8136553" y="6461440"/>
                  </a:moveTo>
                  <a:lnTo>
                    <a:pt x="8146464" y="6461440"/>
                  </a:lnTo>
                  <a:lnTo>
                    <a:pt x="8150483" y="6465478"/>
                  </a:lnTo>
                  <a:lnTo>
                    <a:pt x="8150483" y="6475349"/>
                  </a:lnTo>
                  <a:lnTo>
                    <a:pt x="8146464" y="6479388"/>
                  </a:lnTo>
                  <a:lnTo>
                    <a:pt x="8136553" y="6479388"/>
                  </a:lnTo>
                  <a:lnTo>
                    <a:pt x="8132534" y="6475349"/>
                  </a:lnTo>
                  <a:lnTo>
                    <a:pt x="8132534" y="6465478"/>
                  </a:lnTo>
                  <a:close/>
                  <a:moveTo>
                    <a:pt x="7897241" y="6461440"/>
                  </a:moveTo>
                  <a:lnTo>
                    <a:pt x="7907151" y="6461440"/>
                  </a:lnTo>
                  <a:lnTo>
                    <a:pt x="7911170" y="6465478"/>
                  </a:lnTo>
                  <a:lnTo>
                    <a:pt x="7911170" y="6475349"/>
                  </a:lnTo>
                  <a:lnTo>
                    <a:pt x="7907151" y="6479388"/>
                  </a:lnTo>
                  <a:lnTo>
                    <a:pt x="7897241" y="6479388"/>
                  </a:lnTo>
                  <a:lnTo>
                    <a:pt x="7893222" y="6475349"/>
                  </a:lnTo>
                  <a:lnTo>
                    <a:pt x="7893222" y="6465478"/>
                  </a:lnTo>
                  <a:close/>
                  <a:moveTo>
                    <a:pt x="7657926" y="6461440"/>
                  </a:moveTo>
                  <a:lnTo>
                    <a:pt x="7667836" y="6461440"/>
                  </a:lnTo>
                  <a:lnTo>
                    <a:pt x="7671855" y="6465478"/>
                  </a:lnTo>
                  <a:lnTo>
                    <a:pt x="7671855" y="6475349"/>
                  </a:lnTo>
                  <a:lnTo>
                    <a:pt x="7667836" y="6479388"/>
                  </a:lnTo>
                  <a:lnTo>
                    <a:pt x="7657926" y="6479388"/>
                  </a:lnTo>
                  <a:lnTo>
                    <a:pt x="7653906" y="6475349"/>
                  </a:lnTo>
                  <a:lnTo>
                    <a:pt x="7653906" y="6465478"/>
                  </a:lnTo>
                  <a:close/>
                  <a:moveTo>
                    <a:pt x="7418611" y="6461440"/>
                  </a:moveTo>
                  <a:lnTo>
                    <a:pt x="7428521" y="6461440"/>
                  </a:lnTo>
                  <a:lnTo>
                    <a:pt x="7432540" y="6465478"/>
                  </a:lnTo>
                  <a:lnTo>
                    <a:pt x="7432540" y="6475349"/>
                  </a:lnTo>
                  <a:lnTo>
                    <a:pt x="7428521" y="6479388"/>
                  </a:lnTo>
                  <a:lnTo>
                    <a:pt x="7418611" y="6479388"/>
                  </a:lnTo>
                  <a:lnTo>
                    <a:pt x="7414592" y="6475349"/>
                  </a:lnTo>
                  <a:lnTo>
                    <a:pt x="7414592" y="6465478"/>
                  </a:lnTo>
                  <a:close/>
                  <a:moveTo>
                    <a:pt x="7179298" y="6461440"/>
                  </a:moveTo>
                  <a:lnTo>
                    <a:pt x="7189209" y="6461440"/>
                  </a:lnTo>
                  <a:lnTo>
                    <a:pt x="7193228" y="6465478"/>
                  </a:lnTo>
                  <a:lnTo>
                    <a:pt x="7193228" y="6475349"/>
                  </a:lnTo>
                  <a:lnTo>
                    <a:pt x="7189209" y="6479388"/>
                  </a:lnTo>
                  <a:lnTo>
                    <a:pt x="7179298" y="6479388"/>
                  </a:lnTo>
                  <a:lnTo>
                    <a:pt x="7175279" y="6475349"/>
                  </a:lnTo>
                  <a:lnTo>
                    <a:pt x="7175279" y="6465478"/>
                  </a:lnTo>
                  <a:close/>
                  <a:moveTo>
                    <a:pt x="6939983" y="6461440"/>
                  </a:moveTo>
                  <a:lnTo>
                    <a:pt x="6949894" y="6461440"/>
                  </a:lnTo>
                  <a:lnTo>
                    <a:pt x="6953913" y="6465478"/>
                  </a:lnTo>
                  <a:lnTo>
                    <a:pt x="6953913" y="6475349"/>
                  </a:lnTo>
                  <a:lnTo>
                    <a:pt x="6949894" y="6479388"/>
                  </a:lnTo>
                  <a:lnTo>
                    <a:pt x="6939983" y="6479388"/>
                  </a:lnTo>
                  <a:lnTo>
                    <a:pt x="6935964" y="6475349"/>
                  </a:lnTo>
                  <a:lnTo>
                    <a:pt x="6935964" y="6465478"/>
                  </a:lnTo>
                  <a:close/>
                  <a:moveTo>
                    <a:pt x="6700670" y="6461440"/>
                  </a:moveTo>
                  <a:lnTo>
                    <a:pt x="6710581" y="6461440"/>
                  </a:lnTo>
                  <a:lnTo>
                    <a:pt x="6714600" y="6465478"/>
                  </a:lnTo>
                  <a:lnTo>
                    <a:pt x="6714600" y="6475349"/>
                  </a:lnTo>
                  <a:lnTo>
                    <a:pt x="6710581" y="6479388"/>
                  </a:lnTo>
                  <a:lnTo>
                    <a:pt x="6700670" y="6479388"/>
                  </a:lnTo>
                  <a:lnTo>
                    <a:pt x="6696651" y="6475349"/>
                  </a:lnTo>
                  <a:lnTo>
                    <a:pt x="6696651" y="6465478"/>
                  </a:lnTo>
                  <a:close/>
                  <a:moveTo>
                    <a:pt x="6461356" y="6461440"/>
                  </a:moveTo>
                  <a:lnTo>
                    <a:pt x="6471266" y="6461440"/>
                  </a:lnTo>
                  <a:lnTo>
                    <a:pt x="6475285" y="6465478"/>
                  </a:lnTo>
                  <a:lnTo>
                    <a:pt x="6475285" y="6475349"/>
                  </a:lnTo>
                  <a:lnTo>
                    <a:pt x="6471266" y="6479388"/>
                  </a:lnTo>
                  <a:lnTo>
                    <a:pt x="6461356" y="6479388"/>
                  </a:lnTo>
                  <a:lnTo>
                    <a:pt x="6457337" y="6475349"/>
                  </a:lnTo>
                  <a:lnTo>
                    <a:pt x="6457337" y="6465478"/>
                  </a:lnTo>
                  <a:close/>
                  <a:moveTo>
                    <a:pt x="6222042" y="6461440"/>
                  </a:moveTo>
                  <a:lnTo>
                    <a:pt x="6231952" y="6461440"/>
                  </a:lnTo>
                  <a:lnTo>
                    <a:pt x="6235971" y="6465478"/>
                  </a:lnTo>
                  <a:lnTo>
                    <a:pt x="6235971" y="6475349"/>
                  </a:lnTo>
                  <a:lnTo>
                    <a:pt x="6231952" y="6479388"/>
                  </a:lnTo>
                  <a:lnTo>
                    <a:pt x="6222042" y="6479388"/>
                  </a:lnTo>
                  <a:lnTo>
                    <a:pt x="6218023" y="6475349"/>
                  </a:lnTo>
                  <a:lnTo>
                    <a:pt x="6218023" y="6465478"/>
                  </a:lnTo>
                  <a:close/>
                  <a:moveTo>
                    <a:pt x="5982729" y="6461440"/>
                  </a:moveTo>
                  <a:lnTo>
                    <a:pt x="5992639" y="6461440"/>
                  </a:lnTo>
                  <a:lnTo>
                    <a:pt x="5996658" y="6465478"/>
                  </a:lnTo>
                  <a:lnTo>
                    <a:pt x="5996658" y="6475349"/>
                  </a:lnTo>
                  <a:lnTo>
                    <a:pt x="5992639" y="6479388"/>
                  </a:lnTo>
                  <a:lnTo>
                    <a:pt x="5982729" y="6479388"/>
                  </a:lnTo>
                  <a:lnTo>
                    <a:pt x="5978710" y="6475349"/>
                  </a:lnTo>
                  <a:lnTo>
                    <a:pt x="5978710" y="6465478"/>
                  </a:lnTo>
                  <a:close/>
                  <a:moveTo>
                    <a:pt x="5743412" y="6461440"/>
                  </a:moveTo>
                  <a:lnTo>
                    <a:pt x="5753323" y="6461440"/>
                  </a:lnTo>
                  <a:lnTo>
                    <a:pt x="5757342" y="6465478"/>
                  </a:lnTo>
                  <a:lnTo>
                    <a:pt x="5757342" y="6475349"/>
                  </a:lnTo>
                  <a:lnTo>
                    <a:pt x="5753323" y="6479388"/>
                  </a:lnTo>
                  <a:lnTo>
                    <a:pt x="5743412" y="6479388"/>
                  </a:lnTo>
                  <a:lnTo>
                    <a:pt x="5739393" y="6475349"/>
                  </a:lnTo>
                  <a:lnTo>
                    <a:pt x="5739393" y="6465478"/>
                  </a:lnTo>
                  <a:close/>
                  <a:moveTo>
                    <a:pt x="5504099" y="6461440"/>
                  </a:moveTo>
                  <a:lnTo>
                    <a:pt x="5514010" y="6461440"/>
                  </a:lnTo>
                  <a:lnTo>
                    <a:pt x="5518029" y="6465478"/>
                  </a:lnTo>
                  <a:lnTo>
                    <a:pt x="5518029" y="6475349"/>
                  </a:lnTo>
                  <a:lnTo>
                    <a:pt x="5514010" y="6479388"/>
                  </a:lnTo>
                  <a:lnTo>
                    <a:pt x="5504099" y="6479388"/>
                  </a:lnTo>
                  <a:lnTo>
                    <a:pt x="5500080" y="6475349"/>
                  </a:lnTo>
                  <a:lnTo>
                    <a:pt x="5500080" y="6465478"/>
                  </a:lnTo>
                  <a:close/>
                  <a:moveTo>
                    <a:pt x="5264784" y="6461440"/>
                  </a:moveTo>
                  <a:lnTo>
                    <a:pt x="5274694" y="6461440"/>
                  </a:lnTo>
                  <a:lnTo>
                    <a:pt x="5278713" y="6465478"/>
                  </a:lnTo>
                  <a:lnTo>
                    <a:pt x="5278713" y="6475349"/>
                  </a:lnTo>
                  <a:lnTo>
                    <a:pt x="5274694" y="6479388"/>
                  </a:lnTo>
                  <a:lnTo>
                    <a:pt x="5264784" y="6479388"/>
                  </a:lnTo>
                  <a:lnTo>
                    <a:pt x="5260765" y="6475349"/>
                  </a:lnTo>
                  <a:lnTo>
                    <a:pt x="5260765" y="6465478"/>
                  </a:lnTo>
                  <a:close/>
                  <a:moveTo>
                    <a:pt x="5025470" y="6461440"/>
                  </a:moveTo>
                  <a:lnTo>
                    <a:pt x="5035381" y="6461440"/>
                  </a:lnTo>
                  <a:lnTo>
                    <a:pt x="5039400" y="6465478"/>
                  </a:lnTo>
                  <a:lnTo>
                    <a:pt x="5039400" y="6475349"/>
                  </a:lnTo>
                  <a:lnTo>
                    <a:pt x="5035381" y="6479388"/>
                  </a:lnTo>
                  <a:lnTo>
                    <a:pt x="5025470" y="6479388"/>
                  </a:lnTo>
                  <a:lnTo>
                    <a:pt x="5021451" y="6475349"/>
                  </a:lnTo>
                  <a:lnTo>
                    <a:pt x="5021451" y="6465478"/>
                  </a:lnTo>
                  <a:close/>
                  <a:moveTo>
                    <a:pt x="4786241" y="6461440"/>
                  </a:moveTo>
                  <a:lnTo>
                    <a:pt x="4796152" y="6461440"/>
                  </a:lnTo>
                  <a:lnTo>
                    <a:pt x="4800171" y="6465478"/>
                  </a:lnTo>
                  <a:lnTo>
                    <a:pt x="4800171" y="6475349"/>
                  </a:lnTo>
                  <a:lnTo>
                    <a:pt x="4796152" y="6479388"/>
                  </a:lnTo>
                  <a:lnTo>
                    <a:pt x="4786241" y="6479388"/>
                  </a:lnTo>
                  <a:lnTo>
                    <a:pt x="4782224" y="6475349"/>
                  </a:lnTo>
                  <a:lnTo>
                    <a:pt x="4782224" y="6465478"/>
                  </a:lnTo>
                  <a:close/>
                  <a:moveTo>
                    <a:pt x="4546929" y="6461440"/>
                  </a:moveTo>
                  <a:lnTo>
                    <a:pt x="4556840" y="6461440"/>
                  </a:lnTo>
                  <a:lnTo>
                    <a:pt x="4560859" y="6465478"/>
                  </a:lnTo>
                  <a:lnTo>
                    <a:pt x="4560859" y="6475349"/>
                  </a:lnTo>
                  <a:lnTo>
                    <a:pt x="4556840" y="6479388"/>
                  </a:lnTo>
                  <a:lnTo>
                    <a:pt x="4546929" y="6479388"/>
                  </a:lnTo>
                  <a:lnTo>
                    <a:pt x="4542910" y="6475349"/>
                  </a:lnTo>
                  <a:lnTo>
                    <a:pt x="4542910" y="6465478"/>
                  </a:lnTo>
                  <a:close/>
                  <a:moveTo>
                    <a:pt x="4307612" y="6461440"/>
                  </a:moveTo>
                  <a:lnTo>
                    <a:pt x="4317523" y="6461440"/>
                  </a:lnTo>
                  <a:lnTo>
                    <a:pt x="4321543" y="6465478"/>
                  </a:lnTo>
                  <a:lnTo>
                    <a:pt x="4321543" y="6475349"/>
                  </a:lnTo>
                  <a:lnTo>
                    <a:pt x="4317523" y="6479388"/>
                  </a:lnTo>
                  <a:lnTo>
                    <a:pt x="4307612" y="6479388"/>
                  </a:lnTo>
                  <a:lnTo>
                    <a:pt x="4303595" y="6475349"/>
                  </a:lnTo>
                  <a:lnTo>
                    <a:pt x="4303595" y="6465478"/>
                  </a:lnTo>
                  <a:close/>
                  <a:moveTo>
                    <a:pt x="4068297" y="6461440"/>
                  </a:moveTo>
                  <a:lnTo>
                    <a:pt x="4078210" y="6461440"/>
                  </a:lnTo>
                  <a:lnTo>
                    <a:pt x="4082229" y="6465478"/>
                  </a:lnTo>
                  <a:lnTo>
                    <a:pt x="4082229" y="6475349"/>
                  </a:lnTo>
                  <a:lnTo>
                    <a:pt x="4078210" y="6479388"/>
                  </a:lnTo>
                  <a:lnTo>
                    <a:pt x="4068297" y="6479388"/>
                  </a:lnTo>
                  <a:lnTo>
                    <a:pt x="4064278" y="6475349"/>
                  </a:lnTo>
                  <a:lnTo>
                    <a:pt x="4064278" y="6465478"/>
                  </a:lnTo>
                  <a:close/>
                  <a:moveTo>
                    <a:pt x="3828990" y="6461440"/>
                  </a:moveTo>
                  <a:lnTo>
                    <a:pt x="3838899" y="6461440"/>
                  </a:lnTo>
                  <a:lnTo>
                    <a:pt x="3842917" y="6465478"/>
                  </a:lnTo>
                  <a:lnTo>
                    <a:pt x="3842917" y="6475349"/>
                  </a:lnTo>
                  <a:lnTo>
                    <a:pt x="3838899" y="6479388"/>
                  </a:lnTo>
                  <a:lnTo>
                    <a:pt x="3828990" y="6479388"/>
                  </a:lnTo>
                  <a:lnTo>
                    <a:pt x="3824971" y="6475349"/>
                  </a:lnTo>
                  <a:lnTo>
                    <a:pt x="3824971" y="6465478"/>
                  </a:lnTo>
                  <a:close/>
                  <a:moveTo>
                    <a:pt x="3589676" y="6461440"/>
                  </a:moveTo>
                  <a:lnTo>
                    <a:pt x="3599585" y="6461440"/>
                  </a:lnTo>
                  <a:lnTo>
                    <a:pt x="3603604" y="6465478"/>
                  </a:lnTo>
                  <a:lnTo>
                    <a:pt x="3603604" y="6475349"/>
                  </a:lnTo>
                  <a:lnTo>
                    <a:pt x="3599585" y="6479388"/>
                  </a:lnTo>
                  <a:lnTo>
                    <a:pt x="3589676" y="6479388"/>
                  </a:lnTo>
                  <a:lnTo>
                    <a:pt x="3585657" y="6475349"/>
                  </a:lnTo>
                  <a:lnTo>
                    <a:pt x="3585657" y="6465478"/>
                  </a:lnTo>
                  <a:close/>
                  <a:moveTo>
                    <a:pt x="3350359" y="6461440"/>
                  </a:moveTo>
                  <a:lnTo>
                    <a:pt x="3360268" y="6461440"/>
                  </a:lnTo>
                  <a:lnTo>
                    <a:pt x="3364287" y="6465478"/>
                  </a:lnTo>
                  <a:lnTo>
                    <a:pt x="3364287" y="6475349"/>
                  </a:lnTo>
                  <a:lnTo>
                    <a:pt x="3360268" y="6479388"/>
                  </a:lnTo>
                  <a:lnTo>
                    <a:pt x="3350359" y="6479388"/>
                  </a:lnTo>
                  <a:lnTo>
                    <a:pt x="3346340" y="6475349"/>
                  </a:lnTo>
                  <a:lnTo>
                    <a:pt x="3346340" y="6465478"/>
                  </a:lnTo>
                  <a:close/>
                  <a:moveTo>
                    <a:pt x="3111048" y="6461440"/>
                  </a:moveTo>
                  <a:lnTo>
                    <a:pt x="3120959" y="6461440"/>
                  </a:lnTo>
                  <a:lnTo>
                    <a:pt x="3124977" y="6465478"/>
                  </a:lnTo>
                  <a:lnTo>
                    <a:pt x="3124977" y="6475349"/>
                  </a:lnTo>
                  <a:lnTo>
                    <a:pt x="3120959" y="6479388"/>
                  </a:lnTo>
                  <a:lnTo>
                    <a:pt x="3111048" y="6479388"/>
                  </a:lnTo>
                  <a:lnTo>
                    <a:pt x="3107029" y="6475349"/>
                  </a:lnTo>
                  <a:lnTo>
                    <a:pt x="3107029" y="6465478"/>
                  </a:lnTo>
                  <a:close/>
                  <a:moveTo>
                    <a:pt x="2871737" y="6461440"/>
                  </a:moveTo>
                  <a:lnTo>
                    <a:pt x="2881646" y="6461440"/>
                  </a:lnTo>
                  <a:lnTo>
                    <a:pt x="2885666" y="6465478"/>
                  </a:lnTo>
                  <a:lnTo>
                    <a:pt x="2885666" y="6475349"/>
                  </a:lnTo>
                  <a:lnTo>
                    <a:pt x="2881646" y="6479388"/>
                  </a:lnTo>
                  <a:lnTo>
                    <a:pt x="2871737" y="6479388"/>
                  </a:lnTo>
                  <a:lnTo>
                    <a:pt x="2867717" y="6475349"/>
                  </a:lnTo>
                  <a:lnTo>
                    <a:pt x="2867717" y="6465478"/>
                  </a:lnTo>
                  <a:close/>
                  <a:moveTo>
                    <a:pt x="2632423" y="6461440"/>
                  </a:moveTo>
                  <a:lnTo>
                    <a:pt x="2642334" y="6461440"/>
                  </a:lnTo>
                  <a:lnTo>
                    <a:pt x="2646352" y="6465478"/>
                  </a:lnTo>
                  <a:lnTo>
                    <a:pt x="2646352" y="6475349"/>
                  </a:lnTo>
                  <a:lnTo>
                    <a:pt x="2642334" y="6479388"/>
                  </a:lnTo>
                  <a:lnTo>
                    <a:pt x="2632423" y="6479388"/>
                  </a:lnTo>
                  <a:lnTo>
                    <a:pt x="2628404" y="6475349"/>
                  </a:lnTo>
                  <a:lnTo>
                    <a:pt x="2628404" y="6465478"/>
                  </a:lnTo>
                  <a:close/>
                  <a:moveTo>
                    <a:pt x="2393104" y="6461440"/>
                  </a:moveTo>
                  <a:lnTo>
                    <a:pt x="2403015" y="6461440"/>
                  </a:lnTo>
                  <a:lnTo>
                    <a:pt x="2407034" y="6465478"/>
                  </a:lnTo>
                  <a:lnTo>
                    <a:pt x="2407034" y="6475349"/>
                  </a:lnTo>
                  <a:lnTo>
                    <a:pt x="2403015" y="6479388"/>
                  </a:lnTo>
                  <a:lnTo>
                    <a:pt x="2393104" y="6479388"/>
                  </a:lnTo>
                  <a:lnTo>
                    <a:pt x="2389087" y="6475349"/>
                  </a:lnTo>
                  <a:lnTo>
                    <a:pt x="2389087" y="6465478"/>
                  </a:lnTo>
                  <a:close/>
                  <a:moveTo>
                    <a:pt x="721958" y="6461440"/>
                  </a:moveTo>
                  <a:lnTo>
                    <a:pt x="731868" y="6461440"/>
                  </a:lnTo>
                  <a:lnTo>
                    <a:pt x="735887" y="6465478"/>
                  </a:lnTo>
                  <a:lnTo>
                    <a:pt x="735887" y="6475349"/>
                  </a:lnTo>
                  <a:lnTo>
                    <a:pt x="731868" y="6479388"/>
                  </a:lnTo>
                  <a:lnTo>
                    <a:pt x="721958" y="6479388"/>
                  </a:lnTo>
                  <a:lnTo>
                    <a:pt x="717939" y="6475349"/>
                  </a:lnTo>
                  <a:lnTo>
                    <a:pt x="717939" y="6465478"/>
                  </a:lnTo>
                  <a:close/>
                  <a:moveTo>
                    <a:pt x="482646" y="6461440"/>
                  </a:moveTo>
                  <a:lnTo>
                    <a:pt x="492556" y="6461440"/>
                  </a:lnTo>
                  <a:lnTo>
                    <a:pt x="496575" y="6465478"/>
                  </a:lnTo>
                  <a:lnTo>
                    <a:pt x="496575" y="6475349"/>
                  </a:lnTo>
                  <a:lnTo>
                    <a:pt x="492556" y="6479388"/>
                  </a:lnTo>
                  <a:lnTo>
                    <a:pt x="482646" y="6479388"/>
                  </a:lnTo>
                  <a:lnTo>
                    <a:pt x="478627" y="6475349"/>
                  </a:lnTo>
                  <a:lnTo>
                    <a:pt x="478627" y="6465478"/>
                  </a:lnTo>
                  <a:close/>
                  <a:moveTo>
                    <a:pt x="243332" y="6461440"/>
                  </a:moveTo>
                  <a:lnTo>
                    <a:pt x="253242" y="6461440"/>
                  </a:lnTo>
                  <a:lnTo>
                    <a:pt x="257261" y="6465478"/>
                  </a:lnTo>
                  <a:lnTo>
                    <a:pt x="257261" y="6475349"/>
                  </a:lnTo>
                  <a:lnTo>
                    <a:pt x="253242" y="6479388"/>
                  </a:lnTo>
                  <a:lnTo>
                    <a:pt x="243332" y="6479388"/>
                  </a:lnTo>
                  <a:lnTo>
                    <a:pt x="239313" y="6475349"/>
                  </a:lnTo>
                  <a:lnTo>
                    <a:pt x="239313" y="6465478"/>
                  </a:lnTo>
                  <a:close/>
                  <a:moveTo>
                    <a:pt x="4019" y="6461440"/>
                  </a:moveTo>
                  <a:lnTo>
                    <a:pt x="13929" y="6461440"/>
                  </a:lnTo>
                  <a:lnTo>
                    <a:pt x="17949" y="6465478"/>
                  </a:lnTo>
                  <a:lnTo>
                    <a:pt x="17949" y="6475349"/>
                  </a:lnTo>
                  <a:lnTo>
                    <a:pt x="13929" y="6479388"/>
                  </a:lnTo>
                  <a:lnTo>
                    <a:pt x="4019" y="6479388"/>
                  </a:lnTo>
                  <a:lnTo>
                    <a:pt x="0" y="6475349"/>
                  </a:lnTo>
                  <a:lnTo>
                    <a:pt x="0" y="6465478"/>
                  </a:lnTo>
                  <a:close/>
                  <a:moveTo>
                    <a:pt x="9572438" y="6222160"/>
                  </a:moveTo>
                  <a:lnTo>
                    <a:pt x="9582349" y="6222160"/>
                  </a:lnTo>
                  <a:lnTo>
                    <a:pt x="9586368" y="6226198"/>
                  </a:lnTo>
                  <a:lnTo>
                    <a:pt x="9586368" y="6236069"/>
                  </a:lnTo>
                  <a:lnTo>
                    <a:pt x="9582349" y="6240109"/>
                  </a:lnTo>
                  <a:lnTo>
                    <a:pt x="9572438" y="6240109"/>
                  </a:lnTo>
                  <a:lnTo>
                    <a:pt x="9568419" y="6236069"/>
                  </a:lnTo>
                  <a:lnTo>
                    <a:pt x="9568419" y="6226198"/>
                  </a:lnTo>
                  <a:close/>
                  <a:moveTo>
                    <a:pt x="9333125" y="6222160"/>
                  </a:moveTo>
                  <a:lnTo>
                    <a:pt x="9343036" y="6222160"/>
                  </a:lnTo>
                  <a:lnTo>
                    <a:pt x="9347055" y="6226198"/>
                  </a:lnTo>
                  <a:lnTo>
                    <a:pt x="9347055" y="6236069"/>
                  </a:lnTo>
                  <a:lnTo>
                    <a:pt x="9343036" y="6240109"/>
                  </a:lnTo>
                  <a:lnTo>
                    <a:pt x="9333125" y="6240109"/>
                  </a:lnTo>
                  <a:lnTo>
                    <a:pt x="9329106" y="6236069"/>
                  </a:lnTo>
                  <a:lnTo>
                    <a:pt x="9329106" y="6226198"/>
                  </a:lnTo>
                  <a:close/>
                  <a:moveTo>
                    <a:pt x="9093811" y="6222160"/>
                  </a:moveTo>
                  <a:lnTo>
                    <a:pt x="9103722" y="6222160"/>
                  </a:lnTo>
                  <a:lnTo>
                    <a:pt x="9107741" y="6226198"/>
                  </a:lnTo>
                  <a:lnTo>
                    <a:pt x="9107741" y="6236069"/>
                  </a:lnTo>
                  <a:lnTo>
                    <a:pt x="9103722" y="6240109"/>
                  </a:lnTo>
                  <a:lnTo>
                    <a:pt x="9093811" y="6240109"/>
                  </a:lnTo>
                  <a:lnTo>
                    <a:pt x="9089792" y="6236069"/>
                  </a:lnTo>
                  <a:lnTo>
                    <a:pt x="9089792" y="6226198"/>
                  </a:lnTo>
                  <a:close/>
                  <a:moveTo>
                    <a:pt x="8854496" y="6222160"/>
                  </a:moveTo>
                  <a:lnTo>
                    <a:pt x="8864407" y="6222160"/>
                  </a:lnTo>
                  <a:lnTo>
                    <a:pt x="8868426" y="6226198"/>
                  </a:lnTo>
                  <a:lnTo>
                    <a:pt x="8868426" y="6236069"/>
                  </a:lnTo>
                  <a:lnTo>
                    <a:pt x="8864407" y="6240109"/>
                  </a:lnTo>
                  <a:lnTo>
                    <a:pt x="8854496" y="6240109"/>
                  </a:lnTo>
                  <a:lnTo>
                    <a:pt x="8850477" y="6236069"/>
                  </a:lnTo>
                  <a:lnTo>
                    <a:pt x="8850477" y="6226198"/>
                  </a:lnTo>
                  <a:close/>
                  <a:moveTo>
                    <a:pt x="8615184" y="6222160"/>
                  </a:moveTo>
                  <a:lnTo>
                    <a:pt x="8625095" y="6222160"/>
                  </a:lnTo>
                  <a:lnTo>
                    <a:pt x="8629114" y="6226198"/>
                  </a:lnTo>
                  <a:lnTo>
                    <a:pt x="8629114" y="6236069"/>
                  </a:lnTo>
                  <a:lnTo>
                    <a:pt x="8625095" y="6240109"/>
                  </a:lnTo>
                  <a:lnTo>
                    <a:pt x="8615184" y="6240109"/>
                  </a:lnTo>
                  <a:lnTo>
                    <a:pt x="8611165" y="6236069"/>
                  </a:lnTo>
                  <a:lnTo>
                    <a:pt x="8611165" y="6226198"/>
                  </a:lnTo>
                  <a:close/>
                  <a:moveTo>
                    <a:pt x="8375869" y="6222160"/>
                  </a:moveTo>
                  <a:lnTo>
                    <a:pt x="8385779" y="6222160"/>
                  </a:lnTo>
                  <a:lnTo>
                    <a:pt x="8389799" y="6226198"/>
                  </a:lnTo>
                  <a:lnTo>
                    <a:pt x="8389799" y="6236069"/>
                  </a:lnTo>
                  <a:lnTo>
                    <a:pt x="8385779" y="6240109"/>
                  </a:lnTo>
                  <a:lnTo>
                    <a:pt x="8375869" y="6240109"/>
                  </a:lnTo>
                  <a:lnTo>
                    <a:pt x="8371850" y="6236069"/>
                  </a:lnTo>
                  <a:lnTo>
                    <a:pt x="8371850" y="6226198"/>
                  </a:lnTo>
                  <a:close/>
                  <a:moveTo>
                    <a:pt x="8136553" y="6222160"/>
                  </a:moveTo>
                  <a:lnTo>
                    <a:pt x="8146464" y="6222160"/>
                  </a:lnTo>
                  <a:lnTo>
                    <a:pt x="8150483" y="6226198"/>
                  </a:lnTo>
                  <a:lnTo>
                    <a:pt x="8150483" y="6236069"/>
                  </a:lnTo>
                  <a:lnTo>
                    <a:pt x="8146464" y="6240109"/>
                  </a:lnTo>
                  <a:lnTo>
                    <a:pt x="8136553" y="6240109"/>
                  </a:lnTo>
                  <a:lnTo>
                    <a:pt x="8132534" y="6236069"/>
                  </a:lnTo>
                  <a:lnTo>
                    <a:pt x="8132534" y="6226198"/>
                  </a:lnTo>
                  <a:close/>
                  <a:moveTo>
                    <a:pt x="7897241" y="6222160"/>
                  </a:moveTo>
                  <a:lnTo>
                    <a:pt x="7907151" y="6222160"/>
                  </a:lnTo>
                  <a:lnTo>
                    <a:pt x="7911170" y="6226198"/>
                  </a:lnTo>
                  <a:lnTo>
                    <a:pt x="7911170" y="6236069"/>
                  </a:lnTo>
                  <a:lnTo>
                    <a:pt x="7907151" y="6240109"/>
                  </a:lnTo>
                  <a:lnTo>
                    <a:pt x="7897241" y="6240109"/>
                  </a:lnTo>
                  <a:lnTo>
                    <a:pt x="7893222" y="6236069"/>
                  </a:lnTo>
                  <a:lnTo>
                    <a:pt x="7893222" y="6226198"/>
                  </a:lnTo>
                  <a:close/>
                  <a:moveTo>
                    <a:pt x="7657926" y="6222160"/>
                  </a:moveTo>
                  <a:lnTo>
                    <a:pt x="7667836" y="6222160"/>
                  </a:lnTo>
                  <a:lnTo>
                    <a:pt x="7671855" y="6226198"/>
                  </a:lnTo>
                  <a:lnTo>
                    <a:pt x="7671855" y="6236069"/>
                  </a:lnTo>
                  <a:lnTo>
                    <a:pt x="7667836" y="6240109"/>
                  </a:lnTo>
                  <a:lnTo>
                    <a:pt x="7657926" y="6240109"/>
                  </a:lnTo>
                  <a:lnTo>
                    <a:pt x="7653906" y="6236069"/>
                  </a:lnTo>
                  <a:lnTo>
                    <a:pt x="7653906" y="6226198"/>
                  </a:lnTo>
                  <a:close/>
                  <a:moveTo>
                    <a:pt x="7418611" y="6222160"/>
                  </a:moveTo>
                  <a:lnTo>
                    <a:pt x="7428521" y="6222160"/>
                  </a:lnTo>
                  <a:lnTo>
                    <a:pt x="7432540" y="6226198"/>
                  </a:lnTo>
                  <a:lnTo>
                    <a:pt x="7432540" y="6236069"/>
                  </a:lnTo>
                  <a:lnTo>
                    <a:pt x="7428521" y="6240109"/>
                  </a:lnTo>
                  <a:lnTo>
                    <a:pt x="7418611" y="6240109"/>
                  </a:lnTo>
                  <a:lnTo>
                    <a:pt x="7414592" y="6236069"/>
                  </a:lnTo>
                  <a:lnTo>
                    <a:pt x="7414592" y="6226198"/>
                  </a:lnTo>
                  <a:close/>
                  <a:moveTo>
                    <a:pt x="7179298" y="6222160"/>
                  </a:moveTo>
                  <a:lnTo>
                    <a:pt x="7189209" y="6222160"/>
                  </a:lnTo>
                  <a:lnTo>
                    <a:pt x="7193228" y="6226198"/>
                  </a:lnTo>
                  <a:lnTo>
                    <a:pt x="7193228" y="6236069"/>
                  </a:lnTo>
                  <a:lnTo>
                    <a:pt x="7189209" y="6240109"/>
                  </a:lnTo>
                  <a:lnTo>
                    <a:pt x="7179298" y="6240109"/>
                  </a:lnTo>
                  <a:lnTo>
                    <a:pt x="7175279" y="6236069"/>
                  </a:lnTo>
                  <a:lnTo>
                    <a:pt x="7175279" y="6226198"/>
                  </a:lnTo>
                  <a:close/>
                  <a:moveTo>
                    <a:pt x="6939983" y="6222160"/>
                  </a:moveTo>
                  <a:lnTo>
                    <a:pt x="6949894" y="6222160"/>
                  </a:lnTo>
                  <a:lnTo>
                    <a:pt x="6953913" y="6226198"/>
                  </a:lnTo>
                  <a:lnTo>
                    <a:pt x="6953913" y="6236069"/>
                  </a:lnTo>
                  <a:lnTo>
                    <a:pt x="6949894" y="6240109"/>
                  </a:lnTo>
                  <a:lnTo>
                    <a:pt x="6939983" y="6240109"/>
                  </a:lnTo>
                  <a:lnTo>
                    <a:pt x="6935964" y="6236069"/>
                  </a:lnTo>
                  <a:lnTo>
                    <a:pt x="6935964" y="6226198"/>
                  </a:lnTo>
                  <a:close/>
                  <a:moveTo>
                    <a:pt x="6700670" y="6222160"/>
                  </a:moveTo>
                  <a:lnTo>
                    <a:pt x="6710581" y="6222160"/>
                  </a:lnTo>
                  <a:lnTo>
                    <a:pt x="6714600" y="6226198"/>
                  </a:lnTo>
                  <a:lnTo>
                    <a:pt x="6714600" y="6236069"/>
                  </a:lnTo>
                  <a:lnTo>
                    <a:pt x="6710581" y="6240109"/>
                  </a:lnTo>
                  <a:lnTo>
                    <a:pt x="6700670" y="6240109"/>
                  </a:lnTo>
                  <a:lnTo>
                    <a:pt x="6696651" y="6236069"/>
                  </a:lnTo>
                  <a:lnTo>
                    <a:pt x="6696651" y="6226198"/>
                  </a:lnTo>
                  <a:close/>
                  <a:moveTo>
                    <a:pt x="6461356" y="6222160"/>
                  </a:moveTo>
                  <a:lnTo>
                    <a:pt x="6471266" y="6222160"/>
                  </a:lnTo>
                  <a:lnTo>
                    <a:pt x="6475285" y="6226198"/>
                  </a:lnTo>
                  <a:lnTo>
                    <a:pt x="6475285" y="6236069"/>
                  </a:lnTo>
                  <a:lnTo>
                    <a:pt x="6471266" y="6240109"/>
                  </a:lnTo>
                  <a:lnTo>
                    <a:pt x="6461356" y="6240109"/>
                  </a:lnTo>
                  <a:lnTo>
                    <a:pt x="6457337" y="6236069"/>
                  </a:lnTo>
                  <a:lnTo>
                    <a:pt x="6457337" y="6226198"/>
                  </a:lnTo>
                  <a:close/>
                  <a:moveTo>
                    <a:pt x="6222042" y="6222160"/>
                  </a:moveTo>
                  <a:lnTo>
                    <a:pt x="6231952" y="6222160"/>
                  </a:lnTo>
                  <a:lnTo>
                    <a:pt x="6235971" y="6226198"/>
                  </a:lnTo>
                  <a:lnTo>
                    <a:pt x="6235971" y="6236069"/>
                  </a:lnTo>
                  <a:lnTo>
                    <a:pt x="6231952" y="6240109"/>
                  </a:lnTo>
                  <a:lnTo>
                    <a:pt x="6222042" y="6240109"/>
                  </a:lnTo>
                  <a:lnTo>
                    <a:pt x="6218023" y="6236069"/>
                  </a:lnTo>
                  <a:lnTo>
                    <a:pt x="6218023" y="6226198"/>
                  </a:lnTo>
                  <a:close/>
                  <a:moveTo>
                    <a:pt x="5982729" y="6222160"/>
                  </a:moveTo>
                  <a:lnTo>
                    <a:pt x="5992639" y="6222160"/>
                  </a:lnTo>
                  <a:lnTo>
                    <a:pt x="5996658" y="6226198"/>
                  </a:lnTo>
                  <a:lnTo>
                    <a:pt x="5996658" y="6236069"/>
                  </a:lnTo>
                  <a:lnTo>
                    <a:pt x="5992639" y="6240109"/>
                  </a:lnTo>
                  <a:lnTo>
                    <a:pt x="5982729" y="6240109"/>
                  </a:lnTo>
                  <a:lnTo>
                    <a:pt x="5978710" y="6236069"/>
                  </a:lnTo>
                  <a:lnTo>
                    <a:pt x="5978710" y="6226198"/>
                  </a:lnTo>
                  <a:close/>
                  <a:moveTo>
                    <a:pt x="5743412" y="6222160"/>
                  </a:moveTo>
                  <a:lnTo>
                    <a:pt x="5753323" y="6222160"/>
                  </a:lnTo>
                  <a:lnTo>
                    <a:pt x="5757342" y="6226198"/>
                  </a:lnTo>
                  <a:lnTo>
                    <a:pt x="5757342" y="6236069"/>
                  </a:lnTo>
                  <a:lnTo>
                    <a:pt x="5753323" y="6240109"/>
                  </a:lnTo>
                  <a:lnTo>
                    <a:pt x="5743412" y="6240109"/>
                  </a:lnTo>
                  <a:lnTo>
                    <a:pt x="5739393" y="6236069"/>
                  </a:lnTo>
                  <a:lnTo>
                    <a:pt x="5739393" y="6226198"/>
                  </a:lnTo>
                  <a:close/>
                  <a:moveTo>
                    <a:pt x="5504099" y="6222160"/>
                  </a:moveTo>
                  <a:lnTo>
                    <a:pt x="5514010" y="6222160"/>
                  </a:lnTo>
                  <a:lnTo>
                    <a:pt x="5518029" y="6226198"/>
                  </a:lnTo>
                  <a:lnTo>
                    <a:pt x="5518029" y="6236069"/>
                  </a:lnTo>
                  <a:lnTo>
                    <a:pt x="5514010" y="6240109"/>
                  </a:lnTo>
                  <a:lnTo>
                    <a:pt x="5504099" y="6240109"/>
                  </a:lnTo>
                  <a:lnTo>
                    <a:pt x="5500080" y="6236069"/>
                  </a:lnTo>
                  <a:lnTo>
                    <a:pt x="5500080" y="6226198"/>
                  </a:lnTo>
                  <a:close/>
                  <a:moveTo>
                    <a:pt x="5264784" y="6222160"/>
                  </a:moveTo>
                  <a:lnTo>
                    <a:pt x="5274694" y="6222160"/>
                  </a:lnTo>
                  <a:lnTo>
                    <a:pt x="5278713" y="6226198"/>
                  </a:lnTo>
                  <a:lnTo>
                    <a:pt x="5278713" y="6236069"/>
                  </a:lnTo>
                  <a:lnTo>
                    <a:pt x="5274694" y="6240109"/>
                  </a:lnTo>
                  <a:lnTo>
                    <a:pt x="5264784" y="6240109"/>
                  </a:lnTo>
                  <a:lnTo>
                    <a:pt x="5260765" y="6236069"/>
                  </a:lnTo>
                  <a:lnTo>
                    <a:pt x="5260765" y="6226198"/>
                  </a:lnTo>
                  <a:close/>
                  <a:moveTo>
                    <a:pt x="5025470" y="6222160"/>
                  </a:moveTo>
                  <a:lnTo>
                    <a:pt x="5035381" y="6222160"/>
                  </a:lnTo>
                  <a:lnTo>
                    <a:pt x="5039400" y="6226198"/>
                  </a:lnTo>
                  <a:lnTo>
                    <a:pt x="5039400" y="6236069"/>
                  </a:lnTo>
                  <a:lnTo>
                    <a:pt x="5035381" y="6240109"/>
                  </a:lnTo>
                  <a:lnTo>
                    <a:pt x="5025470" y="6240109"/>
                  </a:lnTo>
                  <a:lnTo>
                    <a:pt x="5021451" y="6236069"/>
                  </a:lnTo>
                  <a:lnTo>
                    <a:pt x="5021451" y="6226198"/>
                  </a:lnTo>
                  <a:close/>
                  <a:moveTo>
                    <a:pt x="4786241" y="6222160"/>
                  </a:moveTo>
                  <a:lnTo>
                    <a:pt x="4796152" y="6222160"/>
                  </a:lnTo>
                  <a:lnTo>
                    <a:pt x="4800171" y="6226198"/>
                  </a:lnTo>
                  <a:lnTo>
                    <a:pt x="4800171" y="6236069"/>
                  </a:lnTo>
                  <a:lnTo>
                    <a:pt x="4796152" y="6240109"/>
                  </a:lnTo>
                  <a:lnTo>
                    <a:pt x="4786241" y="6240109"/>
                  </a:lnTo>
                  <a:lnTo>
                    <a:pt x="4782224" y="6236069"/>
                  </a:lnTo>
                  <a:lnTo>
                    <a:pt x="4782224" y="6226198"/>
                  </a:lnTo>
                  <a:close/>
                  <a:moveTo>
                    <a:pt x="4546929" y="6222160"/>
                  </a:moveTo>
                  <a:lnTo>
                    <a:pt x="4556840" y="6222160"/>
                  </a:lnTo>
                  <a:lnTo>
                    <a:pt x="4560859" y="6226198"/>
                  </a:lnTo>
                  <a:lnTo>
                    <a:pt x="4560859" y="6236069"/>
                  </a:lnTo>
                  <a:lnTo>
                    <a:pt x="4556840" y="6240109"/>
                  </a:lnTo>
                  <a:lnTo>
                    <a:pt x="4546929" y="6240109"/>
                  </a:lnTo>
                  <a:lnTo>
                    <a:pt x="4542910" y="6236069"/>
                  </a:lnTo>
                  <a:lnTo>
                    <a:pt x="4542910" y="6226198"/>
                  </a:lnTo>
                  <a:close/>
                  <a:moveTo>
                    <a:pt x="4307612" y="6222160"/>
                  </a:moveTo>
                  <a:lnTo>
                    <a:pt x="4317523" y="6222160"/>
                  </a:lnTo>
                  <a:lnTo>
                    <a:pt x="4321543" y="6226198"/>
                  </a:lnTo>
                  <a:lnTo>
                    <a:pt x="4321543" y="6236069"/>
                  </a:lnTo>
                  <a:lnTo>
                    <a:pt x="4317523" y="6240109"/>
                  </a:lnTo>
                  <a:lnTo>
                    <a:pt x="4307612" y="6240109"/>
                  </a:lnTo>
                  <a:lnTo>
                    <a:pt x="4303595" y="6236069"/>
                  </a:lnTo>
                  <a:lnTo>
                    <a:pt x="4303595" y="6226198"/>
                  </a:lnTo>
                  <a:close/>
                  <a:moveTo>
                    <a:pt x="4068297" y="6222160"/>
                  </a:moveTo>
                  <a:lnTo>
                    <a:pt x="4078210" y="6222160"/>
                  </a:lnTo>
                  <a:lnTo>
                    <a:pt x="4082229" y="6226198"/>
                  </a:lnTo>
                  <a:lnTo>
                    <a:pt x="4082229" y="6236069"/>
                  </a:lnTo>
                  <a:lnTo>
                    <a:pt x="4078210" y="6240109"/>
                  </a:lnTo>
                  <a:lnTo>
                    <a:pt x="4068297" y="6240109"/>
                  </a:lnTo>
                  <a:lnTo>
                    <a:pt x="4064278" y="6236069"/>
                  </a:lnTo>
                  <a:lnTo>
                    <a:pt x="4064278" y="6226198"/>
                  </a:lnTo>
                  <a:close/>
                  <a:moveTo>
                    <a:pt x="3828990" y="6222160"/>
                  </a:moveTo>
                  <a:lnTo>
                    <a:pt x="3838899" y="6222160"/>
                  </a:lnTo>
                  <a:lnTo>
                    <a:pt x="3842917" y="6226198"/>
                  </a:lnTo>
                  <a:lnTo>
                    <a:pt x="3842917" y="6236069"/>
                  </a:lnTo>
                  <a:lnTo>
                    <a:pt x="3838899" y="6240109"/>
                  </a:lnTo>
                  <a:lnTo>
                    <a:pt x="3828990" y="6240109"/>
                  </a:lnTo>
                  <a:lnTo>
                    <a:pt x="3824971" y="6236069"/>
                  </a:lnTo>
                  <a:lnTo>
                    <a:pt x="3824971" y="6226198"/>
                  </a:lnTo>
                  <a:close/>
                  <a:moveTo>
                    <a:pt x="3589676" y="6222160"/>
                  </a:moveTo>
                  <a:lnTo>
                    <a:pt x="3599585" y="6222160"/>
                  </a:lnTo>
                  <a:lnTo>
                    <a:pt x="3603604" y="6226198"/>
                  </a:lnTo>
                  <a:lnTo>
                    <a:pt x="3603604" y="6236069"/>
                  </a:lnTo>
                  <a:lnTo>
                    <a:pt x="3599585" y="6240109"/>
                  </a:lnTo>
                  <a:lnTo>
                    <a:pt x="3589676" y="6240109"/>
                  </a:lnTo>
                  <a:lnTo>
                    <a:pt x="3585657" y="6236069"/>
                  </a:lnTo>
                  <a:lnTo>
                    <a:pt x="3585657" y="6226198"/>
                  </a:lnTo>
                  <a:close/>
                  <a:moveTo>
                    <a:pt x="3350359" y="6222160"/>
                  </a:moveTo>
                  <a:lnTo>
                    <a:pt x="3360268" y="6222160"/>
                  </a:lnTo>
                  <a:lnTo>
                    <a:pt x="3364287" y="6226198"/>
                  </a:lnTo>
                  <a:lnTo>
                    <a:pt x="3364287" y="6236069"/>
                  </a:lnTo>
                  <a:lnTo>
                    <a:pt x="3360268" y="6240109"/>
                  </a:lnTo>
                  <a:lnTo>
                    <a:pt x="3350359" y="6240109"/>
                  </a:lnTo>
                  <a:lnTo>
                    <a:pt x="3346340" y="6236069"/>
                  </a:lnTo>
                  <a:lnTo>
                    <a:pt x="3346340" y="6226198"/>
                  </a:lnTo>
                  <a:close/>
                  <a:moveTo>
                    <a:pt x="3111048" y="6222160"/>
                  </a:moveTo>
                  <a:lnTo>
                    <a:pt x="3120959" y="6222160"/>
                  </a:lnTo>
                  <a:lnTo>
                    <a:pt x="3124977" y="6226198"/>
                  </a:lnTo>
                  <a:lnTo>
                    <a:pt x="3124977" y="6236069"/>
                  </a:lnTo>
                  <a:lnTo>
                    <a:pt x="3120959" y="6240109"/>
                  </a:lnTo>
                  <a:lnTo>
                    <a:pt x="3111048" y="6240109"/>
                  </a:lnTo>
                  <a:lnTo>
                    <a:pt x="3107029" y="6236069"/>
                  </a:lnTo>
                  <a:lnTo>
                    <a:pt x="3107029" y="6226198"/>
                  </a:lnTo>
                  <a:close/>
                  <a:moveTo>
                    <a:pt x="2871737" y="6222160"/>
                  </a:moveTo>
                  <a:lnTo>
                    <a:pt x="2881646" y="6222160"/>
                  </a:lnTo>
                  <a:lnTo>
                    <a:pt x="2885666" y="6226198"/>
                  </a:lnTo>
                  <a:lnTo>
                    <a:pt x="2885666" y="6236069"/>
                  </a:lnTo>
                  <a:lnTo>
                    <a:pt x="2881646" y="6240109"/>
                  </a:lnTo>
                  <a:lnTo>
                    <a:pt x="2871737" y="6240109"/>
                  </a:lnTo>
                  <a:lnTo>
                    <a:pt x="2867717" y="6236069"/>
                  </a:lnTo>
                  <a:lnTo>
                    <a:pt x="2867717" y="6226198"/>
                  </a:lnTo>
                  <a:close/>
                  <a:moveTo>
                    <a:pt x="2632423" y="6222160"/>
                  </a:moveTo>
                  <a:lnTo>
                    <a:pt x="2642334" y="6222160"/>
                  </a:lnTo>
                  <a:lnTo>
                    <a:pt x="2646352" y="6226198"/>
                  </a:lnTo>
                  <a:lnTo>
                    <a:pt x="2646352" y="6236069"/>
                  </a:lnTo>
                  <a:lnTo>
                    <a:pt x="2642334" y="6240109"/>
                  </a:lnTo>
                  <a:lnTo>
                    <a:pt x="2632423" y="6240109"/>
                  </a:lnTo>
                  <a:lnTo>
                    <a:pt x="2628404" y="6236069"/>
                  </a:lnTo>
                  <a:lnTo>
                    <a:pt x="2628404" y="6226198"/>
                  </a:lnTo>
                  <a:close/>
                  <a:moveTo>
                    <a:pt x="2393104" y="6222160"/>
                  </a:moveTo>
                  <a:lnTo>
                    <a:pt x="2403015" y="6222160"/>
                  </a:lnTo>
                  <a:lnTo>
                    <a:pt x="2407034" y="6226198"/>
                  </a:lnTo>
                  <a:lnTo>
                    <a:pt x="2407034" y="6236069"/>
                  </a:lnTo>
                  <a:lnTo>
                    <a:pt x="2403015" y="6240109"/>
                  </a:lnTo>
                  <a:lnTo>
                    <a:pt x="2393104" y="6240109"/>
                  </a:lnTo>
                  <a:lnTo>
                    <a:pt x="2389087" y="6236069"/>
                  </a:lnTo>
                  <a:lnTo>
                    <a:pt x="2389087" y="6226198"/>
                  </a:lnTo>
                  <a:close/>
                  <a:moveTo>
                    <a:pt x="2157818" y="6222160"/>
                  </a:moveTo>
                  <a:lnTo>
                    <a:pt x="2167728" y="6222160"/>
                  </a:lnTo>
                  <a:lnTo>
                    <a:pt x="2171746" y="6226198"/>
                  </a:lnTo>
                  <a:lnTo>
                    <a:pt x="2171746" y="6236069"/>
                  </a:lnTo>
                  <a:lnTo>
                    <a:pt x="2167728" y="6240109"/>
                  </a:lnTo>
                  <a:lnTo>
                    <a:pt x="2157818" y="6240109"/>
                  </a:lnTo>
                  <a:lnTo>
                    <a:pt x="2153799" y="6236069"/>
                  </a:lnTo>
                  <a:lnTo>
                    <a:pt x="2153799" y="6226198"/>
                  </a:lnTo>
                  <a:close/>
                  <a:moveTo>
                    <a:pt x="1918509" y="6222160"/>
                  </a:moveTo>
                  <a:lnTo>
                    <a:pt x="1928419" y="6222160"/>
                  </a:lnTo>
                  <a:lnTo>
                    <a:pt x="1932438" y="6226198"/>
                  </a:lnTo>
                  <a:lnTo>
                    <a:pt x="1932438" y="6236069"/>
                  </a:lnTo>
                  <a:lnTo>
                    <a:pt x="1928419" y="6240109"/>
                  </a:lnTo>
                  <a:lnTo>
                    <a:pt x="1918509" y="6240109"/>
                  </a:lnTo>
                  <a:lnTo>
                    <a:pt x="1914490" y="6236069"/>
                  </a:lnTo>
                  <a:lnTo>
                    <a:pt x="1914490" y="6226198"/>
                  </a:lnTo>
                  <a:close/>
                  <a:moveTo>
                    <a:pt x="1679200" y="6222160"/>
                  </a:moveTo>
                  <a:lnTo>
                    <a:pt x="1689110" y="6222160"/>
                  </a:lnTo>
                  <a:lnTo>
                    <a:pt x="1693129" y="6226198"/>
                  </a:lnTo>
                  <a:lnTo>
                    <a:pt x="1693129" y="6236069"/>
                  </a:lnTo>
                  <a:lnTo>
                    <a:pt x="1689110" y="6240109"/>
                  </a:lnTo>
                  <a:lnTo>
                    <a:pt x="1679200" y="6240109"/>
                  </a:lnTo>
                  <a:lnTo>
                    <a:pt x="1675182" y="6236069"/>
                  </a:lnTo>
                  <a:lnTo>
                    <a:pt x="1675182" y="6226198"/>
                  </a:lnTo>
                  <a:close/>
                  <a:moveTo>
                    <a:pt x="1439885" y="6222160"/>
                  </a:moveTo>
                  <a:lnTo>
                    <a:pt x="1449795" y="6222160"/>
                  </a:lnTo>
                  <a:lnTo>
                    <a:pt x="1453814" y="6226198"/>
                  </a:lnTo>
                  <a:lnTo>
                    <a:pt x="1453814" y="6236069"/>
                  </a:lnTo>
                  <a:lnTo>
                    <a:pt x="1449795" y="6240109"/>
                  </a:lnTo>
                  <a:lnTo>
                    <a:pt x="1439885" y="6240109"/>
                  </a:lnTo>
                  <a:lnTo>
                    <a:pt x="1435866" y="6236069"/>
                  </a:lnTo>
                  <a:lnTo>
                    <a:pt x="1435866" y="6226198"/>
                  </a:lnTo>
                  <a:close/>
                  <a:moveTo>
                    <a:pt x="1200570" y="6222160"/>
                  </a:moveTo>
                  <a:lnTo>
                    <a:pt x="1210481" y="6222160"/>
                  </a:lnTo>
                  <a:lnTo>
                    <a:pt x="1214499" y="6226198"/>
                  </a:lnTo>
                  <a:lnTo>
                    <a:pt x="1214499" y="6236069"/>
                  </a:lnTo>
                  <a:lnTo>
                    <a:pt x="1210481" y="6240109"/>
                  </a:lnTo>
                  <a:lnTo>
                    <a:pt x="1200570" y="6240109"/>
                  </a:lnTo>
                  <a:lnTo>
                    <a:pt x="1196551" y="6236069"/>
                  </a:lnTo>
                  <a:lnTo>
                    <a:pt x="1196551" y="6226198"/>
                  </a:lnTo>
                  <a:close/>
                  <a:moveTo>
                    <a:pt x="961258" y="6222160"/>
                  </a:moveTo>
                  <a:lnTo>
                    <a:pt x="971167" y="6222160"/>
                  </a:lnTo>
                  <a:lnTo>
                    <a:pt x="975186" y="6226198"/>
                  </a:lnTo>
                  <a:lnTo>
                    <a:pt x="975186" y="6236069"/>
                  </a:lnTo>
                  <a:lnTo>
                    <a:pt x="971167" y="6240109"/>
                  </a:lnTo>
                  <a:lnTo>
                    <a:pt x="961258" y="6240109"/>
                  </a:lnTo>
                  <a:lnTo>
                    <a:pt x="957239" y="6236069"/>
                  </a:lnTo>
                  <a:lnTo>
                    <a:pt x="957239" y="6226198"/>
                  </a:lnTo>
                  <a:close/>
                  <a:moveTo>
                    <a:pt x="721959" y="6222160"/>
                  </a:moveTo>
                  <a:lnTo>
                    <a:pt x="731869" y="6222160"/>
                  </a:lnTo>
                  <a:lnTo>
                    <a:pt x="735888" y="6226198"/>
                  </a:lnTo>
                  <a:lnTo>
                    <a:pt x="735888" y="6236069"/>
                  </a:lnTo>
                  <a:lnTo>
                    <a:pt x="731869" y="6240109"/>
                  </a:lnTo>
                  <a:lnTo>
                    <a:pt x="721959" y="6240109"/>
                  </a:lnTo>
                  <a:lnTo>
                    <a:pt x="717940" y="6236069"/>
                  </a:lnTo>
                  <a:lnTo>
                    <a:pt x="717940" y="6226198"/>
                  </a:lnTo>
                  <a:close/>
                  <a:moveTo>
                    <a:pt x="482646" y="6222160"/>
                  </a:moveTo>
                  <a:lnTo>
                    <a:pt x="492557" y="6222160"/>
                  </a:lnTo>
                  <a:lnTo>
                    <a:pt x="496576" y="6226198"/>
                  </a:lnTo>
                  <a:lnTo>
                    <a:pt x="496576" y="6236069"/>
                  </a:lnTo>
                  <a:lnTo>
                    <a:pt x="492557" y="6240109"/>
                  </a:lnTo>
                  <a:lnTo>
                    <a:pt x="482646" y="6240109"/>
                  </a:lnTo>
                  <a:lnTo>
                    <a:pt x="478627" y="6236069"/>
                  </a:lnTo>
                  <a:lnTo>
                    <a:pt x="478627" y="6226198"/>
                  </a:lnTo>
                  <a:close/>
                  <a:moveTo>
                    <a:pt x="243333" y="6222160"/>
                  </a:moveTo>
                  <a:lnTo>
                    <a:pt x="253243" y="6222160"/>
                  </a:lnTo>
                  <a:lnTo>
                    <a:pt x="257263" y="6226198"/>
                  </a:lnTo>
                  <a:lnTo>
                    <a:pt x="257263" y="6236069"/>
                  </a:lnTo>
                  <a:lnTo>
                    <a:pt x="253243" y="6240109"/>
                  </a:lnTo>
                  <a:lnTo>
                    <a:pt x="243333" y="6240109"/>
                  </a:lnTo>
                  <a:lnTo>
                    <a:pt x="239314" y="6236069"/>
                  </a:lnTo>
                  <a:lnTo>
                    <a:pt x="239314" y="6226198"/>
                  </a:lnTo>
                  <a:close/>
                  <a:moveTo>
                    <a:pt x="4020" y="6222160"/>
                  </a:moveTo>
                  <a:lnTo>
                    <a:pt x="13930" y="6222160"/>
                  </a:lnTo>
                  <a:lnTo>
                    <a:pt x="17949" y="6226198"/>
                  </a:lnTo>
                  <a:lnTo>
                    <a:pt x="17949" y="6236069"/>
                  </a:lnTo>
                  <a:lnTo>
                    <a:pt x="13930" y="6240109"/>
                  </a:lnTo>
                  <a:lnTo>
                    <a:pt x="4020" y="6240109"/>
                  </a:lnTo>
                  <a:lnTo>
                    <a:pt x="1" y="6236069"/>
                  </a:lnTo>
                  <a:lnTo>
                    <a:pt x="1" y="6226198"/>
                  </a:lnTo>
                  <a:close/>
                  <a:moveTo>
                    <a:pt x="2157818" y="5982881"/>
                  </a:moveTo>
                  <a:lnTo>
                    <a:pt x="2167728" y="5982881"/>
                  </a:lnTo>
                  <a:lnTo>
                    <a:pt x="2171747" y="5986919"/>
                  </a:lnTo>
                  <a:lnTo>
                    <a:pt x="2171747" y="5996790"/>
                  </a:lnTo>
                  <a:lnTo>
                    <a:pt x="2167728" y="6000829"/>
                  </a:lnTo>
                  <a:lnTo>
                    <a:pt x="2157818" y="6000829"/>
                  </a:lnTo>
                  <a:lnTo>
                    <a:pt x="2153799" y="5996790"/>
                  </a:lnTo>
                  <a:lnTo>
                    <a:pt x="2153799" y="5986919"/>
                  </a:lnTo>
                  <a:close/>
                  <a:moveTo>
                    <a:pt x="1918509" y="5982881"/>
                  </a:moveTo>
                  <a:lnTo>
                    <a:pt x="1928420" y="5982881"/>
                  </a:lnTo>
                  <a:lnTo>
                    <a:pt x="1932438" y="5986919"/>
                  </a:lnTo>
                  <a:lnTo>
                    <a:pt x="1932438" y="5996790"/>
                  </a:lnTo>
                  <a:lnTo>
                    <a:pt x="1928420" y="6000829"/>
                  </a:lnTo>
                  <a:lnTo>
                    <a:pt x="1918509" y="6000829"/>
                  </a:lnTo>
                  <a:lnTo>
                    <a:pt x="1914490" y="5996790"/>
                  </a:lnTo>
                  <a:lnTo>
                    <a:pt x="1914490" y="5986919"/>
                  </a:lnTo>
                  <a:close/>
                  <a:moveTo>
                    <a:pt x="1679201" y="5982881"/>
                  </a:moveTo>
                  <a:lnTo>
                    <a:pt x="1689111" y="5982881"/>
                  </a:lnTo>
                  <a:lnTo>
                    <a:pt x="1693129" y="5986919"/>
                  </a:lnTo>
                  <a:lnTo>
                    <a:pt x="1693129" y="5996790"/>
                  </a:lnTo>
                  <a:lnTo>
                    <a:pt x="1689111" y="6000829"/>
                  </a:lnTo>
                  <a:lnTo>
                    <a:pt x="1679201" y="6000829"/>
                  </a:lnTo>
                  <a:lnTo>
                    <a:pt x="1675182" y="5996790"/>
                  </a:lnTo>
                  <a:lnTo>
                    <a:pt x="1675182" y="5986919"/>
                  </a:lnTo>
                  <a:close/>
                  <a:moveTo>
                    <a:pt x="1439886" y="5982881"/>
                  </a:moveTo>
                  <a:lnTo>
                    <a:pt x="1449796" y="5982881"/>
                  </a:lnTo>
                  <a:lnTo>
                    <a:pt x="1453814" y="5986919"/>
                  </a:lnTo>
                  <a:lnTo>
                    <a:pt x="1453814" y="5996790"/>
                  </a:lnTo>
                  <a:lnTo>
                    <a:pt x="1449796" y="6000829"/>
                  </a:lnTo>
                  <a:lnTo>
                    <a:pt x="1439886" y="6000829"/>
                  </a:lnTo>
                  <a:lnTo>
                    <a:pt x="1435866" y="5996790"/>
                  </a:lnTo>
                  <a:lnTo>
                    <a:pt x="1435866" y="5986919"/>
                  </a:lnTo>
                  <a:close/>
                  <a:moveTo>
                    <a:pt x="1200571" y="5982881"/>
                  </a:moveTo>
                  <a:lnTo>
                    <a:pt x="1210481" y="5982881"/>
                  </a:lnTo>
                  <a:lnTo>
                    <a:pt x="1214500" y="5986919"/>
                  </a:lnTo>
                  <a:lnTo>
                    <a:pt x="1214500" y="5996790"/>
                  </a:lnTo>
                  <a:lnTo>
                    <a:pt x="1210481" y="6000829"/>
                  </a:lnTo>
                  <a:lnTo>
                    <a:pt x="1200571" y="6000829"/>
                  </a:lnTo>
                  <a:lnTo>
                    <a:pt x="1196553" y="5996790"/>
                  </a:lnTo>
                  <a:lnTo>
                    <a:pt x="1196553" y="5986919"/>
                  </a:lnTo>
                  <a:close/>
                  <a:moveTo>
                    <a:pt x="961258" y="5982881"/>
                  </a:moveTo>
                  <a:lnTo>
                    <a:pt x="971168" y="5982881"/>
                  </a:lnTo>
                  <a:lnTo>
                    <a:pt x="975187" y="5986919"/>
                  </a:lnTo>
                  <a:lnTo>
                    <a:pt x="975187" y="5996790"/>
                  </a:lnTo>
                  <a:lnTo>
                    <a:pt x="971168" y="6000829"/>
                  </a:lnTo>
                  <a:lnTo>
                    <a:pt x="961258" y="6000829"/>
                  </a:lnTo>
                  <a:lnTo>
                    <a:pt x="957239" y="5996790"/>
                  </a:lnTo>
                  <a:lnTo>
                    <a:pt x="957239" y="5986919"/>
                  </a:lnTo>
                  <a:close/>
                  <a:moveTo>
                    <a:pt x="9572438" y="5982829"/>
                  </a:moveTo>
                  <a:lnTo>
                    <a:pt x="9582349" y="5982829"/>
                  </a:lnTo>
                  <a:lnTo>
                    <a:pt x="9586368" y="5986868"/>
                  </a:lnTo>
                  <a:lnTo>
                    <a:pt x="9586368" y="5996739"/>
                  </a:lnTo>
                  <a:lnTo>
                    <a:pt x="9582349" y="6000778"/>
                  </a:lnTo>
                  <a:lnTo>
                    <a:pt x="9572438" y="6000778"/>
                  </a:lnTo>
                  <a:lnTo>
                    <a:pt x="9568419" y="5996739"/>
                  </a:lnTo>
                  <a:lnTo>
                    <a:pt x="9568419" y="5986868"/>
                  </a:lnTo>
                  <a:close/>
                  <a:moveTo>
                    <a:pt x="9333125" y="5982829"/>
                  </a:moveTo>
                  <a:lnTo>
                    <a:pt x="9343036" y="5982829"/>
                  </a:lnTo>
                  <a:lnTo>
                    <a:pt x="9347055" y="5986868"/>
                  </a:lnTo>
                  <a:lnTo>
                    <a:pt x="9347055" y="5996739"/>
                  </a:lnTo>
                  <a:lnTo>
                    <a:pt x="9343036" y="6000778"/>
                  </a:lnTo>
                  <a:lnTo>
                    <a:pt x="9333125" y="6000778"/>
                  </a:lnTo>
                  <a:lnTo>
                    <a:pt x="9329106" y="5996739"/>
                  </a:lnTo>
                  <a:lnTo>
                    <a:pt x="9329106" y="5986868"/>
                  </a:lnTo>
                  <a:close/>
                  <a:moveTo>
                    <a:pt x="9093811" y="5982829"/>
                  </a:moveTo>
                  <a:lnTo>
                    <a:pt x="9103722" y="5982829"/>
                  </a:lnTo>
                  <a:lnTo>
                    <a:pt x="9107741" y="5986868"/>
                  </a:lnTo>
                  <a:lnTo>
                    <a:pt x="9107741" y="5996739"/>
                  </a:lnTo>
                  <a:lnTo>
                    <a:pt x="9103722" y="6000778"/>
                  </a:lnTo>
                  <a:lnTo>
                    <a:pt x="9093811" y="6000778"/>
                  </a:lnTo>
                  <a:lnTo>
                    <a:pt x="9089792" y="5996739"/>
                  </a:lnTo>
                  <a:lnTo>
                    <a:pt x="9089792" y="5986868"/>
                  </a:lnTo>
                  <a:close/>
                  <a:moveTo>
                    <a:pt x="8854496" y="5982829"/>
                  </a:moveTo>
                  <a:lnTo>
                    <a:pt x="8864407" y="5982829"/>
                  </a:lnTo>
                  <a:lnTo>
                    <a:pt x="8868426" y="5986868"/>
                  </a:lnTo>
                  <a:lnTo>
                    <a:pt x="8868426" y="5996739"/>
                  </a:lnTo>
                  <a:lnTo>
                    <a:pt x="8864407" y="6000778"/>
                  </a:lnTo>
                  <a:lnTo>
                    <a:pt x="8854496" y="6000778"/>
                  </a:lnTo>
                  <a:lnTo>
                    <a:pt x="8850477" y="5996739"/>
                  </a:lnTo>
                  <a:lnTo>
                    <a:pt x="8850477" y="5986868"/>
                  </a:lnTo>
                  <a:close/>
                  <a:moveTo>
                    <a:pt x="8615184" y="5982829"/>
                  </a:moveTo>
                  <a:lnTo>
                    <a:pt x="8625095" y="5982829"/>
                  </a:lnTo>
                  <a:lnTo>
                    <a:pt x="8629114" y="5986868"/>
                  </a:lnTo>
                  <a:lnTo>
                    <a:pt x="8629114" y="5996739"/>
                  </a:lnTo>
                  <a:lnTo>
                    <a:pt x="8625095" y="6000778"/>
                  </a:lnTo>
                  <a:lnTo>
                    <a:pt x="8615184" y="6000778"/>
                  </a:lnTo>
                  <a:lnTo>
                    <a:pt x="8611165" y="5996739"/>
                  </a:lnTo>
                  <a:lnTo>
                    <a:pt x="8611165" y="5986868"/>
                  </a:lnTo>
                  <a:close/>
                  <a:moveTo>
                    <a:pt x="8375869" y="5982829"/>
                  </a:moveTo>
                  <a:lnTo>
                    <a:pt x="8385779" y="5982829"/>
                  </a:lnTo>
                  <a:lnTo>
                    <a:pt x="8389799" y="5986868"/>
                  </a:lnTo>
                  <a:lnTo>
                    <a:pt x="8389799" y="5996739"/>
                  </a:lnTo>
                  <a:lnTo>
                    <a:pt x="8385779" y="6000778"/>
                  </a:lnTo>
                  <a:lnTo>
                    <a:pt x="8375869" y="6000778"/>
                  </a:lnTo>
                  <a:lnTo>
                    <a:pt x="8371850" y="5996739"/>
                  </a:lnTo>
                  <a:lnTo>
                    <a:pt x="8371850" y="5986868"/>
                  </a:lnTo>
                  <a:close/>
                  <a:moveTo>
                    <a:pt x="8136553" y="5982829"/>
                  </a:moveTo>
                  <a:lnTo>
                    <a:pt x="8146464" y="5982829"/>
                  </a:lnTo>
                  <a:lnTo>
                    <a:pt x="8150483" y="5986868"/>
                  </a:lnTo>
                  <a:lnTo>
                    <a:pt x="8150483" y="5996739"/>
                  </a:lnTo>
                  <a:lnTo>
                    <a:pt x="8146464" y="6000778"/>
                  </a:lnTo>
                  <a:lnTo>
                    <a:pt x="8136553" y="6000778"/>
                  </a:lnTo>
                  <a:lnTo>
                    <a:pt x="8132534" y="5996739"/>
                  </a:lnTo>
                  <a:lnTo>
                    <a:pt x="8132534" y="5986868"/>
                  </a:lnTo>
                  <a:close/>
                  <a:moveTo>
                    <a:pt x="7897241" y="5982829"/>
                  </a:moveTo>
                  <a:lnTo>
                    <a:pt x="7907151" y="5982829"/>
                  </a:lnTo>
                  <a:lnTo>
                    <a:pt x="7911170" y="5986868"/>
                  </a:lnTo>
                  <a:lnTo>
                    <a:pt x="7911170" y="5996739"/>
                  </a:lnTo>
                  <a:lnTo>
                    <a:pt x="7907151" y="6000778"/>
                  </a:lnTo>
                  <a:lnTo>
                    <a:pt x="7897241" y="6000778"/>
                  </a:lnTo>
                  <a:lnTo>
                    <a:pt x="7893222" y="5996739"/>
                  </a:lnTo>
                  <a:lnTo>
                    <a:pt x="7893222" y="5986868"/>
                  </a:lnTo>
                  <a:close/>
                  <a:moveTo>
                    <a:pt x="7657926" y="5982829"/>
                  </a:moveTo>
                  <a:lnTo>
                    <a:pt x="7667836" y="5982829"/>
                  </a:lnTo>
                  <a:lnTo>
                    <a:pt x="7671855" y="5986868"/>
                  </a:lnTo>
                  <a:lnTo>
                    <a:pt x="7671855" y="5996739"/>
                  </a:lnTo>
                  <a:lnTo>
                    <a:pt x="7667836" y="6000778"/>
                  </a:lnTo>
                  <a:lnTo>
                    <a:pt x="7657926" y="6000778"/>
                  </a:lnTo>
                  <a:lnTo>
                    <a:pt x="7653906" y="5996739"/>
                  </a:lnTo>
                  <a:lnTo>
                    <a:pt x="7653906" y="5986868"/>
                  </a:lnTo>
                  <a:close/>
                  <a:moveTo>
                    <a:pt x="7418611" y="5982829"/>
                  </a:moveTo>
                  <a:lnTo>
                    <a:pt x="7428521" y="5982829"/>
                  </a:lnTo>
                  <a:lnTo>
                    <a:pt x="7432540" y="5986868"/>
                  </a:lnTo>
                  <a:lnTo>
                    <a:pt x="7432540" y="5996739"/>
                  </a:lnTo>
                  <a:lnTo>
                    <a:pt x="7428521" y="6000778"/>
                  </a:lnTo>
                  <a:lnTo>
                    <a:pt x="7418611" y="6000778"/>
                  </a:lnTo>
                  <a:lnTo>
                    <a:pt x="7414592" y="5996739"/>
                  </a:lnTo>
                  <a:lnTo>
                    <a:pt x="7414592" y="5986868"/>
                  </a:lnTo>
                  <a:close/>
                  <a:moveTo>
                    <a:pt x="7179298" y="5982829"/>
                  </a:moveTo>
                  <a:lnTo>
                    <a:pt x="7189209" y="5982829"/>
                  </a:lnTo>
                  <a:lnTo>
                    <a:pt x="7193228" y="5986868"/>
                  </a:lnTo>
                  <a:lnTo>
                    <a:pt x="7193228" y="5996739"/>
                  </a:lnTo>
                  <a:lnTo>
                    <a:pt x="7189209" y="6000778"/>
                  </a:lnTo>
                  <a:lnTo>
                    <a:pt x="7179298" y="6000778"/>
                  </a:lnTo>
                  <a:lnTo>
                    <a:pt x="7175279" y="5996739"/>
                  </a:lnTo>
                  <a:lnTo>
                    <a:pt x="7175279" y="5986868"/>
                  </a:lnTo>
                  <a:close/>
                  <a:moveTo>
                    <a:pt x="6939983" y="5982829"/>
                  </a:moveTo>
                  <a:lnTo>
                    <a:pt x="6949894" y="5982829"/>
                  </a:lnTo>
                  <a:lnTo>
                    <a:pt x="6953913" y="5986868"/>
                  </a:lnTo>
                  <a:lnTo>
                    <a:pt x="6953913" y="5996739"/>
                  </a:lnTo>
                  <a:lnTo>
                    <a:pt x="6949894" y="6000778"/>
                  </a:lnTo>
                  <a:lnTo>
                    <a:pt x="6939983" y="6000778"/>
                  </a:lnTo>
                  <a:lnTo>
                    <a:pt x="6935964" y="5996739"/>
                  </a:lnTo>
                  <a:lnTo>
                    <a:pt x="6935964" y="5986868"/>
                  </a:lnTo>
                  <a:close/>
                  <a:moveTo>
                    <a:pt x="6700670" y="5982829"/>
                  </a:moveTo>
                  <a:lnTo>
                    <a:pt x="6710581" y="5982829"/>
                  </a:lnTo>
                  <a:lnTo>
                    <a:pt x="6714600" y="5986868"/>
                  </a:lnTo>
                  <a:lnTo>
                    <a:pt x="6714600" y="5996739"/>
                  </a:lnTo>
                  <a:lnTo>
                    <a:pt x="6710581" y="6000778"/>
                  </a:lnTo>
                  <a:lnTo>
                    <a:pt x="6700670" y="6000778"/>
                  </a:lnTo>
                  <a:lnTo>
                    <a:pt x="6696651" y="5996739"/>
                  </a:lnTo>
                  <a:lnTo>
                    <a:pt x="6696651" y="5986868"/>
                  </a:lnTo>
                  <a:close/>
                  <a:moveTo>
                    <a:pt x="6461356" y="5982829"/>
                  </a:moveTo>
                  <a:lnTo>
                    <a:pt x="6471266" y="5982829"/>
                  </a:lnTo>
                  <a:lnTo>
                    <a:pt x="6475285" y="5986868"/>
                  </a:lnTo>
                  <a:lnTo>
                    <a:pt x="6475285" y="5996739"/>
                  </a:lnTo>
                  <a:lnTo>
                    <a:pt x="6471266" y="6000778"/>
                  </a:lnTo>
                  <a:lnTo>
                    <a:pt x="6461356" y="6000778"/>
                  </a:lnTo>
                  <a:lnTo>
                    <a:pt x="6457337" y="5996739"/>
                  </a:lnTo>
                  <a:lnTo>
                    <a:pt x="6457337" y="5986868"/>
                  </a:lnTo>
                  <a:close/>
                  <a:moveTo>
                    <a:pt x="6222042" y="5982829"/>
                  </a:moveTo>
                  <a:lnTo>
                    <a:pt x="6231952" y="5982829"/>
                  </a:lnTo>
                  <a:lnTo>
                    <a:pt x="6235971" y="5986868"/>
                  </a:lnTo>
                  <a:lnTo>
                    <a:pt x="6235971" y="5996739"/>
                  </a:lnTo>
                  <a:lnTo>
                    <a:pt x="6231952" y="6000778"/>
                  </a:lnTo>
                  <a:lnTo>
                    <a:pt x="6222042" y="6000778"/>
                  </a:lnTo>
                  <a:lnTo>
                    <a:pt x="6218023" y="5996739"/>
                  </a:lnTo>
                  <a:lnTo>
                    <a:pt x="6218023" y="5986868"/>
                  </a:lnTo>
                  <a:close/>
                  <a:moveTo>
                    <a:pt x="5982729" y="5982829"/>
                  </a:moveTo>
                  <a:lnTo>
                    <a:pt x="5992639" y="5982829"/>
                  </a:lnTo>
                  <a:lnTo>
                    <a:pt x="5996658" y="5986868"/>
                  </a:lnTo>
                  <a:lnTo>
                    <a:pt x="5996658" y="5996739"/>
                  </a:lnTo>
                  <a:lnTo>
                    <a:pt x="5992639" y="6000778"/>
                  </a:lnTo>
                  <a:lnTo>
                    <a:pt x="5982729" y="6000778"/>
                  </a:lnTo>
                  <a:lnTo>
                    <a:pt x="5978710" y="5996739"/>
                  </a:lnTo>
                  <a:lnTo>
                    <a:pt x="5978710" y="5986868"/>
                  </a:lnTo>
                  <a:close/>
                  <a:moveTo>
                    <a:pt x="5743412" y="5982829"/>
                  </a:moveTo>
                  <a:lnTo>
                    <a:pt x="5753323" y="5982829"/>
                  </a:lnTo>
                  <a:lnTo>
                    <a:pt x="5757342" y="5986868"/>
                  </a:lnTo>
                  <a:lnTo>
                    <a:pt x="5757342" y="5996739"/>
                  </a:lnTo>
                  <a:lnTo>
                    <a:pt x="5753323" y="6000778"/>
                  </a:lnTo>
                  <a:lnTo>
                    <a:pt x="5743412" y="6000778"/>
                  </a:lnTo>
                  <a:lnTo>
                    <a:pt x="5739393" y="5996739"/>
                  </a:lnTo>
                  <a:lnTo>
                    <a:pt x="5739393" y="5986868"/>
                  </a:lnTo>
                  <a:close/>
                  <a:moveTo>
                    <a:pt x="5504099" y="5982829"/>
                  </a:moveTo>
                  <a:lnTo>
                    <a:pt x="5514010" y="5982829"/>
                  </a:lnTo>
                  <a:lnTo>
                    <a:pt x="5518029" y="5986868"/>
                  </a:lnTo>
                  <a:lnTo>
                    <a:pt x="5518029" y="5996739"/>
                  </a:lnTo>
                  <a:lnTo>
                    <a:pt x="5514010" y="6000778"/>
                  </a:lnTo>
                  <a:lnTo>
                    <a:pt x="5504099" y="6000778"/>
                  </a:lnTo>
                  <a:lnTo>
                    <a:pt x="5500080" y="5996739"/>
                  </a:lnTo>
                  <a:lnTo>
                    <a:pt x="5500080" y="5986868"/>
                  </a:lnTo>
                  <a:close/>
                  <a:moveTo>
                    <a:pt x="5264784" y="5982829"/>
                  </a:moveTo>
                  <a:lnTo>
                    <a:pt x="5274694" y="5982829"/>
                  </a:lnTo>
                  <a:lnTo>
                    <a:pt x="5278713" y="5986868"/>
                  </a:lnTo>
                  <a:lnTo>
                    <a:pt x="5278713" y="5996739"/>
                  </a:lnTo>
                  <a:lnTo>
                    <a:pt x="5274694" y="6000778"/>
                  </a:lnTo>
                  <a:lnTo>
                    <a:pt x="5264784" y="6000778"/>
                  </a:lnTo>
                  <a:lnTo>
                    <a:pt x="5260765" y="5996739"/>
                  </a:lnTo>
                  <a:lnTo>
                    <a:pt x="5260765" y="5986868"/>
                  </a:lnTo>
                  <a:close/>
                  <a:moveTo>
                    <a:pt x="5025470" y="5982829"/>
                  </a:moveTo>
                  <a:lnTo>
                    <a:pt x="5035381" y="5982829"/>
                  </a:lnTo>
                  <a:lnTo>
                    <a:pt x="5039400" y="5986868"/>
                  </a:lnTo>
                  <a:lnTo>
                    <a:pt x="5039400" y="5996739"/>
                  </a:lnTo>
                  <a:lnTo>
                    <a:pt x="5035381" y="6000778"/>
                  </a:lnTo>
                  <a:lnTo>
                    <a:pt x="5025470" y="6000778"/>
                  </a:lnTo>
                  <a:lnTo>
                    <a:pt x="5021451" y="5996739"/>
                  </a:lnTo>
                  <a:lnTo>
                    <a:pt x="5021451" y="5986868"/>
                  </a:lnTo>
                  <a:close/>
                  <a:moveTo>
                    <a:pt x="4786241" y="5982829"/>
                  </a:moveTo>
                  <a:lnTo>
                    <a:pt x="4796152" y="5982829"/>
                  </a:lnTo>
                  <a:lnTo>
                    <a:pt x="4800171" y="5986868"/>
                  </a:lnTo>
                  <a:lnTo>
                    <a:pt x="4800171" y="5996739"/>
                  </a:lnTo>
                  <a:lnTo>
                    <a:pt x="4796152" y="6000778"/>
                  </a:lnTo>
                  <a:lnTo>
                    <a:pt x="4786241" y="6000778"/>
                  </a:lnTo>
                  <a:lnTo>
                    <a:pt x="4782224" y="5996739"/>
                  </a:lnTo>
                  <a:lnTo>
                    <a:pt x="4782224" y="5986868"/>
                  </a:lnTo>
                  <a:close/>
                  <a:moveTo>
                    <a:pt x="4546929" y="5982829"/>
                  </a:moveTo>
                  <a:lnTo>
                    <a:pt x="4556840" y="5982829"/>
                  </a:lnTo>
                  <a:lnTo>
                    <a:pt x="4560859" y="5986868"/>
                  </a:lnTo>
                  <a:lnTo>
                    <a:pt x="4560859" y="5996739"/>
                  </a:lnTo>
                  <a:lnTo>
                    <a:pt x="4556840" y="6000778"/>
                  </a:lnTo>
                  <a:lnTo>
                    <a:pt x="4546929" y="6000778"/>
                  </a:lnTo>
                  <a:lnTo>
                    <a:pt x="4542910" y="5996739"/>
                  </a:lnTo>
                  <a:lnTo>
                    <a:pt x="4542910" y="5986868"/>
                  </a:lnTo>
                  <a:close/>
                  <a:moveTo>
                    <a:pt x="4307612" y="5982829"/>
                  </a:moveTo>
                  <a:lnTo>
                    <a:pt x="4317523" y="5982829"/>
                  </a:lnTo>
                  <a:lnTo>
                    <a:pt x="4321543" y="5986868"/>
                  </a:lnTo>
                  <a:lnTo>
                    <a:pt x="4321543" y="5996739"/>
                  </a:lnTo>
                  <a:lnTo>
                    <a:pt x="4317523" y="6000778"/>
                  </a:lnTo>
                  <a:lnTo>
                    <a:pt x="4307612" y="6000778"/>
                  </a:lnTo>
                  <a:lnTo>
                    <a:pt x="4303595" y="5996739"/>
                  </a:lnTo>
                  <a:lnTo>
                    <a:pt x="4303595" y="5986868"/>
                  </a:lnTo>
                  <a:close/>
                  <a:moveTo>
                    <a:pt x="4068297" y="5982829"/>
                  </a:moveTo>
                  <a:lnTo>
                    <a:pt x="4078210" y="5982829"/>
                  </a:lnTo>
                  <a:lnTo>
                    <a:pt x="4082229" y="5986868"/>
                  </a:lnTo>
                  <a:lnTo>
                    <a:pt x="4082229" y="5996739"/>
                  </a:lnTo>
                  <a:lnTo>
                    <a:pt x="4078210" y="6000778"/>
                  </a:lnTo>
                  <a:lnTo>
                    <a:pt x="4068297" y="6000778"/>
                  </a:lnTo>
                  <a:lnTo>
                    <a:pt x="4064278" y="5996739"/>
                  </a:lnTo>
                  <a:lnTo>
                    <a:pt x="4064278" y="5986868"/>
                  </a:lnTo>
                  <a:close/>
                  <a:moveTo>
                    <a:pt x="3828990" y="5982829"/>
                  </a:moveTo>
                  <a:lnTo>
                    <a:pt x="3838899" y="5982829"/>
                  </a:lnTo>
                  <a:lnTo>
                    <a:pt x="3842917" y="5986868"/>
                  </a:lnTo>
                  <a:lnTo>
                    <a:pt x="3842917" y="5996739"/>
                  </a:lnTo>
                  <a:lnTo>
                    <a:pt x="3838899" y="6000778"/>
                  </a:lnTo>
                  <a:lnTo>
                    <a:pt x="3828990" y="6000778"/>
                  </a:lnTo>
                  <a:lnTo>
                    <a:pt x="3824971" y="5996739"/>
                  </a:lnTo>
                  <a:lnTo>
                    <a:pt x="3824971" y="5986868"/>
                  </a:lnTo>
                  <a:close/>
                  <a:moveTo>
                    <a:pt x="3589676" y="5982829"/>
                  </a:moveTo>
                  <a:lnTo>
                    <a:pt x="3599585" y="5982829"/>
                  </a:lnTo>
                  <a:lnTo>
                    <a:pt x="3603604" y="5986868"/>
                  </a:lnTo>
                  <a:lnTo>
                    <a:pt x="3603604" y="5996739"/>
                  </a:lnTo>
                  <a:lnTo>
                    <a:pt x="3599585" y="6000778"/>
                  </a:lnTo>
                  <a:lnTo>
                    <a:pt x="3589676" y="6000778"/>
                  </a:lnTo>
                  <a:lnTo>
                    <a:pt x="3585657" y="5996739"/>
                  </a:lnTo>
                  <a:lnTo>
                    <a:pt x="3585657" y="5986868"/>
                  </a:lnTo>
                  <a:close/>
                  <a:moveTo>
                    <a:pt x="3350359" y="5982829"/>
                  </a:moveTo>
                  <a:lnTo>
                    <a:pt x="3360268" y="5982829"/>
                  </a:lnTo>
                  <a:lnTo>
                    <a:pt x="3364287" y="5986868"/>
                  </a:lnTo>
                  <a:lnTo>
                    <a:pt x="3364287" y="5996739"/>
                  </a:lnTo>
                  <a:lnTo>
                    <a:pt x="3360268" y="6000778"/>
                  </a:lnTo>
                  <a:lnTo>
                    <a:pt x="3350359" y="6000778"/>
                  </a:lnTo>
                  <a:lnTo>
                    <a:pt x="3346340" y="5996739"/>
                  </a:lnTo>
                  <a:lnTo>
                    <a:pt x="3346340" y="5986868"/>
                  </a:lnTo>
                  <a:close/>
                  <a:moveTo>
                    <a:pt x="3111048" y="5982829"/>
                  </a:moveTo>
                  <a:lnTo>
                    <a:pt x="3120959" y="5982829"/>
                  </a:lnTo>
                  <a:lnTo>
                    <a:pt x="3124977" y="5986868"/>
                  </a:lnTo>
                  <a:lnTo>
                    <a:pt x="3124977" y="5996739"/>
                  </a:lnTo>
                  <a:lnTo>
                    <a:pt x="3120959" y="6000778"/>
                  </a:lnTo>
                  <a:lnTo>
                    <a:pt x="3111048" y="6000778"/>
                  </a:lnTo>
                  <a:lnTo>
                    <a:pt x="3107029" y="5996739"/>
                  </a:lnTo>
                  <a:lnTo>
                    <a:pt x="3107029" y="5986868"/>
                  </a:lnTo>
                  <a:close/>
                  <a:moveTo>
                    <a:pt x="2871737" y="5982829"/>
                  </a:moveTo>
                  <a:lnTo>
                    <a:pt x="2881646" y="5982829"/>
                  </a:lnTo>
                  <a:lnTo>
                    <a:pt x="2885666" y="5986868"/>
                  </a:lnTo>
                  <a:lnTo>
                    <a:pt x="2885666" y="5996739"/>
                  </a:lnTo>
                  <a:lnTo>
                    <a:pt x="2881646" y="6000778"/>
                  </a:lnTo>
                  <a:lnTo>
                    <a:pt x="2871737" y="6000778"/>
                  </a:lnTo>
                  <a:lnTo>
                    <a:pt x="2867717" y="5996739"/>
                  </a:lnTo>
                  <a:lnTo>
                    <a:pt x="2867717" y="5986868"/>
                  </a:lnTo>
                  <a:close/>
                  <a:moveTo>
                    <a:pt x="2632423" y="5982829"/>
                  </a:moveTo>
                  <a:lnTo>
                    <a:pt x="2642334" y="5982829"/>
                  </a:lnTo>
                  <a:lnTo>
                    <a:pt x="2646352" y="5986868"/>
                  </a:lnTo>
                  <a:lnTo>
                    <a:pt x="2646352" y="5996739"/>
                  </a:lnTo>
                  <a:lnTo>
                    <a:pt x="2642334" y="6000778"/>
                  </a:lnTo>
                  <a:lnTo>
                    <a:pt x="2632423" y="6000778"/>
                  </a:lnTo>
                  <a:lnTo>
                    <a:pt x="2628404" y="5996739"/>
                  </a:lnTo>
                  <a:lnTo>
                    <a:pt x="2628404" y="5986868"/>
                  </a:lnTo>
                  <a:close/>
                  <a:moveTo>
                    <a:pt x="2393104" y="5982829"/>
                  </a:moveTo>
                  <a:lnTo>
                    <a:pt x="2403015" y="5982829"/>
                  </a:lnTo>
                  <a:lnTo>
                    <a:pt x="2407034" y="5986868"/>
                  </a:lnTo>
                  <a:lnTo>
                    <a:pt x="2407034" y="5996739"/>
                  </a:lnTo>
                  <a:lnTo>
                    <a:pt x="2403015" y="6000778"/>
                  </a:lnTo>
                  <a:lnTo>
                    <a:pt x="2393104" y="6000778"/>
                  </a:lnTo>
                  <a:lnTo>
                    <a:pt x="2389087" y="5996739"/>
                  </a:lnTo>
                  <a:lnTo>
                    <a:pt x="2389087" y="5986868"/>
                  </a:lnTo>
                  <a:close/>
                  <a:moveTo>
                    <a:pt x="721960" y="5982829"/>
                  </a:moveTo>
                  <a:lnTo>
                    <a:pt x="731869" y="5982829"/>
                  </a:lnTo>
                  <a:lnTo>
                    <a:pt x="735888" y="5986868"/>
                  </a:lnTo>
                  <a:lnTo>
                    <a:pt x="735888" y="5996739"/>
                  </a:lnTo>
                  <a:lnTo>
                    <a:pt x="731869" y="6000778"/>
                  </a:lnTo>
                  <a:lnTo>
                    <a:pt x="721960" y="6000778"/>
                  </a:lnTo>
                  <a:lnTo>
                    <a:pt x="717940" y="5996739"/>
                  </a:lnTo>
                  <a:lnTo>
                    <a:pt x="717940" y="5986868"/>
                  </a:lnTo>
                  <a:close/>
                  <a:moveTo>
                    <a:pt x="482647" y="5982829"/>
                  </a:moveTo>
                  <a:lnTo>
                    <a:pt x="492557" y="5982829"/>
                  </a:lnTo>
                  <a:lnTo>
                    <a:pt x="496576" y="5986868"/>
                  </a:lnTo>
                  <a:lnTo>
                    <a:pt x="496576" y="5996739"/>
                  </a:lnTo>
                  <a:lnTo>
                    <a:pt x="492557" y="6000778"/>
                  </a:lnTo>
                  <a:lnTo>
                    <a:pt x="482647" y="6000778"/>
                  </a:lnTo>
                  <a:lnTo>
                    <a:pt x="478628" y="5996739"/>
                  </a:lnTo>
                  <a:lnTo>
                    <a:pt x="478628" y="5986868"/>
                  </a:lnTo>
                  <a:close/>
                  <a:moveTo>
                    <a:pt x="243334" y="5982829"/>
                  </a:moveTo>
                  <a:lnTo>
                    <a:pt x="253244" y="5982829"/>
                  </a:lnTo>
                  <a:lnTo>
                    <a:pt x="257263" y="5986868"/>
                  </a:lnTo>
                  <a:lnTo>
                    <a:pt x="257263" y="5996739"/>
                  </a:lnTo>
                  <a:lnTo>
                    <a:pt x="253244" y="6000778"/>
                  </a:lnTo>
                  <a:lnTo>
                    <a:pt x="243334" y="6000778"/>
                  </a:lnTo>
                  <a:lnTo>
                    <a:pt x="239315" y="5996739"/>
                  </a:lnTo>
                  <a:lnTo>
                    <a:pt x="239315" y="5986868"/>
                  </a:lnTo>
                  <a:close/>
                  <a:moveTo>
                    <a:pt x="4021" y="5982829"/>
                  </a:moveTo>
                  <a:lnTo>
                    <a:pt x="13931" y="5982829"/>
                  </a:lnTo>
                  <a:lnTo>
                    <a:pt x="17950" y="5986868"/>
                  </a:lnTo>
                  <a:lnTo>
                    <a:pt x="17950" y="5996739"/>
                  </a:lnTo>
                  <a:lnTo>
                    <a:pt x="13931" y="6000778"/>
                  </a:lnTo>
                  <a:lnTo>
                    <a:pt x="4021" y="6000778"/>
                  </a:lnTo>
                  <a:lnTo>
                    <a:pt x="1" y="5996739"/>
                  </a:lnTo>
                  <a:lnTo>
                    <a:pt x="1" y="5986868"/>
                  </a:lnTo>
                  <a:close/>
                  <a:moveTo>
                    <a:pt x="2157818" y="5743551"/>
                  </a:moveTo>
                  <a:lnTo>
                    <a:pt x="2167728" y="5743551"/>
                  </a:lnTo>
                  <a:lnTo>
                    <a:pt x="2171747" y="5747589"/>
                  </a:lnTo>
                  <a:lnTo>
                    <a:pt x="2171747" y="5757460"/>
                  </a:lnTo>
                  <a:lnTo>
                    <a:pt x="2167728" y="5761499"/>
                  </a:lnTo>
                  <a:lnTo>
                    <a:pt x="2157818" y="5761499"/>
                  </a:lnTo>
                  <a:lnTo>
                    <a:pt x="2153799" y="5757460"/>
                  </a:lnTo>
                  <a:lnTo>
                    <a:pt x="2153799" y="5747589"/>
                  </a:lnTo>
                  <a:close/>
                  <a:moveTo>
                    <a:pt x="1918510" y="5743551"/>
                  </a:moveTo>
                  <a:lnTo>
                    <a:pt x="1928420" y="5743551"/>
                  </a:lnTo>
                  <a:lnTo>
                    <a:pt x="1932438" y="5747589"/>
                  </a:lnTo>
                  <a:lnTo>
                    <a:pt x="1932438" y="5757460"/>
                  </a:lnTo>
                  <a:lnTo>
                    <a:pt x="1928420" y="5761499"/>
                  </a:lnTo>
                  <a:lnTo>
                    <a:pt x="1918510" y="5761499"/>
                  </a:lnTo>
                  <a:lnTo>
                    <a:pt x="1914490" y="5757460"/>
                  </a:lnTo>
                  <a:lnTo>
                    <a:pt x="1914490" y="5747589"/>
                  </a:lnTo>
                  <a:close/>
                  <a:moveTo>
                    <a:pt x="1679201" y="5743551"/>
                  </a:moveTo>
                  <a:lnTo>
                    <a:pt x="1689112" y="5743551"/>
                  </a:lnTo>
                  <a:lnTo>
                    <a:pt x="1693131" y="5747589"/>
                  </a:lnTo>
                  <a:lnTo>
                    <a:pt x="1693131" y="5757460"/>
                  </a:lnTo>
                  <a:lnTo>
                    <a:pt x="1689112" y="5761499"/>
                  </a:lnTo>
                  <a:lnTo>
                    <a:pt x="1679201" y="5761499"/>
                  </a:lnTo>
                  <a:lnTo>
                    <a:pt x="1675183" y="5757460"/>
                  </a:lnTo>
                  <a:lnTo>
                    <a:pt x="1675183" y="5747589"/>
                  </a:lnTo>
                  <a:close/>
                  <a:moveTo>
                    <a:pt x="1439886" y="5743551"/>
                  </a:moveTo>
                  <a:lnTo>
                    <a:pt x="1449797" y="5743551"/>
                  </a:lnTo>
                  <a:lnTo>
                    <a:pt x="1453815" y="5747589"/>
                  </a:lnTo>
                  <a:lnTo>
                    <a:pt x="1453815" y="5757460"/>
                  </a:lnTo>
                  <a:lnTo>
                    <a:pt x="1449797" y="5761499"/>
                  </a:lnTo>
                  <a:lnTo>
                    <a:pt x="1439886" y="5761499"/>
                  </a:lnTo>
                  <a:lnTo>
                    <a:pt x="1435868" y="5757460"/>
                  </a:lnTo>
                  <a:lnTo>
                    <a:pt x="1435868" y="5747589"/>
                  </a:lnTo>
                  <a:close/>
                  <a:moveTo>
                    <a:pt x="1200572" y="5743551"/>
                  </a:moveTo>
                  <a:lnTo>
                    <a:pt x="1210482" y="5743551"/>
                  </a:lnTo>
                  <a:lnTo>
                    <a:pt x="1214500" y="5747589"/>
                  </a:lnTo>
                  <a:lnTo>
                    <a:pt x="1214500" y="5757460"/>
                  </a:lnTo>
                  <a:lnTo>
                    <a:pt x="1210482" y="5761499"/>
                  </a:lnTo>
                  <a:lnTo>
                    <a:pt x="1200572" y="5761499"/>
                  </a:lnTo>
                  <a:lnTo>
                    <a:pt x="1196553" y="5757460"/>
                  </a:lnTo>
                  <a:lnTo>
                    <a:pt x="1196553" y="5747589"/>
                  </a:lnTo>
                  <a:close/>
                  <a:moveTo>
                    <a:pt x="961259" y="5743551"/>
                  </a:moveTo>
                  <a:lnTo>
                    <a:pt x="971169" y="5743551"/>
                  </a:lnTo>
                  <a:lnTo>
                    <a:pt x="975188" y="5747589"/>
                  </a:lnTo>
                  <a:lnTo>
                    <a:pt x="975188" y="5757460"/>
                  </a:lnTo>
                  <a:lnTo>
                    <a:pt x="971169" y="5761499"/>
                  </a:lnTo>
                  <a:lnTo>
                    <a:pt x="961259" y="5761499"/>
                  </a:lnTo>
                  <a:lnTo>
                    <a:pt x="957240" y="5757460"/>
                  </a:lnTo>
                  <a:lnTo>
                    <a:pt x="957240" y="5747589"/>
                  </a:lnTo>
                  <a:close/>
                  <a:moveTo>
                    <a:pt x="9572438" y="5743499"/>
                  </a:moveTo>
                  <a:lnTo>
                    <a:pt x="9582349" y="5743499"/>
                  </a:lnTo>
                  <a:lnTo>
                    <a:pt x="9586368" y="5747537"/>
                  </a:lnTo>
                  <a:lnTo>
                    <a:pt x="9586368" y="5757408"/>
                  </a:lnTo>
                  <a:lnTo>
                    <a:pt x="9582349" y="5761447"/>
                  </a:lnTo>
                  <a:lnTo>
                    <a:pt x="9572438" y="5761447"/>
                  </a:lnTo>
                  <a:lnTo>
                    <a:pt x="9568419" y="5757408"/>
                  </a:lnTo>
                  <a:lnTo>
                    <a:pt x="9568419" y="5747537"/>
                  </a:lnTo>
                  <a:close/>
                  <a:moveTo>
                    <a:pt x="9333125" y="5743499"/>
                  </a:moveTo>
                  <a:lnTo>
                    <a:pt x="9343036" y="5743499"/>
                  </a:lnTo>
                  <a:lnTo>
                    <a:pt x="9347055" y="5747537"/>
                  </a:lnTo>
                  <a:lnTo>
                    <a:pt x="9347055" y="5757408"/>
                  </a:lnTo>
                  <a:lnTo>
                    <a:pt x="9343036" y="5761447"/>
                  </a:lnTo>
                  <a:lnTo>
                    <a:pt x="9333125" y="5761447"/>
                  </a:lnTo>
                  <a:lnTo>
                    <a:pt x="9329106" y="5757408"/>
                  </a:lnTo>
                  <a:lnTo>
                    <a:pt x="9329106" y="5747537"/>
                  </a:lnTo>
                  <a:close/>
                  <a:moveTo>
                    <a:pt x="9093811" y="5743499"/>
                  </a:moveTo>
                  <a:lnTo>
                    <a:pt x="9103722" y="5743499"/>
                  </a:lnTo>
                  <a:lnTo>
                    <a:pt x="9107741" y="5747537"/>
                  </a:lnTo>
                  <a:lnTo>
                    <a:pt x="9107741" y="5757408"/>
                  </a:lnTo>
                  <a:lnTo>
                    <a:pt x="9103722" y="5761447"/>
                  </a:lnTo>
                  <a:lnTo>
                    <a:pt x="9093811" y="5761447"/>
                  </a:lnTo>
                  <a:lnTo>
                    <a:pt x="9089792" y="5757408"/>
                  </a:lnTo>
                  <a:lnTo>
                    <a:pt x="9089792" y="5747537"/>
                  </a:lnTo>
                  <a:close/>
                  <a:moveTo>
                    <a:pt x="8854496" y="5743499"/>
                  </a:moveTo>
                  <a:lnTo>
                    <a:pt x="8864407" y="5743499"/>
                  </a:lnTo>
                  <a:lnTo>
                    <a:pt x="8868426" y="5747537"/>
                  </a:lnTo>
                  <a:lnTo>
                    <a:pt x="8868426" y="5757408"/>
                  </a:lnTo>
                  <a:lnTo>
                    <a:pt x="8864407" y="5761447"/>
                  </a:lnTo>
                  <a:lnTo>
                    <a:pt x="8854496" y="5761447"/>
                  </a:lnTo>
                  <a:lnTo>
                    <a:pt x="8850477" y="5757408"/>
                  </a:lnTo>
                  <a:lnTo>
                    <a:pt x="8850477" y="5747537"/>
                  </a:lnTo>
                  <a:close/>
                  <a:moveTo>
                    <a:pt x="8615184" y="5743499"/>
                  </a:moveTo>
                  <a:lnTo>
                    <a:pt x="8625095" y="5743499"/>
                  </a:lnTo>
                  <a:lnTo>
                    <a:pt x="8629114" y="5747537"/>
                  </a:lnTo>
                  <a:lnTo>
                    <a:pt x="8629114" y="5757408"/>
                  </a:lnTo>
                  <a:lnTo>
                    <a:pt x="8625095" y="5761447"/>
                  </a:lnTo>
                  <a:lnTo>
                    <a:pt x="8615184" y="5761447"/>
                  </a:lnTo>
                  <a:lnTo>
                    <a:pt x="8611165" y="5757408"/>
                  </a:lnTo>
                  <a:lnTo>
                    <a:pt x="8611165" y="5747537"/>
                  </a:lnTo>
                  <a:close/>
                  <a:moveTo>
                    <a:pt x="8375869" y="5743499"/>
                  </a:moveTo>
                  <a:lnTo>
                    <a:pt x="8385779" y="5743499"/>
                  </a:lnTo>
                  <a:lnTo>
                    <a:pt x="8389799" y="5747537"/>
                  </a:lnTo>
                  <a:lnTo>
                    <a:pt x="8389799" y="5757408"/>
                  </a:lnTo>
                  <a:lnTo>
                    <a:pt x="8385779" y="5761447"/>
                  </a:lnTo>
                  <a:lnTo>
                    <a:pt x="8375869" y="5761447"/>
                  </a:lnTo>
                  <a:lnTo>
                    <a:pt x="8371850" y="5757408"/>
                  </a:lnTo>
                  <a:lnTo>
                    <a:pt x="8371850" y="5747537"/>
                  </a:lnTo>
                  <a:close/>
                  <a:moveTo>
                    <a:pt x="8136553" y="5743499"/>
                  </a:moveTo>
                  <a:lnTo>
                    <a:pt x="8146464" y="5743499"/>
                  </a:lnTo>
                  <a:lnTo>
                    <a:pt x="8150483" y="5747537"/>
                  </a:lnTo>
                  <a:lnTo>
                    <a:pt x="8150483" y="5757408"/>
                  </a:lnTo>
                  <a:lnTo>
                    <a:pt x="8146464" y="5761447"/>
                  </a:lnTo>
                  <a:lnTo>
                    <a:pt x="8136553" y="5761447"/>
                  </a:lnTo>
                  <a:lnTo>
                    <a:pt x="8132534" y="5757408"/>
                  </a:lnTo>
                  <a:lnTo>
                    <a:pt x="8132534" y="5747537"/>
                  </a:lnTo>
                  <a:close/>
                  <a:moveTo>
                    <a:pt x="7897241" y="5743499"/>
                  </a:moveTo>
                  <a:lnTo>
                    <a:pt x="7907151" y="5743499"/>
                  </a:lnTo>
                  <a:lnTo>
                    <a:pt x="7911170" y="5747537"/>
                  </a:lnTo>
                  <a:lnTo>
                    <a:pt x="7911170" y="5757408"/>
                  </a:lnTo>
                  <a:lnTo>
                    <a:pt x="7907151" y="5761447"/>
                  </a:lnTo>
                  <a:lnTo>
                    <a:pt x="7897241" y="5761447"/>
                  </a:lnTo>
                  <a:lnTo>
                    <a:pt x="7893222" y="5757408"/>
                  </a:lnTo>
                  <a:lnTo>
                    <a:pt x="7893222" y="5747537"/>
                  </a:lnTo>
                  <a:close/>
                  <a:moveTo>
                    <a:pt x="7657926" y="5743499"/>
                  </a:moveTo>
                  <a:lnTo>
                    <a:pt x="7667836" y="5743499"/>
                  </a:lnTo>
                  <a:lnTo>
                    <a:pt x="7671855" y="5747537"/>
                  </a:lnTo>
                  <a:lnTo>
                    <a:pt x="7671855" y="5757408"/>
                  </a:lnTo>
                  <a:lnTo>
                    <a:pt x="7667836" y="5761447"/>
                  </a:lnTo>
                  <a:lnTo>
                    <a:pt x="7657926" y="5761447"/>
                  </a:lnTo>
                  <a:lnTo>
                    <a:pt x="7653906" y="5757408"/>
                  </a:lnTo>
                  <a:lnTo>
                    <a:pt x="7653906" y="5747537"/>
                  </a:lnTo>
                  <a:close/>
                  <a:moveTo>
                    <a:pt x="7418611" y="5743499"/>
                  </a:moveTo>
                  <a:lnTo>
                    <a:pt x="7428521" y="5743499"/>
                  </a:lnTo>
                  <a:lnTo>
                    <a:pt x="7432540" y="5747537"/>
                  </a:lnTo>
                  <a:lnTo>
                    <a:pt x="7432540" y="5757408"/>
                  </a:lnTo>
                  <a:lnTo>
                    <a:pt x="7428521" y="5761447"/>
                  </a:lnTo>
                  <a:lnTo>
                    <a:pt x="7418611" y="5761447"/>
                  </a:lnTo>
                  <a:lnTo>
                    <a:pt x="7414592" y="5757408"/>
                  </a:lnTo>
                  <a:lnTo>
                    <a:pt x="7414592" y="5747537"/>
                  </a:lnTo>
                  <a:close/>
                  <a:moveTo>
                    <a:pt x="7179298" y="5743499"/>
                  </a:moveTo>
                  <a:lnTo>
                    <a:pt x="7189209" y="5743499"/>
                  </a:lnTo>
                  <a:lnTo>
                    <a:pt x="7193228" y="5747537"/>
                  </a:lnTo>
                  <a:lnTo>
                    <a:pt x="7193228" y="5757408"/>
                  </a:lnTo>
                  <a:lnTo>
                    <a:pt x="7189209" y="5761447"/>
                  </a:lnTo>
                  <a:lnTo>
                    <a:pt x="7179298" y="5761447"/>
                  </a:lnTo>
                  <a:lnTo>
                    <a:pt x="7175279" y="5757408"/>
                  </a:lnTo>
                  <a:lnTo>
                    <a:pt x="7175279" y="5747537"/>
                  </a:lnTo>
                  <a:close/>
                  <a:moveTo>
                    <a:pt x="6939983" y="5743499"/>
                  </a:moveTo>
                  <a:lnTo>
                    <a:pt x="6949894" y="5743499"/>
                  </a:lnTo>
                  <a:lnTo>
                    <a:pt x="6953913" y="5747537"/>
                  </a:lnTo>
                  <a:lnTo>
                    <a:pt x="6953913" y="5757408"/>
                  </a:lnTo>
                  <a:lnTo>
                    <a:pt x="6949894" y="5761447"/>
                  </a:lnTo>
                  <a:lnTo>
                    <a:pt x="6939983" y="5761447"/>
                  </a:lnTo>
                  <a:lnTo>
                    <a:pt x="6935964" y="5757408"/>
                  </a:lnTo>
                  <a:lnTo>
                    <a:pt x="6935964" y="5747537"/>
                  </a:lnTo>
                  <a:close/>
                  <a:moveTo>
                    <a:pt x="6700670" y="5743499"/>
                  </a:moveTo>
                  <a:lnTo>
                    <a:pt x="6710581" y="5743499"/>
                  </a:lnTo>
                  <a:lnTo>
                    <a:pt x="6714600" y="5747537"/>
                  </a:lnTo>
                  <a:lnTo>
                    <a:pt x="6714600" y="5757408"/>
                  </a:lnTo>
                  <a:lnTo>
                    <a:pt x="6710581" y="5761447"/>
                  </a:lnTo>
                  <a:lnTo>
                    <a:pt x="6700670" y="5761447"/>
                  </a:lnTo>
                  <a:lnTo>
                    <a:pt x="6696651" y="5757408"/>
                  </a:lnTo>
                  <a:lnTo>
                    <a:pt x="6696651" y="5747537"/>
                  </a:lnTo>
                  <a:close/>
                  <a:moveTo>
                    <a:pt x="6461356" y="5743499"/>
                  </a:moveTo>
                  <a:lnTo>
                    <a:pt x="6471266" y="5743499"/>
                  </a:lnTo>
                  <a:lnTo>
                    <a:pt x="6475285" y="5747537"/>
                  </a:lnTo>
                  <a:lnTo>
                    <a:pt x="6475285" y="5757408"/>
                  </a:lnTo>
                  <a:lnTo>
                    <a:pt x="6471266" y="5761447"/>
                  </a:lnTo>
                  <a:lnTo>
                    <a:pt x="6461356" y="5761447"/>
                  </a:lnTo>
                  <a:lnTo>
                    <a:pt x="6457337" y="5757408"/>
                  </a:lnTo>
                  <a:lnTo>
                    <a:pt x="6457337" y="5747537"/>
                  </a:lnTo>
                  <a:close/>
                  <a:moveTo>
                    <a:pt x="6222042" y="5743499"/>
                  </a:moveTo>
                  <a:lnTo>
                    <a:pt x="6231952" y="5743499"/>
                  </a:lnTo>
                  <a:lnTo>
                    <a:pt x="6235971" y="5747537"/>
                  </a:lnTo>
                  <a:lnTo>
                    <a:pt x="6235971" y="5757408"/>
                  </a:lnTo>
                  <a:lnTo>
                    <a:pt x="6231952" y="5761447"/>
                  </a:lnTo>
                  <a:lnTo>
                    <a:pt x="6222042" y="5761447"/>
                  </a:lnTo>
                  <a:lnTo>
                    <a:pt x="6218023" y="5757408"/>
                  </a:lnTo>
                  <a:lnTo>
                    <a:pt x="6218023" y="5747537"/>
                  </a:lnTo>
                  <a:close/>
                  <a:moveTo>
                    <a:pt x="5982729" y="5743499"/>
                  </a:moveTo>
                  <a:lnTo>
                    <a:pt x="5992639" y="5743499"/>
                  </a:lnTo>
                  <a:lnTo>
                    <a:pt x="5996658" y="5747537"/>
                  </a:lnTo>
                  <a:lnTo>
                    <a:pt x="5996658" y="5757408"/>
                  </a:lnTo>
                  <a:lnTo>
                    <a:pt x="5992639" y="5761447"/>
                  </a:lnTo>
                  <a:lnTo>
                    <a:pt x="5982729" y="5761447"/>
                  </a:lnTo>
                  <a:lnTo>
                    <a:pt x="5978710" y="5757408"/>
                  </a:lnTo>
                  <a:lnTo>
                    <a:pt x="5978710" y="5747537"/>
                  </a:lnTo>
                  <a:close/>
                  <a:moveTo>
                    <a:pt x="5743412" y="5743499"/>
                  </a:moveTo>
                  <a:lnTo>
                    <a:pt x="5753323" y="5743499"/>
                  </a:lnTo>
                  <a:lnTo>
                    <a:pt x="5757342" y="5747537"/>
                  </a:lnTo>
                  <a:lnTo>
                    <a:pt x="5757342" y="5757408"/>
                  </a:lnTo>
                  <a:lnTo>
                    <a:pt x="5753323" y="5761447"/>
                  </a:lnTo>
                  <a:lnTo>
                    <a:pt x="5743412" y="5761447"/>
                  </a:lnTo>
                  <a:lnTo>
                    <a:pt x="5739393" y="5757408"/>
                  </a:lnTo>
                  <a:lnTo>
                    <a:pt x="5739393" y="5747537"/>
                  </a:lnTo>
                  <a:close/>
                  <a:moveTo>
                    <a:pt x="5504099" y="5743499"/>
                  </a:moveTo>
                  <a:lnTo>
                    <a:pt x="5514010" y="5743499"/>
                  </a:lnTo>
                  <a:lnTo>
                    <a:pt x="5518029" y="5747537"/>
                  </a:lnTo>
                  <a:lnTo>
                    <a:pt x="5518029" y="5757408"/>
                  </a:lnTo>
                  <a:lnTo>
                    <a:pt x="5514010" y="5761447"/>
                  </a:lnTo>
                  <a:lnTo>
                    <a:pt x="5504099" y="5761447"/>
                  </a:lnTo>
                  <a:lnTo>
                    <a:pt x="5500080" y="5757408"/>
                  </a:lnTo>
                  <a:lnTo>
                    <a:pt x="5500080" y="5747537"/>
                  </a:lnTo>
                  <a:close/>
                  <a:moveTo>
                    <a:pt x="5264784" y="5743499"/>
                  </a:moveTo>
                  <a:lnTo>
                    <a:pt x="5274694" y="5743499"/>
                  </a:lnTo>
                  <a:lnTo>
                    <a:pt x="5278713" y="5747537"/>
                  </a:lnTo>
                  <a:lnTo>
                    <a:pt x="5278713" y="5757408"/>
                  </a:lnTo>
                  <a:lnTo>
                    <a:pt x="5274694" y="5761447"/>
                  </a:lnTo>
                  <a:lnTo>
                    <a:pt x="5264784" y="5761447"/>
                  </a:lnTo>
                  <a:lnTo>
                    <a:pt x="5260765" y="5757408"/>
                  </a:lnTo>
                  <a:lnTo>
                    <a:pt x="5260765" y="5747537"/>
                  </a:lnTo>
                  <a:close/>
                  <a:moveTo>
                    <a:pt x="5025470" y="5743499"/>
                  </a:moveTo>
                  <a:lnTo>
                    <a:pt x="5035381" y="5743499"/>
                  </a:lnTo>
                  <a:lnTo>
                    <a:pt x="5039400" y="5747537"/>
                  </a:lnTo>
                  <a:lnTo>
                    <a:pt x="5039400" y="5757408"/>
                  </a:lnTo>
                  <a:lnTo>
                    <a:pt x="5035381" y="5761447"/>
                  </a:lnTo>
                  <a:lnTo>
                    <a:pt x="5025470" y="5761447"/>
                  </a:lnTo>
                  <a:lnTo>
                    <a:pt x="5021451" y="5757408"/>
                  </a:lnTo>
                  <a:lnTo>
                    <a:pt x="5021451" y="5747537"/>
                  </a:lnTo>
                  <a:close/>
                  <a:moveTo>
                    <a:pt x="4786241" y="5743499"/>
                  </a:moveTo>
                  <a:lnTo>
                    <a:pt x="4796152" y="5743499"/>
                  </a:lnTo>
                  <a:lnTo>
                    <a:pt x="4800171" y="5747537"/>
                  </a:lnTo>
                  <a:lnTo>
                    <a:pt x="4800171" y="5757408"/>
                  </a:lnTo>
                  <a:lnTo>
                    <a:pt x="4796152" y="5761447"/>
                  </a:lnTo>
                  <a:lnTo>
                    <a:pt x="4786241" y="5761447"/>
                  </a:lnTo>
                  <a:lnTo>
                    <a:pt x="4782224" y="5757408"/>
                  </a:lnTo>
                  <a:lnTo>
                    <a:pt x="4782224" y="5747537"/>
                  </a:lnTo>
                  <a:close/>
                  <a:moveTo>
                    <a:pt x="4546929" y="5743499"/>
                  </a:moveTo>
                  <a:lnTo>
                    <a:pt x="4556840" y="5743499"/>
                  </a:lnTo>
                  <a:lnTo>
                    <a:pt x="4560859" y="5747537"/>
                  </a:lnTo>
                  <a:lnTo>
                    <a:pt x="4560859" y="5757408"/>
                  </a:lnTo>
                  <a:lnTo>
                    <a:pt x="4556840" y="5761447"/>
                  </a:lnTo>
                  <a:lnTo>
                    <a:pt x="4546929" y="5761447"/>
                  </a:lnTo>
                  <a:lnTo>
                    <a:pt x="4542910" y="5757408"/>
                  </a:lnTo>
                  <a:lnTo>
                    <a:pt x="4542910" y="5747537"/>
                  </a:lnTo>
                  <a:close/>
                  <a:moveTo>
                    <a:pt x="4307612" y="5743499"/>
                  </a:moveTo>
                  <a:lnTo>
                    <a:pt x="4317523" y="5743499"/>
                  </a:lnTo>
                  <a:lnTo>
                    <a:pt x="4321543" y="5747537"/>
                  </a:lnTo>
                  <a:lnTo>
                    <a:pt x="4321543" y="5757408"/>
                  </a:lnTo>
                  <a:lnTo>
                    <a:pt x="4317523" y="5761447"/>
                  </a:lnTo>
                  <a:lnTo>
                    <a:pt x="4307612" y="5761447"/>
                  </a:lnTo>
                  <a:lnTo>
                    <a:pt x="4303595" y="5757408"/>
                  </a:lnTo>
                  <a:lnTo>
                    <a:pt x="4303595" y="5747537"/>
                  </a:lnTo>
                  <a:close/>
                  <a:moveTo>
                    <a:pt x="4068297" y="5743499"/>
                  </a:moveTo>
                  <a:lnTo>
                    <a:pt x="4078210" y="5743499"/>
                  </a:lnTo>
                  <a:lnTo>
                    <a:pt x="4082229" y="5747537"/>
                  </a:lnTo>
                  <a:lnTo>
                    <a:pt x="4082229" y="5757408"/>
                  </a:lnTo>
                  <a:lnTo>
                    <a:pt x="4078210" y="5761447"/>
                  </a:lnTo>
                  <a:lnTo>
                    <a:pt x="4068297" y="5761447"/>
                  </a:lnTo>
                  <a:lnTo>
                    <a:pt x="4064278" y="5757408"/>
                  </a:lnTo>
                  <a:lnTo>
                    <a:pt x="4064278" y="5747537"/>
                  </a:lnTo>
                  <a:close/>
                  <a:moveTo>
                    <a:pt x="3828990" y="5743499"/>
                  </a:moveTo>
                  <a:lnTo>
                    <a:pt x="3838899" y="5743499"/>
                  </a:lnTo>
                  <a:lnTo>
                    <a:pt x="3842917" y="5747537"/>
                  </a:lnTo>
                  <a:lnTo>
                    <a:pt x="3842917" y="5757408"/>
                  </a:lnTo>
                  <a:lnTo>
                    <a:pt x="3838899" y="5761447"/>
                  </a:lnTo>
                  <a:lnTo>
                    <a:pt x="3828990" y="5761447"/>
                  </a:lnTo>
                  <a:lnTo>
                    <a:pt x="3824971" y="5757408"/>
                  </a:lnTo>
                  <a:lnTo>
                    <a:pt x="3824971" y="5747537"/>
                  </a:lnTo>
                  <a:close/>
                  <a:moveTo>
                    <a:pt x="3589676" y="5743499"/>
                  </a:moveTo>
                  <a:lnTo>
                    <a:pt x="3599585" y="5743499"/>
                  </a:lnTo>
                  <a:lnTo>
                    <a:pt x="3603604" y="5747537"/>
                  </a:lnTo>
                  <a:lnTo>
                    <a:pt x="3603604" y="5757408"/>
                  </a:lnTo>
                  <a:lnTo>
                    <a:pt x="3599585" y="5761447"/>
                  </a:lnTo>
                  <a:lnTo>
                    <a:pt x="3589676" y="5761447"/>
                  </a:lnTo>
                  <a:lnTo>
                    <a:pt x="3585657" y="5757408"/>
                  </a:lnTo>
                  <a:lnTo>
                    <a:pt x="3585657" y="5747537"/>
                  </a:lnTo>
                  <a:close/>
                  <a:moveTo>
                    <a:pt x="3350359" y="5743499"/>
                  </a:moveTo>
                  <a:lnTo>
                    <a:pt x="3360268" y="5743499"/>
                  </a:lnTo>
                  <a:lnTo>
                    <a:pt x="3364287" y="5747537"/>
                  </a:lnTo>
                  <a:lnTo>
                    <a:pt x="3364287" y="5757408"/>
                  </a:lnTo>
                  <a:lnTo>
                    <a:pt x="3360268" y="5761447"/>
                  </a:lnTo>
                  <a:lnTo>
                    <a:pt x="3350359" y="5761447"/>
                  </a:lnTo>
                  <a:lnTo>
                    <a:pt x="3346340" y="5757408"/>
                  </a:lnTo>
                  <a:lnTo>
                    <a:pt x="3346340" y="5747537"/>
                  </a:lnTo>
                  <a:close/>
                  <a:moveTo>
                    <a:pt x="3111048" y="5743499"/>
                  </a:moveTo>
                  <a:lnTo>
                    <a:pt x="3120959" y="5743499"/>
                  </a:lnTo>
                  <a:lnTo>
                    <a:pt x="3124977" y="5747537"/>
                  </a:lnTo>
                  <a:lnTo>
                    <a:pt x="3124977" y="5757408"/>
                  </a:lnTo>
                  <a:lnTo>
                    <a:pt x="3120959" y="5761447"/>
                  </a:lnTo>
                  <a:lnTo>
                    <a:pt x="3111048" y="5761447"/>
                  </a:lnTo>
                  <a:lnTo>
                    <a:pt x="3107029" y="5757408"/>
                  </a:lnTo>
                  <a:lnTo>
                    <a:pt x="3107029" y="5747537"/>
                  </a:lnTo>
                  <a:close/>
                  <a:moveTo>
                    <a:pt x="2871737" y="5743499"/>
                  </a:moveTo>
                  <a:lnTo>
                    <a:pt x="2881646" y="5743499"/>
                  </a:lnTo>
                  <a:lnTo>
                    <a:pt x="2885666" y="5747537"/>
                  </a:lnTo>
                  <a:lnTo>
                    <a:pt x="2885666" y="5757408"/>
                  </a:lnTo>
                  <a:lnTo>
                    <a:pt x="2881646" y="5761447"/>
                  </a:lnTo>
                  <a:lnTo>
                    <a:pt x="2871737" y="5761447"/>
                  </a:lnTo>
                  <a:lnTo>
                    <a:pt x="2867717" y="5757408"/>
                  </a:lnTo>
                  <a:lnTo>
                    <a:pt x="2867717" y="5747537"/>
                  </a:lnTo>
                  <a:close/>
                  <a:moveTo>
                    <a:pt x="2632423" y="5743499"/>
                  </a:moveTo>
                  <a:lnTo>
                    <a:pt x="2642334" y="5743499"/>
                  </a:lnTo>
                  <a:lnTo>
                    <a:pt x="2646352" y="5747537"/>
                  </a:lnTo>
                  <a:lnTo>
                    <a:pt x="2646352" y="5757408"/>
                  </a:lnTo>
                  <a:lnTo>
                    <a:pt x="2642334" y="5761447"/>
                  </a:lnTo>
                  <a:lnTo>
                    <a:pt x="2632423" y="5761447"/>
                  </a:lnTo>
                  <a:lnTo>
                    <a:pt x="2628404" y="5757408"/>
                  </a:lnTo>
                  <a:lnTo>
                    <a:pt x="2628404" y="5747537"/>
                  </a:lnTo>
                  <a:close/>
                  <a:moveTo>
                    <a:pt x="2393104" y="5743499"/>
                  </a:moveTo>
                  <a:lnTo>
                    <a:pt x="2403015" y="5743499"/>
                  </a:lnTo>
                  <a:lnTo>
                    <a:pt x="2407034" y="5747537"/>
                  </a:lnTo>
                  <a:lnTo>
                    <a:pt x="2407034" y="5757408"/>
                  </a:lnTo>
                  <a:lnTo>
                    <a:pt x="2403015" y="5761447"/>
                  </a:lnTo>
                  <a:lnTo>
                    <a:pt x="2393104" y="5761447"/>
                  </a:lnTo>
                  <a:lnTo>
                    <a:pt x="2389087" y="5757408"/>
                  </a:lnTo>
                  <a:lnTo>
                    <a:pt x="2389087" y="5747537"/>
                  </a:lnTo>
                  <a:close/>
                  <a:moveTo>
                    <a:pt x="721960" y="5743499"/>
                  </a:moveTo>
                  <a:lnTo>
                    <a:pt x="731871" y="5743499"/>
                  </a:lnTo>
                  <a:lnTo>
                    <a:pt x="735889" y="5747537"/>
                  </a:lnTo>
                  <a:lnTo>
                    <a:pt x="735889" y="5757408"/>
                  </a:lnTo>
                  <a:lnTo>
                    <a:pt x="731871" y="5761447"/>
                  </a:lnTo>
                  <a:lnTo>
                    <a:pt x="721960" y="5761447"/>
                  </a:lnTo>
                  <a:lnTo>
                    <a:pt x="717941" y="5757408"/>
                  </a:lnTo>
                  <a:lnTo>
                    <a:pt x="717941" y="5747537"/>
                  </a:lnTo>
                  <a:close/>
                  <a:moveTo>
                    <a:pt x="482648" y="5743499"/>
                  </a:moveTo>
                  <a:lnTo>
                    <a:pt x="492558" y="5743499"/>
                  </a:lnTo>
                  <a:lnTo>
                    <a:pt x="496578" y="5747537"/>
                  </a:lnTo>
                  <a:lnTo>
                    <a:pt x="496578" y="5757408"/>
                  </a:lnTo>
                  <a:lnTo>
                    <a:pt x="492558" y="5761447"/>
                  </a:lnTo>
                  <a:lnTo>
                    <a:pt x="482648" y="5761447"/>
                  </a:lnTo>
                  <a:lnTo>
                    <a:pt x="478629" y="5757408"/>
                  </a:lnTo>
                  <a:lnTo>
                    <a:pt x="478629" y="5747537"/>
                  </a:lnTo>
                  <a:close/>
                  <a:moveTo>
                    <a:pt x="243334" y="5743499"/>
                  </a:moveTo>
                  <a:lnTo>
                    <a:pt x="253245" y="5743499"/>
                  </a:lnTo>
                  <a:lnTo>
                    <a:pt x="257264" y="5747537"/>
                  </a:lnTo>
                  <a:lnTo>
                    <a:pt x="257264" y="5757408"/>
                  </a:lnTo>
                  <a:lnTo>
                    <a:pt x="253245" y="5761447"/>
                  </a:lnTo>
                  <a:lnTo>
                    <a:pt x="243334" y="5761447"/>
                  </a:lnTo>
                  <a:lnTo>
                    <a:pt x="239315" y="5757408"/>
                  </a:lnTo>
                  <a:lnTo>
                    <a:pt x="239315" y="5747537"/>
                  </a:lnTo>
                  <a:close/>
                  <a:moveTo>
                    <a:pt x="4021" y="5743499"/>
                  </a:moveTo>
                  <a:lnTo>
                    <a:pt x="13932" y="5743499"/>
                  </a:lnTo>
                  <a:lnTo>
                    <a:pt x="17950" y="5747537"/>
                  </a:lnTo>
                  <a:lnTo>
                    <a:pt x="17950" y="5757408"/>
                  </a:lnTo>
                  <a:lnTo>
                    <a:pt x="13932" y="5761447"/>
                  </a:lnTo>
                  <a:lnTo>
                    <a:pt x="4021" y="5761447"/>
                  </a:lnTo>
                  <a:lnTo>
                    <a:pt x="2" y="5757408"/>
                  </a:lnTo>
                  <a:lnTo>
                    <a:pt x="2" y="5747537"/>
                  </a:lnTo>
                  <a:close/>
                  <a:moveTo>
                    <a:pt x="9572438" y="5504220"/>
                  </a:moveTo>
                  <a:lnTo>
                    <a:pt x="9582349" y="5504220"/>
                  </a:lnTo>
                  <a:lnTo>
                    <a:pt x="9586368" y="5508258"/>
                  </a:lnTo>
                  <a:lnTo>
                    <a:pt x="9586368" y="5518129"/>
                  </a:lnTo>
                  <a:lnTo>
                    <a:pt x="9582349" y="5522168"/>
                  </a:lnTo>
                  <a:lnTo>
                    <a:pt x="9572438" y="5522168"/>
                  </a:lnTo>
                  <a:lnTo>
                    <a:pt x="9568419" y="5518129"/>
                  </a:lnTo>
                  <a:lnTo>
                    <a:pt x="9568419" y="5508258"/>
                  </a:lnTo>
                  <a:close/>
                  <a:moveTo>
                    <a:pt x="9333125" y="5504220"/>
                  </a:moveTo>
                  <a:lnTo>
                    <a:pt x="9343036" y="5504220"/>
                  </a:lnTo>
                  <a:lnTo>
                    <a:pt x="9347055" y="5508258"/>
                  </a:lnTo>
                  <a:lnTo>
                    <a:pt x="9347055" y="5518129"/>
                  </a:lnTo>
                  <a:lnTo>
                    <a:pt x="9343036" y="5522168"/>
                  </a:lnTo>
                  <a:lnTo>
                    <a:pt x="9333125" y="5522168"/>
                  </a:lnTo>
                  <a:lnTo>
                    <a:pt x="9329106" y="5518129"/>
                  </a:lnTo>
                  <a:lnTo>
                    <a:pt x="9329106" y="5508258"/>
                  </a:lnTo>
                  <a:close/>
                  <a:moveTo>
                    <a:pt x="9093811" y="5504220"/>
                  </a:moveTo>
                  <a:lnTo>
                    <a:pt x="9103722" y="5504220"/>
                  </a:lnTo>
                  <a:lnTo>
                    <a:pt x="9107741" y="5508258"/>
                  </a:lnTo>
                  <a:lnTo>
                    <a:pt x="9107741" y="5518129"/>
                  </a:lnTo>
                  <a:lnTo>
                    <a:pt x="9103722" y="5522168"/>
                  </a:lnTo>
                  <a:lnTo>
                    <a:pt x="9093811" y="5522168"/>
                  </a:lnTo>
                  <a:lnTo>
                    <a:pt x="9089792" y="5518129"/>
                  </a:lnTo>
                  <a:lnTo>
                    <a:pt x="9089792" y="5508258"/>
                  </a:lnTo>
                  <a:close/>
                  <a:moveTo>
                    <a:pt x="8854496" y="5504220"/>
                  </a:moveTo>
                  <a:lnTo>
                    <a:pt x="8864407" y="5504220"/>
                  </a:lnTo>
                  <a:lnTo>
                    <a:pt x="8868426" y="5508258"/>
                  </a:lnTo>
                  <a:lnTo>
                    <a:pt x="8868426" y="5518129"/>
                  </a:lnTo>
                  <a:lnTo>
                    <a:pt x="8864407" y="5522168"/>
                  </a:lnTo>
                  <a:lnTo>
                    <a:pt x="8854496" y="5522168"/>
                  </a:lnTo>
                  <a:lnTo>
                    <a:pt x="8850477" y="5518129"/>
                  </a:lnTo>
                  <a:lnTo>
                    <a:pt x="8850477" y="5508258"/>
                  </a:lnTo>
                  <a:close/>
                  <a:moveTo>
                    <a:pt x="8615184" y="5504220"/>
                  </a:moveTo>
                  <a:lnTo>
                    <a:pt x="8625095" y="5504220"/>
                  </a:lnTo>
                  <a:lnTo>
                    <a:pt x="8629114" y="5508258"/>
                  </a:lnTo>
                  <a:lnTo>
                    <a:pt x="8629114" y="5518129"/>
                  </a:lnTo>
                  <a:lnTo>
                    <a:pt x="8625095" y="5522168"/>
                  </a:lnTo>
                  <a:lnTo>
                    <a:pt x="8615184" y="5522168"/>
                  </a:lnTo>
                  <a:lnTo>
                    <a:pt x="8611165" y="5518129"/>
                  </a:lnTo>
                  <a:lnTo>
                    <a:pt x="8611165" y="5508258"/>
                  </a:lnTo>
                  <a:close/>
                  <a:moveTo>
                    <a:pt x="8375869" y="5504220"/>
                  </a:moveTo>
                  <a:lnTo>
                    <a:pt x="8385779" y="5504220"/>
                  </a:lnTo>
                  <a:lnTo>
                    <a:pt x="8389799" y="5508258"/>
                  </a:lnTo>
                  <a:lnTo>
                    <a:pt x="8389799" y="5518129"/>
                  </a:lnTo>
                  <a:lnTo>
                    <a:pt x="8385779" y="5522168"/>
                  </a:lnTo>
                  <a:lnTo>
                    <a:pt x="8375869" y="5522168"/>
                  </a:lnTo>
                  <a:lnTo>
                    <a:pt x="8371850" y="5518129"/>
                  </a:lnTo>
                  <a:lnTo>
                    <a:pt x="8371850" y="5508258"/>
                  </a:lnTo>
                  <a:close/>
                  <a:moveTo>
                    <a:pt x="8136553" y="5504220"/>
                  </a:moveTo>
                  <a:lnTo>
                    <a:pt x="8146464" y="5504220"/>
                  </a:lnTo>
                  <a:lnTo>
                    <a:pt x="8150483" y="5508258"/>
                  </a:lnTo>
                  <a:lnTo>
                    <a:pt x="8150483" y="5518129"/>
                  </a:lnTo>
                  <a:lnTo>
                    <a:pt x="8146464" y="5522168"/>
                  </a:lnTo>
                  <a:lnTo>
                    <a:pt x="8136553" y="5522168"/>
                  </a:lnTo>
                  <a:lnTo>
                    <a:pt x="8132534" y="5518129"/>
                  </a:lnTo>
                  <a:lnTo>
                    <a:pt x="8132534" y="5508258"/>
                  </a:lnTo>
                  <a:close/>
                  <a:moveTo>
                    <a:pt x="7897241" y="5504220"/>
                  </a:moveTo>
                  <a:lnTo>
                    <a:pt x="7907151" y="5504220"/>
                  </a:lnTo>
                  <a:lnTo>
                    <a:pt x="7911170" y="5508258"/>
                  </a:lnTo>
                  <a:lnTo>
                    <a:pt x="7911170" y="5518129"/>
                  </a:lnTo>
                  <a:lnTo>
                    <a:pt x="7907151" y="5522168"/>
                  </a:lnTo>
                  <a:lnTo>
                    <a:pt x="7897241" y="5522168"/>
                  </a:lnTo>
                  <a:lnTo>
                    <a:pt x="7893222" y="5518129"/>
                  </a:lnTo>
                  <a:lnTo>
                    <a:pt x="7893222" y="5508258"/>
                  </a:lnTo>
                  <a:close/>
                  <a:moveTo>
                    <a:pt x="7657926" y="5504220"/>
                  </a:moveTo>
                  <a:lnTo>
                    <a:pt x="7667836" y="5504220"/>
                  </a:lnTo>
                  <a:lnTo>
                    <a:pt x="7671855" y="5508258"/>
                  </a:lnTo>
                  <a:lnTo>
                    <a:pt x="7671855" y="5518129"/>
                  </a:lnTo>
                  <a:lnTo>
                    <a:pt x="7667836" y="5522168"/>
                  </a:lnTo>
                  <a:lnTo>
                    <a:pt x="7657926" y="5522168"/>
                  </a:lnTo>
                  <a:lnTo>
                    <a:pt x="7653906" y="5518129"/>
                  </a:lnTo>
                  <a:lnTo>
                    <a:pt x="7653906" y="5508258"/>
                  </a:lnTo>
                  <a:close/>
                  <a:moveTo>
                    <a:pt x="7418611" y="5504220"/>
                  </a:moveTo>
                  <a:lnTo>
                    <a:pt x="7428521" y="5504220"/>
                  </a:lnTo>
                  <a:lnTo>
                    <a:pt x="7432540" y="5508258"/>
                  </a:lnTo>
                  <a:lnTo>
                    <a:pt x="7432540" y="5518129"/>
                  </a:lnTo>
                  <a:lnTo>
                    <a:pt x="7428521" y="5522168"/>
                  </a:lnTo>
                  <a:lnTo>
                    <a:pt x="7418611" y="5522168"/>
                  </a:lnTo>
                  <a:lnTo>
                    <a:pt x="7414592" y="5518129"/>
                  </a:lnTo>
                  <a:lnTo>
                    <a:pt x="7414592" y="5508258"/>
                  </a:lnTo>
                  <a:close/>
                  <a:moveTo>
                    <a:pt x="7179298" y="5504220"/>
                  </a:moveTo>
                  <a:lnTo>
                    <a:pt x="7189209" y="5504220"/>
                  </a:lnTo>
                  <a:lnTo>
                    <a:pt x="7193228" y="5508258"/>
                  </a:lnTo>
                  <a:lnTo>
                    <a:pt x="7193228" y="5518129"/>
                  </a:lnTo>
                  <a:lnTo>
                    <a:pt x="7189209" y="5522168"/>
                  </a:lnTo>
                  <a:lnTo>
                    <a:pt x="7179298" y="5522168"/>
                  </a:lnTo>
                  <a:lnTo>
                    <a:pt x="7175279" y="5518129"/>
                  </a:lnTo>
                  <a:lnTo>
                    <a:pt x="7175279" y="5508258"/>
                  </a:lnTo>
                  <a:close/>
                  <a:moveTo>
                    <a:pt x="6939983" y="5504220"/>
                  </a:moveTo>
                  <a:lnTo>
                    <a:pt x="6949894" y="5504220"/>
                  </a:lnTo>
                  <a:lnTo>
                    <a:pt x="6953913" y="5508258"/>
                  </a:lnTo>
                  <a:lnTo>
                    <a:pt x="6953913" y="5518129"/>
                  </a:lnTo>
                  <a:lnTo>
                    <a:pt x="6949894" y="5522168"/>
                  </a:lnTo>
                  <a:lnTo>
                    <a:pt x="6939983" y="5522168"/>
                  </a:lnTo>
                  <a:lnTo>
                    <a:pt x="6935964" y="5518129"/>
                  </a:lnTo>
                  <a:lnTo>
                    <a:pt x="6935964" y="5508258"/>
                  </a:lnTo>
                  <a:close/>
                  <a:moveTo>
                    <a:pt x="6700670" y="5504220"/>
                  </a:moveTo>
                  <a:lnTo>
                    <a:pt x="6710581" y="5504220"/>
                  </a:lnTo>
                  <a:lnTo>
                    <a:pt x="6714600" y="5508258"/>
                  </a:lnTo>
                  <a:lnTo>
                    <a:pt x="6714600" y="5518129"/>
                  </a:lnTo>
                  <a:lnTo>
                    <a:pt x="6710581" y="5522168"/>
                  </a:lnTo>
                  <a:lnTo>
                    <a:pt x="6700670" y="5522168"/>
                  </a:lnTo>
                  <a:lnTo>
                    <a:pt x="6696651" y="5518129"/>
                  </a:lnTo>
                  <a:lnTo>
                    <a:pt x="6696651" y="5508258"/>
                  </a:lnTo>
                  <a:close/>
                  <a:moveTo>
                    <a:pt x="6461356" y="5504220"/>
                  </a:moveTo>
                  <a:lnTo>
                    <a:pt x="6471266" y="5504220"/>
                  </a:lnTo>
                  <a:lnTo>
                    <a:pt x="6475285" y="5508258"/>
                  </a:lnTo>
                  <a:lnTo>
                    <a:pt x="6475285" y="5518129"/>
                  </a:lnTo>
                  <a:lnTo>
                    <a:pt x="6471266" y="5522168"/>
                  </a:lnTo>
                  <a:lnTo>
                    <a:pt x="6461356" y="5522168"/>
                  </a:lnTo>
                  <a:lnTo>
                    <a:pt x="6457337" y="5518129"/>
                  </a:lnTo>
                  <a:lnTo>
                    <a:pt x="6457337" y="5508258"/>
                  </a:lnTo>
                  <a:close/>
                  <a:moveTo>
                    <a:pt x="6222042" y="5504220"/>
                  </a:moveTo>
                  <a:lnTo>
                    <a:pt x="6231952" y="5504220"/>
                  </a:lnTo>
                  <a:lnTo>
                    <a:pt x="6235971" y="5508258"/>
                  </a:lnTo>
                  <a:lnTo>
                    <a:pt x="6235971" y="5518129"/>
                  </a:lnTo>
                  <a:lnTo>
                    <a:pt x="6231952" y="5522168"/>
                  </a:lnTo>
                  <a:lnTo>
                    <a:pt x="6222042" y="5522168"/>
                  </a:lnTo>
                  <a:lnTo>
                    <a:pt x="6218023" y="5518129"/>
                  </a:lnTo>
                  <a:lnTo>
                    <a:pt x="6218023" y="5508258"/>
                  </a:lnTo>
                  <a:close/>
                  <a:moveTo>
                    <a:pt x="5982729" y="5504220"/>
                  </a:moveTo>
                  <a:lnTo>
                    <a:pt x="5992639" y="5504220"/>
                  </a:lnTo>
                  <a:lnTo>
                    <a:pt x="5996658" y="5508258"/>
                  </a:lnTo>
                  <a:lnTo>
                    <a:pt x="5996658" y="5518129"/>
                  </a:lnTo>
                  <a:lnTo>
                    <a:pt x="5992639" y="5522168"/>
                  </a:lnTo>
                  <a:lnTo>
                    <a:pt x="5982729" y="5522168"/>
                  </a:lnTo>
                  <a:lnTo>
                    <a:pt x="5978710" y="5518129"/>
                  </a:lnTo>
                  <a:lnTo>
                    <a:pt x="5978710" y="5508258"/>
                  </a:lnTo>
                  <a:close/>
                  <a:moveTo>
                    <a:pt x="5743412" y="5504220"/>
                  </a:moveTo>
                  <a:lnTo>
                    <a:pt x="5753323" y="5504220"/>
                  </a:lnTo>
                  <a:lnTo>
                    <a:pt x="5757342" y="5508258"/>
                  </a:lnTo>
                  <a:lnTo>
                    <a:pt x="5757342" y="5518129"/>
                  </a:lnTo>
                  <a:lnTo>
                    <a:pt x="5753323" y="5522168"/>
                  </a:lnTo>
                  <a:lnTo>
                    <a:pt x="5743412" y="5522168"/>
                  </a:lnTo>
                  <a:lnTo>
                    <a:pt x="5739393" y="5518129"/>
                  </a:lnTo>
                  <a:lnTo>
                    <a:pt x="5739393" y="5508258"/>
                  </a:lnTo>
                  <a:close/>
                  <a:moveTo>
                    <a:pt x="5504099" y="5504220"/>
                  </a:moveTo>
                  <a:lnTo>
                    <a:pt x="5514010" y="5504220"/>
                  </a:lnTo>
                  <a:lnTo>
                    <a:pt x="5518029" y="5508258"/>
                  </a:lnTo>
                  <a:lnTo>
                    <a:pt x="5518029" y="5518129"/>
                  </a:lnTo>
                  <a:lnTo>
                    <a:pt x="5514010" y="5522168"/>
                  </a:lnTo>
                  <a:lnTo>
                    <a:pt x="5504099" y="5522168"/>
                  </a:lnTo>
                  <a:lnTo>
                    <a:pt x="5500080" y="5518129"/>
                  </a:lnTo>
                  <a:lnTo>
                    <a:pt x="5500080" y="5508258"/>
                  </a:lnTo>
                  <a:close/>
                  <a:moveTo>
                    <a:pt x="5264784" y="5504220"/>
                  </a:moveTo>
                  <a:lnTo>
                    <a:pt x="5274694" y="5504220"/>
                  </a:lnTo>
                  <a:lnTo>
                    <a:pt x="5278713" y="5508258"/>
                  </a:lnTo>
                  <a:lnTo>
                    <a:pt x="5278713" y="5518129"/>
                  </a:lnTo>
                  <a:lnTo>
                    <a:pt x="5274694" y="5522168"/>
                  </a:lnTo>
                  <a:lnTo>
                    <a:pt x="5264784" y="5522168"/>
                  </a:lnTo>
                  <a:lnTo>
                    <a:pt x="5260765" y="5518129"/>
                  </a:lnTo>
                  <a:lnTo>
                    <a:pt x="5260765" y="5508258"/>
                  </a:lnTo>
                  <a:close/>
                  <a:moveTo>
                    <a:pt x="5025470" y="5504220"/>
                  </a:moveTo>
                  <a:lnTo>
                    <a:pt x="5035381" y="5504220"/>
                  </a:lnTo>
                  <a:lnTo>
                    <a:pt x="5039400" y="5508258"/>
                  </a:lnTo>
                  <a:lnTo>
                    <a:pt x="5039400" y="5518129"/>
                  </a:lnTo>
                  <a:lnTo>
                    <a:pt x="5035381" y="5522168"/>
                  </a:lnTo>
                  <a:lnTo>
                    <a:pt x="5025470" y="5522168"/>
                  </a:lnTo>
                  <a:lnTo>
                    <a:pt x="5021451" y="5518129"/>
                  </a:lnTo>
                  <a:lnTo>
                    <a:pt x="5021451" y="5508258"/>
                  </a:lnTo>
                  <a:close/>
                  <a:moveTo>
                    <a:pt x="4786241" y="5504220"/>
                  </a:moveTo>
                  <a:lnTo>
                    <a:pt x="4796152" y="5504220"/>
                  </a:lnTo>
                  <a:lnTo>
                    <a:pt x="4800171" y="5508258"/>
                  </a:lnTo>
                  <a:lnTo>
                    <a:pt x="4800171" y="5518129"/>
                  </a:lnTo>
                  <a:lnTo>
                    <a:pt x="4796152" y="5522168"/>
                  </a:lnTo>
                  <a:lnTo>
                    <a:pt x="4786241" y="5522168"/>
                  </a:lnTo>
                  <a:lnTo>
                    <a:pt x="4782224" y="5518129"/>
                  </a:lnTo>
                  <a:lnTo>
                    <a:pt x="4782224" y="5508258"/>
                  </a:lnTo>
                  <a:close/>
                  <a:moveTo>
                    <a:pt x="4546929" y="5504220"/>
                  </a:moveTo>
                  <a:lnTo>
                    <a:pt x="4556840" y="5504220"/>
                  </a:lnTo>
                  <a:lnTo>
                    <a:pt x="4560859" y="5508258"/>
                  </a:lnTo>
                  <a:lnTo>
                    <a:pt x="4560859" y="5518129"/>
                  </a:lnTo>
                  <a:lnTo>
                    <a:pt x="4556840" y="5522168"/>
                  </a:lnTo>
                  <a:lnTo>
                    <a:pt x="4546929" y="5522168"/>
                  </a:lnTo>
                  <a:lnTo>
                    <a:pt x="4542910" y="5518129"/>
                  </a:lnTo>
                  <a:lnTo>
                    <a:pt x="4542910" y="5508258"/>
                  </a:lnTo>
                  <a:close/>
                  <a:moveTo>
                    <a:pt x="4307612" y="5504220"/>
                  </a:moveTo>
                  <a:lnTo>
                    <a:pt x="4317523" y="5504220"/>
                  </a:lnTo>
                  <a:lnTo>
                    <a:pt x="4321543" y="5508258"/>
                  </a:lnTo>
                  <a:lnTo>
                    <a:pt x="4321543" y="5518129"/>
                  </a:lnTo>
                  <a:lnTo>
                    <a:pt x="4317523" y="5522168"/>
                  </a:lnTo>
                  <a:lnTo>
                    <a:pt x="4307612" y="5522168"/>
                  </a:lnTo>
                  <a:lnTo>
                    <a:pt x="4303595" y="5518129"/>
                  </a:lnTo>
                  <a:lnTo>
                    <a:pt x="4303595" y="5508258"/>
                  </a:lnTo>
                  <a:close/>
                  <a:moveTo>
                    <a:pt x="4068297" y="5504220"/>
                  </a:moveTo>
                  <a:lnTo>
                    <a:pt x="4078210" y="5504220"/>
                  </a:lnTo>
                  <a:lnTo>
                    <a:pt x="4082229" y="5508258"/>
                  </a:lnTo>
                  <a:lnTo>
                    <a:pt x="4082229" y="5518129"/>
                  </a:lnTo>
                  <a:lnTo>
                    <a:pt x="4078210" y="5522168"/>
                  </a:lnTo>
                  <a:lnTo>
                    <a:pt x="4068297" y="5522168"/>
                  </a:lnTo>
                  <a:lnTo>
                    <a:pt x="4064278" y="5518129"/>
                  </a:lnTo>
                  <a:lnTo>
                    <a:pt x="4064278" y="5508258"/>
                  </a:lnTo>
                  <a:close/>
                  <a:moveTo>
                    <a:pt x="3828990" y="5504220"/>
                  </a:moveTo>
                  <a:lnTo>
                    <a:pt x="3838899" y="5504220"/>
                  </a:lnTo>
                  <a:lnTo>
                    <a:pt x="3842917" y="5508258"/>
                  </a:lnTo>
                  <a:lnTo>
                    <a:pt x="3842917" y="5518129"/>
                  </a:lnTo>
                  <a:lnTo>
                    <a:pt x="3838899" y="5522168"/>
                  </a:lnTo>
                  <a:lnTo>
                    <a:pt x="3828990" y="5522168"/>
                  </a:lnTo>
                  <a:lnTo>
                    <a:pt x="3824971" y="5518129"/>
                  </a:lnTo>
                  <a:lnTo>
                    <a:pt x="3824971" y="5508258"/>
                  </a:lnTo>
                  <a:close/>
                  <a:moveTo>
                    <a:pt x="3589676" y="5504220"/>
                  </a:moveTo>
                  <a:lnTo>
                    <a:pt x="3599585" y="5504220"/>
                  </a:lnTo>
                  <a:lnTo>
                    <a:pt x="3603604" y="5508258"/>
                  </a:lnTo>
                  <a:lnTo>
                    <a:pt x="3603604" y="5518129"/>
                  </a:lnTo>
                  <a:lnTo>
                    <a:pt x="3599585" y="5522168"/>
                  </a:lnTo>
                  <a:lnTo>
                    <a:pt x="3589676" y="5522168"/>
                  </a:lnTo>
                  <a:lnTo>
                    <a:pt x="3585657" y="5518129"/>
                  </a:lnTo>
                  <a:lnTo>
                    <a:pt x="3585657" y="5508258"/>
                  </a:lnTo>
                  <a:close/>
                  <a:moveTo>
                    <a:pt x="3350359" y="5504220"/>
                  </a:moveTo>
                  <a:lnTo>
                    <a:pt x="3360268" y="5504220"/>
                  </a:lnTo>
                  <a:lnTo>
                    <a:pt x="3364287" y="5508258"/>
                  </a:lnTo>
                  <a:lnTo>
                    <a:pt x="3364287" y="5518129"/>
                  </a:lnTo>
                  <a:lnTo>
                    <a:pt x="3360268" y="5522168"/>
                  </a:lnTo>
                  <a:lnTo>
                    <a:pt x="3350359" y="5522168"/>
                  </a:lnTo>
                  <a:lnTo>
                    <a:pt x="3346340" y="5518129"/>
                  </a:lnTo>
                  <a:lnTo>
                    <a:pt x="3346340" y="5508258"/>
                  </a:lnTo>
                  <a:close/>
                  <a:moveTo>
                    <a:pt x="3111048" y="5504220"/>
                  </a:moveTo>
                  <a:lnTo>
                    <a:pt x="3120959" y="5504220"/>
                  </a:lnTo>
                  <a:lnTo>
                    <a:pt x="3124977" y="5508258"/>
                  </a:lnTo>
                  <a:lnTo>
                    <a:pt x="3124977" y="5518129"/>
                  </a:lnTo>
                  <a:lnTo>
                    <a:pt x="3120959" y="5522168"/>
                  </a:lnTo>
                  <a:lnTo>
                    <a:pt x="3111048" y="5522168"/>
                  </a:lnTo>
                  <a:lnTo>
                    <a:pt x="3107029" y="5518129"/>
                  </a:lnTo>
                  <a:lnTo>
                    <a:pt x="3107029" y="5508258"/>
                  </a:lnTo>
                  <a:close/>
                  <a:moveTo>
                    <a:pt x="2871737" y="5504220"/>
                  </a:moveTo>
                  <a:lnTo>
                    <a:pt x="2881646" y="5504220"/>
                  </a:lnTo>
                  <a:lnTo>
                    <a:pt x="2885666" y="5508258"/>
                  </a:lnTo>
                  <a:lnTo>
                    <a:pt x="2885666" y="5518129"/>
                  </a:lnTo>
                  <a:lnTo>
                    <a:pt x="2881646" y="5522168"/>
                  </a:lnTo>
                  <a:lnTo>
                    <a:pt x="2871737" y="5522168"/>
                  </a:lnTo>
                  <a:lnTo>
                    <a:pt x="2867717" y="5518129"/>
                  </a:lnTo>
                  <a:lnTo>
                    <a:pt x="2867717" y="5508258"/>
                  </a:lnTo>
                  <a:close/>
                  <a:moveTo>
                    <a:pt x="2632423" y="5504220"/>
                  </a:moveTo>
                  <a:lnTo>
                    <a:pt x="2642334" y="5504220"/>
                  </a:lnTo>
                  <a:lnTo>
                    <a:pt x="2646352" y="5508258"/>
                  </a:lnTo>
                  <a:lnTo>
                    <a:pt x="2646352" y="5518129"/>
                  </a:lnTo>
                  <a:lnTo>
                    <a:pt x="2642334" y="5522168"/>
                  </a:lnTo>
                  <a:lnTo>
                    <a:pt x="2632423" y="5522168"/>
                  </a:lnTo>
                  <a:lnTo>
                    <a:pt x="2628404" y="5518129"/>
                  </a:lnTo>
                  <a:lnTo>
                    <a:pt x="2628404" y="5508258"/>
                  </a:lnTo>
                  <a:close/>
                  <a:moveTo>
                    <a:pt x="2393104" y="5504220"/>
                  </a:moveTo>
                  <a:lnTo>
                    <a:pt x="2403015" y="5504220"/>
                  </a:lnTo>
                  <a:lnTo>
                    <a:pt x="2407034" y="5508258"/>
                  </a:lnTo>
                  <a:lnTo>
                    <a:pt x="2407034" y="5518129"/>
                  </a:lnTo>
                  <a:lnTo>
                    <a:pt x="2403015" y="5522168"/>
                  </a:lnTo>
                  <a:lnTo>
                    <a:pt x="2393104" y="5522168"/>
                  </a:lnTo>
                  <a:lnTo>
                    <a:pt x="2389087" y="5518129"/>
                  </a:lnTo>
                  <a:lnTo>
                    <a:pt x="2389087" y="5508258"/>
                  </a:lnTo>
                  <a:close/>
                  <a:moveTo>
                    <a:pt x="2157818" y="5504220"/>
                  </a:moveTo>
                  <a:lnTo>
                    <a:pt x="2167728" y="5504220"/>
                  </a:lnTo>
                  <a:lnTo>
                    <a:pt x="2171748" y="5508258"/>
                  </a:lnTo>
                  <a:lnTo>
                    <a:pt x="2171748" y="5518129"/>
                  </a:lnTo>
                  <a:lnTo>
                    <a:pt x="2167728" y="5522168"/>
                  </a:lnTo>
                  <a:lnTo>
                    <a:pt x="2157818" y="5522168"/>
                  </a:lnTo>
                  <a:lnTo>
                    <a:pt x="2153799" y="5518129"/>
                  </a:lnTo>
                  <a:lnTo>
                    <a:pt x="2153799" y="5508258"/>
                  </a:lnTo>
                  <a:close/>
                  <a:moveTo>
                    <a:pt x="1918510" y="5504220"/>
                  </a:moveTo>
                  <a:lnTo>
                    <a:pt x="1928420" y="5504220"/>
                  </a:lnTo>
                  <a:lnTo>
                    <a:pt x="1932438" y="5508258"/>
                  </a:lnTo>
                  <a:lnTo>
                    <a:pt x="1932438" y="5518129"/>
                  </a:lnTo>
                  <a:lnTo>
                    <a:pt x="1928420" y="5522168"/>
                  </a:lnTo>
                  <a:lnTo>
                    <a:pt x="1918510" y="5522168"/>
                  </a:lnTo>
                  <a:lnTo>
                    <a:pt x="1914490" y="5518129"/>
                  </a:lnTo>
                  <a:lnTo>
                    <a:pt x="1914490" y="5508258"/>
                  </a:lnTo>
                  <a:close/>
                  <a:moveTo>
                    <a:pt x="1679202" y="5504220"/>
                  </a:moveTo>
                  <a:lnTo>
                    <a:pt x="1689112" y="5504220"/>
                  </a:lnTo>
                  <a:lnTo>
                    <a:pt x="1693132" y="5508258"/>
                  </a:lnTo>
                  <a:lnTo>
                    <a:pt x="1693132" y="5518129"/>
                  </a:lnTo>
                  <a:lnTo>
                    <a:pt x="1689112" y="5522168"/>
                  </a:lnTo>
                  <a:lnTo>
                    <a:pt x="1679202" y="5522168"/>
                  </a:lnTo>
                  <a:lnTo>
                    <a:pt x="1675184" y="5518129"/>
                  </a:lnTo>
                  <a:lnTo>
                    <a:pt x="1675184" y="5508258"/>
                  </a:lnTo>
                  <a:close/>
                  <a:moveTo>
                    <a:pt x="1439887" y="5504220"/>
                  </a:moveTo>
                  <a:lnTo>
                    <a:pt x="1449797" y="5504220"/>
                  </a:lnTo>
                  <a:lnTo>
                    <a:pt x="1453815" y="5508258"/>
                  </a:lnTo>
                  <a:lnTo>
                    <a:pt x="1453815" y="5518129"/>
                  </a:lnTo>
                  <a:lnTo>
                    <a:pt x="1449797" y="5522168"/>
                  </a:lnTo>
                  <a:lnTo>
                    <a:pt x="1439887" y="5522168"/>
                  </a:lnTo>
                  <a:lnTo>
                    <a:pt x="1435869" y="5518129"/>
                  </a:lnTo>
                  <a:lnTo>
                    <a:pt x="1435869" y="5508258"/>
                  </a:lnTo>
                  <a:close/>
                  <a:moveTo>
                    <a:pt x="1200572" y="5504220"/>
                  </a:moveTo>
                  <a:lnTo>
                    <a:pt x="1210483" y="5504220"/>
                  </a:lnTo>
                  <a:lnTo>
                    <a:pt x="1214501" y="5508258"/>
                  </a:lnTo>
                  <a:lnTo>
                    <a:pt x="1214501" y="5518129"/>
                  </a:lnTo>
                  <a:lnTo>
                    <a:pt x="1210483" y="5522168"/>
                  </a:lnTo>
                  <a:lnTo>
                    <a:pt x="1200572" y="5522168"/>
                  </a:lnTo>
                  <a:lnTo>
                    <a:pt x="1196554" y="5518129"/>
                  </a:lnTo>
                  <a:lnTo>
                    <a:pt x="1196554" y="5508258"/>
                  </a:lnTo>
                  <a:close/>
                  <a:moveTo>
                    <a:pt x="961260" y="5504220"/>
                  </a:moveTo>
                  <a:lnTo>
                    <a:pt x="971169" y="5504220"/>
                  </a:lnTo>
                  <a:lnTo>
                    <a:pt x="975189" y="5508258"/>
                  </a:lnTo>
                  <a:lnTo>
                    <a:pt x="975189" y="5518129"/>
                  </a:lnTo>
                  <a:lnTo>
                    <a:pt x="971169" y="5522168"/>
                  </a:lnTo>
                  <a:lnTo>
                    <a:pt x="961260" y="5522168"/>
                  </a:lnTo>
                  <a:lnTo>
                    <a:pt x="957241" y="5518129"/>
                  </a:lnTo>
                  <a:lnTo>
                    <a:pt x="957241" y="5508258"/>
                  </a:lnTo>
                  <a:close/>
                  <a:moveTo>
                    <a:pt x="721961" y="5504220"/>
                  </a:moveTo>
                  <a:lnTo>
                    <a:pt x="731871" y="5504220"/>
                  </a:lnTo>
                  <a:lnTo>
                    <a:pt x="735890" y="5508258"/>
                  </a:lnTo>
                  <a:lnTo>
                    <a:pt x="735890" y="5518129"/>
                  </a:lnTo>
                  <a:lnTo>
                    <a:pt x="731871" y="5522168"/>
                  </a:lnTo>
                  <a:lnTo>
                    <a:pt x="721961" y="5522168"/>
                  </a:lnTo>
                  <a:lnTo>
                    <a:pt x="717942" y="5518129"/>
                  </a:lnTo>
                  <a:lnTo>
                    <a:pt x="717942" y="5508258"/>
                  </a:lnTo>
                  <a:close/>
                  <a:moveTo>
                    <a:pt x="482649" y="5504220"/>
                  </a:moveTo>
                  <a:lnTo>
                    <a:pt x="492559" y="5504220"/>
                  </a:lnTo>
                  <a:lnTo>
                    <a:pt x="496578" y="5508258"/>
                  </a:lnTo>
                  <a:lnTo>
                    <a:pt x="496578" y="5518129"/>
                  </a:lnTo>
                  <a:lnTo>
                    <a:pt x="492559" y="5522168"/>
                  </a:lnTo>
                  <a:lnTo>
                    <a:pt x="482649" y="5522168"/>
                  </a:lnTo>
                  <a:lnTo>
                    <a:pt x="478630" y="5518129"/>
                  </a:lnTo>
                  <a:lnTo>
                    <a:pt x="478630" y="5508258"/>
                  </a:lnTo>
                  <a:close/>
                  <a:moveTo>
                    <a:pt x="243335" y="5504220"/>
                  </a:moveTo>
                  <a:lnTo>
                    <a:pt x="253245" y="5504220"/>
                  </a:lnTo>
                  <a:lnTo>
                    <a:pt x="257264" y="5508258"/>
                  </a:lnTo>
                  <a:lnTo>
                    <a:pt x="257264" y="5518129"/>
                  </a:lnTo>
                  <a:lnTo>
                    <a:pt x="253245" y="5522168"/>
                  </a:lnTo>
                  <a:lnTo>
                    <a:pt x="243335" y="5522168"/>
                  </a:lnTo>
                  <a:lnTo>
                    <a:pt x="239316" y="5518129"/>
                  </a:lnTo>
                  <a:lnTo>
                    <a:pt x="239316" y="5508258"/>
                  </a:lnTo>
                  <a:close/>
                  <a:moveTo>
                    <a:pt x="4022" y="5504220"/>
                  </a:moveTo>
                  <a:lnTo>
                    <a:pt x="13932" y="5504220"/>
                  </a:lnTo>
                  <a:lnTo>
                    <a:pt x="17951" y="5508258"/>
                  </a:lnTo>
                  <a:lnTo>
                    <a:pt x="17951" y="5518129"/>
                  </a:lnTo>
                  <a:lnTo>
                    <a:pt x="13932" y="5522168"/>
                  </a:lnTo>
                  <a:lnTo>
                    <a:pt x="4022" y="5522168"/>
                  </a:lnTo>
                  <a:lnTo>
                    <a:pt x="3" y="5518129"/>
                  </a:lnTo>
                  <a:lnTo>
                    <a:pt x="3" y="5508258"/>
                  </a:lnTo>
                  <a:close/>
                  <a:moveTo>
                    <a:pt x="2157818" y="5264940"/>
                  </a:moveTo>
                  <a:lnTo>
                    <a:pt x="2167729" y="5264940"/>
                  </a:lnTo>
                  <a:lnTo>
                    <a:pt x="2171748" y="5268978"/>
                  </a:lnTo>
                  <a:lnTo>
                    <a:pt x="2171748" y="5278849"/>
                  </a:lnTo>
                  <a:lnTo>
                    <a:pt x="2167729" y="5282888"/>
                  </a:lnTo>
                  <a:lnTo>
                    <a:pt x="2157818" y="5282888"/>
                  </a:lnTo>
                  <a:lnTo>
                    <a:pt x="2153799" y="5278849"/>
                  </a:lnTo>
                  <a:lnTo>
                    <a:pt x="2153799" y="5268978"/>
                  </a:lnTo>
                  <a:close/>
                  <a:moveTo>
                    <a:pt x="1918510" y="5264940"/>
                  </a:moveTo>
                  <a:lnTo>
                    <a:pt x="1928420" y="5264940"/>
                  </a:lnTo>
                  <a:lnTo>
                    <a:pt x="1932438" y="5268978"/>
                  </a:lnTo>
                  <a:lnTo>
                    <a:pt x="1932438" y="5278849"/>
                  </a:lnTo>
                  <a:lnTo>
                    <a:pt x="1928420" y="5282888"/>
                  </a:lnTo>
                  <a:lnTo>
                    <a:pt x="1918510" y="5282888"/>
                  </a:lnTo>
                  <a:lnTo>
                    <a:pt x="1914492" y="5278849"/>
                  </a:lnTo>
                  <a:lnTo>
                    <a:pt x="1914492" y="5268978"/>
                  </a:lnTo>
                  <a:close/>
                  <a:moveTo>
                    <a:pt x="1679204" y="5264940"/>
                  </a:moveTo>
                  <a:lnTo>
                    <a:pt x="1689113" y="5264940"/>
                  </a:lnTo>
                  <a:lnTo>
                    <a:pt x="1693132" y="5268978"/>
                  </a:lnTo>
                  <a:lnTo>
                    <a:pt x="1693132" y="5278849"/>
                  </a:lnTo>
                  <a:lnTo>
                    <a:pt x="1689113" y="5282888"/>
                  </a:lnTo>
                  <a:lnTo>
                    <a:pt x="1679204" y="5282888"/>
                  </a:lnTo>
                  <a:lnTo>
                    <a:pt x="1675184" y="5278849"/>
                  </a:lnTo>
                  <a:lnTo>
                    <a:pt x="1675184" y="5268978"/>
                  </a:lnTo>
                  <a:close/>
                  <a:moveTo>
                    <a:pt x="1439889" y="5264940"/>
                  </a:moveTo>
                  <a:lnTo>
                    <a:pt x="1449798" y="5264940"/>
                  </a:lnTo>
                  <a:lnTo>
                    <a:pt x="1453817" y="5268978"/>
                  </a:lnTo>
                  <a:lnTo>
                    <a:pt x="1453817" y="5278849"/>
                  </a:lnTo>
                  <a:lnTo>
                    <a:pt x="1449798" y="5282888"/>
                  </a:lnTo>
                  <a:lnTo>
                    <a:pt x="1439889" y="5282888"/>
                  </a:lnTo>
                  <a:lnTo>
                    <a:pt x="1435869" y="5278849"/>
                  </a:lnTo>
                  <a:lnTo>
                    <a:pt x="1435869" y="5268978"/>
                  </a:lnTo>
                  <a:close/>
                  <a:moveTo>
                    <a:pt x="1200573" y="5264940"/>
                  </a:moveTo>
                  <a:lnTo>
                    <a:pt x="1210483" y="5264940"/>
                  </a:lnTo>
                  <a:lnTo>
                    <a:pt x="1214502" y="5268978"/>
                  </a:lnTo>
                  <a:lnTo>
                    <a:pt x="1214502" y="5278849"/>
                  </a:lnTo>
                  <a:lnTo>
                    <a:pt x="1210483" y="5282888"/>
                  </a:lnTo>
                  <a:lnTo>
                    <a:pt x="1200573" y="5282888"/>
                  </a:lnTo>
                  <a:lnTo>
                    <a:pt x="1196554" y="5278849"/>
                  </a:lnTo>
                  <a:lnTo>
                    <a:pt x="1196554" y="5268978"/>
                  </a:lnTo>
                  <a:close/>
                  <a:moveTo>
                    <a:pt x="961260" y="5264940"/>
                  </a:moveTo>
                  <a:lnTo>
                    <a:pt x="971171" y="5264940"/>
                  </a:lnTo>
                  <a:lnTo>
                    <a:pt x="975189" y="5268978"/>
                  </a:lnTo>
                  <a:lnTo>
                    <a:pt x="975189" y="5278849"/>
                  </a:lnTo>
                  <a:lnTo>
                    <a:pt x="971171" y="5282888"/>
                  </a:lnTo>
                  <a:lnTo>
                    <a:pt x="961260" y="5282888"/>
                  </a:lnTo>
                  <a:lnTo>
                    <a:pt x="957241" y="5278849"/>
                  </a:lnTo>
                  <a:lnTo>
                    <a:pt x="957241" y="5268978"/>
                  </a:lnTo>
                  <a:close/>
                  <a:moveTo>
                    <a:pt x="9572438" y="5264889"/>
                  </a:moveTo>
                  <a:lnTo>
                    <a:pt x="9582349" y="5264889"/>
                  </a:lnTo>
                  <a:lnTo>
                    <a:pt x="9586368" y="5268928"/>
                  </a:lnTo>
                  <a:lnTo>
                    <a:pt x="9586368" y="5278799"/>
                  </a:lnTo>
                  <a:lnTo>
                    <a:pt x="9582349" y="5282838"/>
                  </a:lnTo>
                  <a:lnTo>
                    <a:pt x="9572438" y="5282838"/>
                  </a:lnTo>
                  <a:lnTo>
                    <a:pt x="9568419" y="5278799"/>
                  </a:lnTo>
                  <a:lnTo>
                    <a:pt x="9568419" y="5268928"/>
                  </a:lnTo>
                  <a:close/>
                  <a:moveTo>
                    <a:pt x="9333125" y="5264889"/>
                  </a:moveTo>
                  <a:lnTo>
                    <a:pt x="9343036" y="5264889"/>
                  </a:lnTo>
                  <a:lnTo>
                    <a:pt x="9347055" y="5268928"/>
                  </a:lnTo>
                  <a:lnTo>
                    <a:pt x="9347055" y="5278799"/>
                  </a:lnTo>
                  <a:lnTo>
                    <a:pt x="9343036" y="5282838"/>
                  </a:lnTo>
                  <a:lnTo>
                    <a:pt x="9333125" y="5282838"/>
                  </a:lnTo>
                  <a:lnTo>
                    <a:pt x="9329106" y="5278799"/>
                  </a:lnTo>
                  <a:lnTo>
                    <a:pt x="9329106" y="5268928"/>
                  </a:lnTo>
                  <a:close/>
                  <a:moveTo>
                    <a:pt x="9093811" y="5264889"/>
                  </a:moveTo>
                  <a:lnTo>
                    <a:pt x="9103722" y="5264889"/>
                  </a:lnTo>
                  <a:lnTo>
                    <a:pt x="9107741" y="5268928"/>
                  </a:lnTo>
                  <a:lnTo>
                    <a:pt x="9107741" y="5278799"/>
                  </a:lnTo>
                  <a:lnTo>
                    <a:pt x="9103722" y="5282838"/>
                  </a:lnTo>
                  <a:lnTo>
                    <a:pt x="9093811" y="5282838"/>
                  </a:lnTo>
                  <a:lnTo>
                    <a:pt x="9089792" y="5278799"/>
                  </a:lnTo>
                  <a:lnTo>
                    <a:pt x="9089792" y="5268928"/>
                  </a:lnTo>
                  <a:close/>
                  <a:moveTo>
                    <a:pt x="8854496" y="5264889"/>
                  </a:moveTo>
                  <a:lnTo>
                    <a:pt x="8864407" y="5264889"/>
                  </a:lnTo>
                  <a:lnTo>
                    <a:pt x="8868426" y="5268928"/>
                  </a:lnTo>
                  <a:lnTo>
                    <a:pt x="8868426" y="5278799"/>
                  </a:lnTo>
                  <a:lnTo>
                    <a:pt x="8864407" y="5282838"/>
                  </a:lnTo>
                  <a:lnTo>
                    <a:pt x="8854496" y="5282838"/>
                  </a:lnTo>
                  <a:lnTo>
                    <a:pt x="8850477" y="5278799"/>
                  </a:lnTo>
                  <a:lnTo>
                    <a:pt x="8850477" y="5268928"/>
                  </a:lnTo>
                  <a:close/>
                  <a:moveTo>
                    <a:pt x="8615184" y="5264889"/>
                  </a:moveTo>
                  <a:lnTo>
                    <a:pt x="8625095" y="5264889"/>
                  </a:lnTo>
                  <a:lnTo>
                    <a:pt x="8629114" y="5268928"/>
                  </a:lnTo>
                  <a:lnTo>
                    <a:pt x="8629114" y="5278799"/>
                  </a:lnTo>
                  <a:lnTo>
                    <a:pt x="8625095" y="5282838"/>
                  </a:lnTo>
                  <a:lnTo>
                    <a:pt x="8615184" y="5282838"/>
                  </a:lnTo>
                  <a:lnTo>
                    <a:pt x="8611165" y="5278799"/>
                  </a:lnTo>
                  <a:lnTo>
                    <a:pt x="8611165" y="5268928"/>
                  </a:lnTo>
                  <a:close/>
                  <a:moveTo>
                    <a:pt x="8375869" y="5264889"/>
                  </a:moveTo>
                  <a:lnTo>
                    <a:pt x="8385779" y="5264889"/>
                  </a:lnTo>
                  <a:lnTo>
                    <a:pt x="8389799" y="5268928"/>
                  </a:lnTo>
                  <a:lnTo>
                    <a:pt x="8389799" y="5278799"/>
                  </a:lnTo>
                  <a:lnTo>
                    <a:pt x="8385779" y="5282838"/>
                  </a:lnTo>
                  <a:lnTo>
                    <a:pt x="8375869" y="5282838"/>
                  </a:lnTo>
                  <a:lnTo>
                    <a:pt x="8371850" y="5278799"/>
                  </a:lnTo>
                  <a:lnTo>
                    <a:pt x="8371850" y="5268928"/>
                  </a:lnTo>
                  <a:close/>
                  <a:moveTo>
                    <a:pt x="8136553" y="5264889"/>
                  </a:moveTo>
                  <a:lnTo>
                    <a:pt x="8146464" y="5264889"/>
                  </a:lnTo>
                  <a:lnTo>
                    <a:pt x="8150483" y="5268928"/>
                  </a:lnTo>
                  <a:lnTo>
                    <a:pt x="8150483" y="5278799"/>
                  </a:lnTo>
                  <a:lnTo>
                    <a:pt x="8146464" y="5282838"/>
                  </a:lnTo>
                  <a:lnTo>
                    <a:pt x="8136553" y="5282838"/>
                  </a:lnTo>
                  <a:lnTo>
                    <a:pt x="8132534" y="5278799"/>
                  </a:lnTo>
                  <a:lnTo>
                    <a:pt x="8132534" y="5268928"/>
                  </a:lnTo>
                  <a:close/>
                  <a:moveTo>
                    <a:pt x="7897241" y="5264889"/>
                  </a:moveTo>
                  <a:lnTo>
                    <a:pt x="7907151" y="5264889"/>
                  </a:lnTo>
                  <a:lnTo>
                    <a:pt x="7911170" y="5268928"/>
                  </a:lnTo>
                  <a:lnTo>
                    <a:pt x="7911170" y="5278799"/>
                  </a:lnTo>
                  <a:lnTo>
                    <a:pt x="7907151" y="5282838"/>
                  </a:lnTo>
                  <a:lnTo>
                    <a:pt x="7897241" y="5282838"/>
                  </a:lnTo>
                  <a:lnTo>
                    <a:pt x="7893222" y="5278799"/>
                  </a:lnTo>
                  <a:lnTo>
                    <a:pt x="7893222" y="5268928"/>
                  </a:lnTo>
                  <a:close/>
                  <a:moveTo>
                    <a:pt x="7657926" y="5264889"/>
                  </a:moveTo>
                  <a:lnTo>
                    <a:pt x="7667836" y="5264889"/>
                  </a:lnTo>
                  <a:lnTo>
                    <a:pt x="7671855" y="5268928"/>
                  </a:lnTo>
                  <a:lnTo>
                    <a:pt x="7671855" y="5278799"/>
                  </a:lnTo>
                  <a:lnTo>
                    <a:pt x="7667836" y="5282838"/>
                  </a:lnTo>
                  <a:lnTo>
                    <a:pt x="7657926" y="5282838"/>
                  </a:lnTo>
                  <a:lnTo>
                    <a:pt x="7653906" y="5278799"/>
                  </a:lnTo>
                  <a:lnTo>
                    <a:pt x="7653906" y="5268928"/>
                  </a:lnTo>
                  <a:close/>
                  <a:moveTo>
                    <a:pt x="7418611" y="5264889"/>
                  </a:moveTo>
                  <a:lnTo>
                    <a:pt x="7428521" y="5264889"/>
                  </a:lnTo>
                  <a:lnTo>
                    <a:pt x="7432540" y="5268928"/>
                  </a:lnTo>
                  <a:lnTo>
                    <a:pt x="7432540" y="5278799"/>
                  </a:lnTo>
                  <a:lnTo>
                    <a:pt x="7428521" y="5282838"/>
                  </a:lnTo>
                  <a:lnTo>
                    <a:pt x="7418611" y="5282838"/>
                  </a:lnTo>
                  <a:lnTo>
                    <a:pt x="7414592" y="5278799"/>
                  </a:lnTo>
                  <a:lnTo>
                    <a:pt x="7414592" y="5268928"/>
                  </a:lnTo>
                  <a:close/>
                  <a:moveTo>
                    <a:pt x="7179298" y="5264889"/>
                  </a:moveTo>
                  <a:lnTo>
                    <a:pt x="7189209" y="5264889"/>
                  </a:lnTo>
                  <a:lnTo>
                    <a:pt x="7193228" y="5268928"/>
                  </a:lnTo>
                  <a:lnTo>
                    <a:pt x="7193228" y="5278799"/>
                  </a:lnTo>
                  <a:lnTo>
                    <a:pt x="7189209" y="5282838"/>
                  </a:lnTo>
                  <a:lnTo>
                    <a:pt x="7179298" y="5282838"/>
                  </a:lnTo>
                  <a:lnTo>
                    <a:pt x="7175279" y="5278799"/>
                  </a:lnTo>
                  <a:lnTo>
                    <a:pt x="7175279" y="5268928"/>
                  </a:lnTo>
                  <a:close/>
                  <a:moveTo>
                    <a:pt x="6939983" y="5264889"/>
                  </a:moveTo>
                  <a:lnTo>
                    <a:pt x="6949894" y="5264889"/>
                  </a:lnTo>
                  <a:lnTo>
                    <a:pt x="6953913" y="5268928"/>
                  </a:lnTo>
                  <a:lnTo>
                    <a:pt x="6953913" y="5278799"/>
                  </a:lnTo>
                  <a:lnTo>
                    <a:pt x="6949894" y="5282838"/>
                  </a:lnTo>
                  <a:lnTo>
                    <a:pt x="6939983" y="5282838"/>
                  </a:lnTo>
                  <a:lnTo>
                    <a:pt x="6935964" y="5278799"/>
                  </a:lnTo>
                  <a:lnTo>
                    <a:pt x="6935964" y="5268928"/>
                  </a:lnTo>
                  <a:close/>
                  <a:moveTo>
                    <a:pt x="6700670" y="5264889"/>
                  </a:moveTo>
                  <a:lnTo>
                    <a:pt x="6710581" y="5264889"/>
                  </a:lnTo>
                  <a:lnTo>
                    <a:pt x="6714600" y="5268928"/>
                  </a:lnTo>
                  <a:lnTo>
                    <a:pt x="6714600" y="5278799"/>
                  </a:lnTo>
                  <a:lnTo>
                    <a:pt x="6710581" y="5282838"/>
                  </a:lnTo>
                  <a:lnTo>
                    <a:pt x="6700670" y="5282838"/>
                  </a:lnTo>
                  <a:lnTo>
                    <a:pt x="6696651" y="5278799"/>
                  </a:lnTo>
                  <a:lnTo>
                    <a:pt x="6696651" y="5268928"/>
                  </a:lnTo>
                  <a:close/>
                  <a:moveTo>
                    <a:pt x="6461356" y="5264889"/>
                  </a:moveTo>
                  <a:lnTo>
                    <a:pt x="6471266" y="5264889"/>
                  </a:lnTo>
                  <a:lnTo>
                    <a:pt x="6475285" y="5268928"/>
                  </a:lnTo>
                  <a:lnTo>
                    <a:pt x="6475285" y="5278799"/>
                  </a:lnTo>
                  <a:lnTo>
                    <a:pt x="6471266" y="5282838"/>
                  </a:lnTo>
                  <a:lnTo>
                    <a:pt x="6461356" y="5282838"/>
                  </a:lnTo>
                  <a:lnTo>
                    <a:pt x="6457337" y="5278799"/>
                  </a:lnTo>
                  <a:lnTo>
                    <a:pt x="6457337" y="5268928"/>
                  </a:lnTo>
                  <a:close/>
                  <a:moveTo>
                    <a:pt x="6222042" y="5264889"/>
                  </a:moveTo>
                  <a:lnTo>
                    <a:pt x="6231952" y="5264889"/>
                  </a:lnTo>
                  <a:lnTo>
                    <a:pt x="6235971" y="5268928"/>
                  </a:lnTo>
                  <a:lnTo>
                    <a:pt x="6235971" y="5278799"/>
                  </a:lnTo>
                  <a:lnTo>
                    <a:pt x="6231952" y="5282838"/>
                  </a:lnTo>
                  <a:lnTo>
                    <a:pt x="6222042" y="5282838"/>
                  </a:lnTo>
                  <a:lnTo>
                    <a:pt x="6218023" y="5278799"/>
                  </a:lnTo>
                  <a:lnTo>
                    <a:pt x="6218023" y="5268928"/>
                  </a:lnTo>
                  <a:close/>
                  <a:moveTo>
                    <a:pt x="5982729" y="5264889"/>
                  </a:moveTo>
                  <a:lnTo>
                    <a:pt x="5992639" y="5264889"/>
                  </a:lnTo>
                  <a:lnTo>
                    <a:pt x="5996658" y="5268928"/>
                  </a:lnTo>
                  <a:lnTo>
                    <a:pt x="5996658" y="5278799"/>
                  </a:lnTo>
                  <a:lnTo>
                    <a:pt x="5992639" y="5282838"/>
                  </a:lnTo>
                  <a:lnTo>
                    <a:pt x="5982729" y="5282838"/>
                  </a:lnTo>
                  <a:lnTo>
                    <a:pt x="5978710" y="5278799"/>
                  </a:lnTo>
                  <a:lnTo>
                    <a:pt x="5978710" y="5268928"/>
                  </a:lnTo>
                  <a:close/>
                  <a:moveTo>
                    <a:pt x="5743412" y="5264889"/>
                  </a:moveTo>
                  <a:lnTo>
                    <a:pt x="5753323" y="5264889"/>
                  </a:lnTo>
                  <a:lnTo>
                    <a:pt x="5757342" y="5268928"/>
                  </a:lnTo>
                  <a:lnTo>
                    <a:pt x="5757342" y="5278799"/>
                  </a:lnTo>
                  <a:lnTo>
                    <a:pt x="5753323" y="5282838"/>
                  </a:lnTo>
                  <a:lnTo>
                    <a:pt x="5743412" y="5282838"/>
                  </a:lnTo>
                  <a:lnTo>
                    <a:pt x="5739393" y="5278799"/>
                  </a:lnTo>
                  <a:lnTo>
                    <a:pt x="5739393" y="5268928"/>
                  </a:lnTo>
                  <a:close/>
                  <a:moveTo>
                    <a:pt x="5504099" y="5264889"/>
                  </a:moveTo>
                  <a:lnTo>
                    <a:pt x="5514010" y="5264889"/>
                  </a:lnTo>
                  <a:lnTo>
                    <a:pt x="5518029" y="5268928"/>
                  </a:lnTo>
                  <a:lnTo>
                    <a:pt x="5518029" y="5278799"/>
                  </a:lnTo>
                  <a:lnTo>
                    <a:pt x="5514010" y="5282838"/>
                  </a:lnTo>
                  <a:lnTo>
                    <a:pt x="5504099" y="5282838"/>
                  </a:lnTo>
                  <a:lnTo>
                    <a:pt x="5500080" y="5278799"/>
                  </a:lnTo>
                  <a:lnTo>
                    <a:pt x="5500080" y="5268928"/>
                  </a:lnTo>
                  <a:close/>
                  <a:moveTo>
                    <a:pt x="5264784" y="5264889"/>
                  </a:moveTo>
                  <a:lnTo>
                    <a:pt x="5274694" y="5264889"/>
                  </a:lnTo>
                  <a:lnTo>
                    <a:pt x="5278713" y="5268928"/>
                  </a:lnTo>
                  <a:lnTo>
                    <a:pt x="5278713" y="5278799"/>
                  </a:lnTo>
                  <a:lnTo>
                    <a:pt x="5274694" y="5282838"/>
                  </a:lnTo>
                  <a:lnTo>
                    <a:pt x="5264784" y="5282838"/>
                  </a:lnTo>
                  <a:lnTo>
                    <a:pt x="5260765" y="5278799"/>
                  </a:lnTo>
                  <a:lnTo>
                    <a:pt x="5260765" y="5268928"/>
                  </a:lnTo>
                  <a:close/>
                  <a:moveTo>
                    <a:pt x="5025470" y="5264889"/>
                  </a:moveTo>
                  <a:lnTo>
                    <a:pt x="5035381" y="5264889"/>
                  </a:lnTo>
                  <a:lnTo>
                    <a:pt x="5039400" y="5268928"/>
                  </a:lnTo>
                  <a:lnTo>
                    <a:pt x="5039400" y="5278799"/>
                  </a:lnTo>
                  <a:lnTo>
                    <a:pt x="5035381" y="5282838"/>
                  </a:lnTo>
                  <a:lnTo>
                    <a:pt x="5025470" y="5282838"/>
                  </a:lnTo>
                  <a:lnTo>
                    <a:pt x="5021451" y="5278799"/>
                  </a:lnTo>
                  <a:lnTo>
                    <a:pt x="5021451" y="5268928"/>
                  </a:lnTo>
                  <a:close/>
                  <a:moveTo>
                    <a:pt x="4786241" y="5264889"/>
                  </a:moveTo>
                  <a:lnTo>
                    <a:pt x="4796152" y="5264889"/>
                  </a:lnTo>
                  <a:lnTo>
                    <a:pt x="4800171" y="5268928"/>
                  </a:lnTo>
                  <a:lnTo>
                    <a:pt x="4800171" y="5278799"/>
                  </a:lnTo>
                  <a:lnTo>
                    <a:pt x="4796152" y="5282838"/>
                  </a:lnTo>
                  <a:lnTo>
                    <a:pt x="4786241" y="5282838"/>
                  </a:lnTo>
                  <a:lnTo>
                    <a:pt x="4782224" y="5278799"/>
                  </a:lnTo>
                  <a:lnTo>
                    <a:pt x="4782224" y="5268928"/>
                  </a:lnTo>
                  <a:close/>
                  <a:moveTo>
                    <a:pt x="4546929" y="5264889"/>
                  </a:moveTo>
                  <a:lnTo>
                    <a:pt x="4556840" y="5264889"/>
                  </a:lnTo>
                  <a:lnTo>
                    <a:pt x="4560859" y="5268928"/>
                  </a:lnTo>
                  <a:lnTo>
                    <a:pt x="4560859" y="5278799"/>
                  </a:lnTo>
                  <a:lnTo>
                    <a:pt x="4556840" y="5282838"/>
                  </a:lnTo>
                  <a:lnTo>
                    <a:pt x="4546929" y="5282838"/>
                  </a:lnTo>
                  <a:lnTo>
                    <a:pt x="4542910" y="5278799"/>
                  </a:lnTo>
                  <a:lnTo>
                    <a:pt x="4542910" y="5268928"/>
                  </a:lnTo>
                  <a:close/>
                  <a:moveTo>
                    <a:pt x="4307612" y="5264889"/>
                  </a:moveTo>
                  <a:lnTo>
                    <a:pt x="4317523" y="5264889"/>
                  </a:lnTo>
                  <a:lnTo>
                    <a:pt x="4321543" y="5268928"/>
                  </a:lnTo>
                  <a:lnTo>
                    <a:pt x="4321543" y="5278799"/>
                  </a:lnTo>
                  <a:lnTo>
                    <a:pt x="4317523" y="5282838"/>
                  </a:lnTo>
                  <a:lnTo>
                    <a:pt x="4307612" y="5282838"/>
                  </a:lnTo>
                  <a:lnTo>
                    <a:pt x="4303595" y="5278799"/>
                  </a:lnTo>
                  <a:lnTo>
                    <a:pt x="4303595" y="5268928"/>
                  </a:lnTo>
                  <a:close/>
                  <a:moveTo>
                    <a:pt x="4068297" y="5264889"/>
                  </a:moveTo>
                  <a:lnTo>
                    <a:pt x="4078210" y="5264889"/>
                  </a:lnTo>
                  <a:lnTo>
                    <a:pt x="4082229" y="5268928"/>
                  </a:lnTo>
                  <a:lnTo>
                    <a:pt x="4082229" y="5278799"/>
                  </a:lnTo>
                  <a:lnTo>
                    <a:pt x="4078210" y="5282838"/>
                  </a:lnTo>
                  <a:lnTo>
                    <a:pt x="4068297" y="5282838"/>
                  </a:lnTo>
                  <a:lnTo>
                    <a:pt x="4064278" y="5278799"/>
                  </a:lnTo>
                  <a:lnTo>
                    <a:pt x="4064278" y="5268928"/>
                  </a:lnTo>
                  <a:close/>
                  <a:moveTo>
                    <a:pt x="3828990" y="5264889"/>
                  </a:moveTo>
                  <a:lnTo>
                    <a:pt x="3838899" y="5264889"/>
                  </a:lnTo>
                  <a:lnTo>
                    <a:pt x="3842917" y="5268928"/>
                  </a:lnTo>
                  <a:lnTo>
                    <a:pt x="3842917" y="5278799"/>
                  </a:lnTo>
                  <a:lnTo>
                    <a:pt x="3838899" y="5282838"/>
                  </a:lnTo>
                  <a:lnTo>
                    <a:pt x="3828990" y="5282838"/>
                  </a:lnTo>
                  <a:lnTo>
                    <a:pt x="3824971" y="5278799"/>
                  </a:lnTo>
                  <a:lnTo>
                    <a:pt x="3824971" y="5268928"/>
                  </a:lnTo>
                  <a:close/>
                  <a:moveTo>
                    <a:pt x="3589676" y="5264889"/>
                  </a:moveTo>
                  <a:lnTo>
                    <a:pt x="3599585" y="5264889"/>
                  </a:lnTo>
                  <a:lnTo>
                    <a:pt x="3603604" y="5268928"/>
                  </a:lnTo>
                  <a:lnTo>
                    <a:pt x="3603604" y="5278799"/>
                  </a:lnTo>
                  <a:lnTo>
                    <a:pt x="3599585" y="5282838"/>
                  </a:lnTo>
                  <a:lnTo>
                    <a:pt x="3589676" y="5282838"/>
                  </a:lnTo>
                  <a:lnTo>
                    <a:pt x="3585657" y="5278799"/>
                  </a:lnTo>
                  <a:lnTo>
                    <a:pt x="3585657" y="5268928"/>
                  </a:lnTo>
                  <a:close/>
                  <a:moveTo>
                    <a:pt x="3350359" y="5264889"/>
                  </a:moveTo>
                  <a:lnTo>
                    <a:pt x="3360268" y="5264889"/>
                  </a:lnTo>
                  <a:lnTo>
                    <a:pt x="3364287" y="5268928"/>
                  </a:lnTo>
                  <a:lnTo>
                    <a:pt x="3364287" y="5278799"/>
                  </a:lnTo>
                  <a:lnTo>
                    <a:pt x="3360268" y="5282838"/>
                  </a:lnTo>
                  <a:lnTo>
                    <a:pt x="3350359" y="5282838"/>
                  </a:lnTo>
                  <a:lnTo>
                    <a:pt x="3346340" y="5278799"/>
                  </a:lnTo>
                  <a:lnTo>
                    <a:pt x="3346340" y="5268928"/>
                  </a:lnTo>
                  <a:close/>
                  <a:moveTo>
                    <a:pt x="3111048" y="5264889"/>
                  </a:moveTo>
                  <a:lnTo>
                    <a:pt x="3120959" y="5264889"/>
                  </a:lnTo>
                  <a:lnTo>
                    <a:pt x="3124977" y="5268928"/>
                  </a:lnTo>
                  <a:lnTo>
                    <a:pt x="3124977" y="5278799"/>
                  </a:lnTo>
                  <a:lnTo>
                    <a:pt x="3120959" y="5282838"/>
                  </a:lnTo>
                  <a:lnTo>
                    <a:pt x="3111048" y="5282838"/>
                  </a:lnTo>
                  <a:lnTo>
                    <a:pt x="3107029" y="5278799"/>
                  </a:lnTo>
                  <a:lnTo>
                    <a:pt x="3107029" y="5268928"/>
                  </a:lnTo>
                  <a:close/>
                  <a:moveTo>
                    <a:pt x="2871737" y="5264889"/>
                  </a:moveTo>
                  <a:lnTo>
                    <a:pt x="2881646" y="5264889"/>
                  </a:lnTo>
                  <a:lnTo>
                    <a:pt x="2885666" y="5268928"/>
                  </a:lnTo>
                  <a:lnTo>
                    <a:pt x="2885666" y="5278799"/>
                  </a:lnTo>
                  <a:lnTo>
                    <a:pt x="2881646" y="5282838"/>
                  </a:lnTo>
                  <a:lnTo>
                    <a:pt x="2871737" y="5282838"/>
                  </a:lnTo>
                  <a:lnTo>
                    <a:pt x="2867717" y="5278799"/>
                  </a:lnTo>
                  <a:lnTo>
                    <a:pt x="2867717" y="5268928"/>
                  </a:lnTo>
                  <a:close/>
                  <a:moveTo>
                    <a:pt x="2632423" y="5264889"/>
                  </a:moveTo>
                  <a:lnTo>
                    <a:pt x="2642334" y="5264889"/>
                  </a:lnTo>
                  <a:lnTo>
                    <a:pt x="2646352" y="5268928"/>
                  </a:lnTo>
                  <a:lnTo>
                    <a:pt x="2646352" y="5278799"/>
                  </a:lnTo>
                  <a:lnTo>
                    <a:pt x="2642334" y="5282838"/>
                  </a:lnTo>
                  <a:lnTo>
                    <a:pt x="2632423" y="5282838"/>
                  </a:lnTo>
                  <a:lnTo>
                    <a:pt x="2628404" y="5278799"/>
                  </a:lnTo>
                  <a:lnTo>
                    <a:pt x="2628404" y="5268928"/>
                  </a:lnTo>
                  <a:close/>
                  <a:moveTo>
                    <a:pt x="2393104" y="5264889"/>
                  </a:moveTo>
                  <a:lnTo>
                    <a:pt x="2403015" y="5264889"/>
                  </a:lnTo>
                  <a:lnTo>
                    <a:pt x="2407034" y="5268928"/>
                  </a:lnTo>
                  <a:lnTo>
                    <a:pt x="2407034" y="5278799"/>
                  </a:lnTo>
                  <a:lnTo>
                    <a:pt x="2403015" y="5282838"/>
                  </a:lnTo>
                  <a:lnTo>
                    <a:pt x="2393104" y="5282838"/>
                  </a:lnTo>
                  <a:lnTo>
                    <a:pt x="2389087" y="5278799"/>
                  </a:lnTo>
                  <a:lnTo>
                    <a:pt x="2389087" y="5268928"/>
                  </a:lnTo>
                  <a:close/>
                  <a:moveTo>
                    <a:pt x="721961" y="5264889"/>
                  </a:moveTo>
                  <a:lnTo>
                    <a:pt x="731872" y="5264889"/>
                  </a:lnTo>
                  <a:lnTo>
                    <a:pt x="735891" y="5268928"/>
                  </a:lnTo>
                  <a:lnTo>
                    <a:pt x="735891" y="5278799"/>
                  </a:lnTo>
                  <a:lnTo>
                    <a:pt x="731872" y="5282838"/>
                  </a:lnTo>
                  <a:lnTo>
                    <a:pt x="721961" y="5282838"/>
                  </a:lnTo>
                  <a:lnTo>
                    <a:pt x="717943" y="5278799"/>
                  </a:lnTo>
                  <a:lnTo>
                    <a:pt x="717943" y="5268928"/>
                  </a:lnTo>
                  <a:close/>
                  <a:moveTo>
                    <a:pt x="482649" y="5264889"/>
                  </a:moveTo>
                  <a:lnTo>
                    <a:pt x="492560" y="5264889"/>
                  </a:lnTo>
                  <a:lnTo>
                    <a:pt x="496579" y="5268928"/>
                  </a:lnTo>
                  <a:lnTo>
                    <a:pt x="496579" y="5278799"/>
                  </a:lnTo>
                  <a:lnTo>
                    <a:pt x="492560" y="5282838"/>
                  </a:lnTo>
                  <a:lnTo>
                    <a:pt x="482649" y="5282838"/>
                  </a:lnTo>
                  <a:lnTo>
                    <a:pt x="478630" y="5278799"/>
                  </a:lnTo>
                  <a:lnTo>
                    <a:pt x="478630" y="5268928"/>
                  </a:lnTo>
                  <a:close/>
                  <a:moveTo>
                    <a:pt x="243336" y="5264889"/>
                  </a:moveTo>
                  <a:lnTo>
                    <a:pt x="253246" y="5264889"/>
                  </a:lnTo>
                  <a:lnTo>
                    <a:pt x="257265" y="5268928"/>
                  </a:lnTo>
                  <a:lnTo>
                    <a:pt x="257265" y="5278799"/>
                  </a:lnTo>
                  <a:lnTo>
                    <a:pt x="253246" y="5282838"/>
                  </a:lnTo>
                  <a:lnTo>
                    <a:pt x="243336" y="5282838"/>
                  </a:lnTo>
                  <a:lnTo>
                    <a:pt x="239317" y="5278799"/>
                  </a:lnTo>
                  <a:lnTo>
                    <a:pt x="239317" y="5268928"/>
                  </a:lnTo>
                  <a:close/>
                  <a:moveTo>
                    <a:pt x="4022" y="5264889"/>
                  </a:moveTo>
                  <a:lnTo>
                    <a:pt x="13933" y="5264889"/>
                  </a:lnTo>
                  <a:lnTo>
                    <a:pt x="17952" y="5268928"/>
                  </a:lnTo>
                  <a:lnTo>
                    <a:pt x="17952" y="5278799"/>
                  </a:lnTo>
                  <a:lnTo>
                    <a:pt x="13933" y="5282838"/>
                  </a:lnTo>
                  <a:lnTo>
                    <a:pt x="4022" y="5282838"/>
                  </a:lnTo>
                  <a:lnTo>
                    <a:pt x="3" y="5278799"/>
                  </a:lnTo>
                  <a:lnTo>
                    <a:pt x="3" y="5268928"/>
                  </a:lnTo>
                  <a:close/>
                  <a:moveTo>
                    <a:pt x="2157819" y="5025610"/>
                  </a:moveTo>
                  <a:lnTo>
                    <a:pt x="2167729" y="5025610"/>
                  </a:lnTo>
                  <a:lnTo>
                    <a:pt x="2171748" y="5029648"/>
                  </a:lnTo>
                  <a:lnTo>
                    <a:pt x="2171748" y="5039519"/>
                  </a:lnTo>
                  <a:lnTo>
                    <a:pt x="2167729" y="5043558"/>
                  </a:lnTo>
                  <a:lnTo>
                    <a:pt x="2157819" y="5043558"/>
                  </a:lnTo>
                  <a:lnTo>
                    <a:pt x="2153800" y="5039519"/>
                  </a:lnTo>
                  <a:lnTo>
                    <a:pt x="2153800" y="5029648"/>
                  </a:lnTo>
                  <a:close/>
                  <a:moveTo>
                    <a:pt x="1918510" y="5025610"/>
                  </a:moveTo>
                  <a:lnTo>
                    <a:pt x="1928420" y="5025610"/>
                  </a:lnTo>
                  <a:lnTo>
                    <a:pt x="1932440" y="5029648"/>
                  </a:lnTo>
                  <a:lnTo>
                    <a:pt x="1932440" y="5039519"/>
                  </a:lnTo>
                  <a:lnTo>
                    <a:pt x="1928420" y="5043558"/>
                  </a:lnTo>
                  <a:lnTo>
                    <a:pt x="1918510" y="5043558"/>
                  </a:lnTo>
                  <a:lnTo>
                    <a:pt x="1914492" y="5039519"/>
                  </a:lnTo>
                  <a:lnTo>
                    <a:pt x="1914492" y="5029648"/>
                  </a:lnTo>
                  <a:close/>
                  <a:moveTo>
                    <a:pt x="1679204" y="5025610"/>
                  </a:moveTo>
                  <a:lnTo>
                    <a:pt x="1689115" y="5025610"/>
                  </a:lnTo>
                  <a:lnTo>
                    <a:pt x="1693133" y="5029648"/>
                  </a:lnTo>
                  <a:lnTo>
                    <a:pt x="1693133" y="5039519"/>
                  </a:lnTo>
                  <a:lnTo>
                    <a:pt x="1689115" y="5043558"/>
                  </a:lnTo>
                  <a:lnTo>
                    <a:pt x="1679204" y="5043558"/>
                  </a:lnTo>
                  <a:lnTo>
                    <a:pt x="1675185" y="5039519"/>
                  </a:lnTo>
                  <a:lnTo>
                    <a:pt x="1675185" y="5029648"/>
                  </a:lnTo>
                  <a:close/>
                  <a:moveTo>
                    <a:pt x="1439889" y="5025610"/>
                  </a:moveTo>
                  <a:lnTo>
                    <a:pt x="1449798" y="5025610"/>
                  </a:lnTo>
                  <a:lnTo>
                    <a:pt x="1453818" y="5029648"/>
                  </a:lnTo>
                  <a:lnTo>
                    <a:pt x="1453818" y="5039519"/>
                  </a:lnTo>
                  <a:lnTo>
                    <a:pt x="1449798" y="5043558"/>
                  </a:lnTo>
                  <a:lnTo>
                    <a:pt x="1439889" y="5043558"/>
                  </a:lnTo>
                  <a:lnTo>
                    <a:pt x="1435870" y="5039519"/>
                  </a:lnTo>
                  <a:lnTo>
                    <a:pt x="1435870" y="5029648"/>
                  </a:lnTo>
                  <a:close/>
                  <a:moveTo>
                    <a:pt x="1200573" y="5025610"/>
                  </a:moveTo>
                  <a:lnTo>
                    <a:pt x="1210484" y="5025610"/>
                  </a:lnTo>
                  <a:lnTo>
                    <a:pt x="1214502" y="5029648"/>
                  </a:lnTo>
                  <a:lnTo>
                    <a:pt x="1214502" y="5039519"/>
                  </a:lnTo>
                  <a:lnTo>
                    <a:pt x="1210484" y="5043558"/>
                  </a:lnTo>
                  <a:lnTo>
                    <a:pt x="1200573" y="5043558"/>
                  </a:lnTo>
                  <a:lnTo>
                    <a:pt x="1196555" y="5039519"/>
                  </a:lnTo>
                  <a:lnTo>
                    <a:pt x="1196555" y="5029648"/>
                  </a:lnTo>
                  <a:close/>
                  <a:moveTo>
                    <a:pt x="961261" y="5025610"/>
                  </a:moveTo>
                  <a:lnTo>
                    <a:pt x="971171" y="5025610"/>
                  </a:lnTo>
                  <a:lnTo>
                    <a:pt x="975190" y="5029648"/>
                  </a:lnTo>
                  <a:lnTo>
                    <a:pt x="975190" y="5039519"/>
                  </a:lnTo>
                  <a:lnTo>
                    <a:pt x="971171" y="5043558"/>
                  </a:lnTo>
                  <a:lnTo>
                    <a:pt x="961261" y="5043558"/>
                  </a:lnTo>
                  <a:lnTo>
                    <a:pt x="957242" y="5039519"/>
                  </a:lnTo>
                  <a:lnTo>
                    <a:pt x="957242" y="5029648"/>
                  </a:lnTo>
                  <a:close/>
                  <a:moveTo>
                    <a:pt x="9572438" y="5025558"/>
                  </a:moveTo>
                  <a:lnTo>
                    <a:pt x="9582349" y="5025558"/>
                  </a:lnTo>
                  <a:lnTo>
                    <a:pt x="9586368" y="5029597"/>
                  </a:lnTo>
                  <a:lnTo>
                    <a:pt x="9586368" y="5039468"/>
                  </a:lnTo>
                  <a:lnTo>
                    <a:pt x="9582349" y="5043507"/>
                  </a:lnTo>
                  <a:lnTo>
                    <a:pt x="9572438" y="5043507"/>
                  </a:lnTo>
                  <a:lnTo>
                    <a:pt x="9568419" y="5039468"/>
                  </a:lnTo>
                  <a:lnTo>
                    <a:pt x="9568419" y="5029597"/>
                  </a:lnTo>
                  <a:close/>
                  <a:moveTo>
                    <a:pt x="9333125" y="5025558"/>
                  </a:moveTo>
                  <a:lnTo>
                    <a:pt x="9343036" y="5025558"/>
                  </a:lnTo>
                  <a:lnTo>
                    <a:pt x="9347055" y="5029597"/>
                  </a:lnTo>
                  <a:lnTo>
                    <a:pt x="9347055" y="5039468"/>
                  </a:lnTo>
                  <a:lnTo>
                    <a:pt x="9343036" y="5043507"/>
                  </a:lnTo>
                  <a:lnTo>
                    <a:pt x="9333125" y="5043507"/>
                  </a:lnTo>
                  <a:lnTo>
                    <a:pt x="9329106" y="5039468"/>
                  </a:lnTo>
                  <a:lnTo>
                    <a:pt x="9329106" y="5029597"/>
                  </a:lnTo>
                  <a:close/>
                  <a:moveTo>
                    <a:pt x="9093811" y="5025558"/>
                  </a:moveTo>
                  <a:lnTo>
                    <a:pt x="9103722" y="5025558"/>
                  </a:lnTo>
                  <a:lnTo>
                    <a:pt x="9107741" y="5029597"/>
                  </a:lnTo>
                  <a:lnTo>
                    <a:pt x="9107741" y="5039468"/>
                  </a:lnTo>
                  <a:lnTo>
                    <a:pt x="9103722" y="5043507"/>
                  </a:lnTo>
                  <a:lnTo>
                    <a:pt x="9093811" y="5043507"/>
                  </a:lnTo>
                  <a:lnTo>
                    <a:pt x="9089792" y="5039468"/>
                  </a:lnTo>
                  <a:lnTo>
                    <a:pt x="9089792" y="5029597"/>
                  </a:lnTo>
                  <a:close/>
                  <a:moveTo>
                    <a:pt x="8854496" y="5025558"/>
                  </a:moveTo>
                  <a:lnTo>
                    <a:pt x="8864407" y="5025558"/>
                  </a:lnTo>
                  <a:lnTo>
                    <a:pt x="8868426" y="5029597"/>
                  </a:lnTo>
                  <a:lnTo>
                    <a:pt x="8868426" y="5039468"/>
                  </a:lnTo>
                  <a:lnTo>
                    <a:pt x="8864407" y="5043507"/>
                  </a:lnTo>
                  <a:lnTo>
                    <a:pt x="8854496" y="5043507"/>
                  </a:lnTo>
                  <a:lnTo>
                    <a:pt x="8850477" y="5039468"/>
                  </a:lnTo>
                  <a:lnTo>
                    <a:pt x="8850477" y="5029597"/>
                  </a:lnTo>
                  <a:close/>
                  <a:moveTo>
                    <a:pt x="8615184" y="5025558"/>
                  </a:moveTo>
                  <a:lnTo>
                    <a:pt x="8625095" y="5025558"/>
                  </a:lnTo>
                  <a:lnTo>
                    <a:pt x="8629114" y="5029597"/>
                  </a:lnTo>
                  <a:lnTo>
                    <a:pt x="8629114" y="5039468"/>
                  </a:lnTo>
                  <a:lnTo>
                    <a:pt x="8625095" y="5043507"/>
                  </a:lnTo>
                  <a:lnTo>
                    <a:pt x="8615184" y="5043507"/>
                  </a:lnTo>
                  <a:lnTo>
                    <a:pt x="8611165" y="5039468"/>
                  </a:lnTo>
                  <a:lnTo>
                    <a:pt x="8611165" y="5029597"/>
                  </a:lnTo>
                  <a:close/>
                  <a:moveTo>
                    <a:pt x="8375869" y="5025558"/>
                  </a:moveTo>
                  <a:lnTo>
                    <a:pt x="8385779" y="5025558"/>
                  </a:lnTo>
                  <a:lnTo>
                    <a:pt x="8389799" y="5029597"/>
                  </a:lnTo>
                  <a:lnTo>
                    <a:pt x="8389799" y="5039468"/>
                  </a:lnTo>
                  <a:lnTo>
                    <a:pt x="8385779" y="5043507"/>
                  </a:lnTo>
                  <a:lnTo>
                    <a:pt x="8375869" y="5043507"/>
                  </a:lnTo>
                  <a:lnTo>
                    <a:pt x="8371850" y="5039468"/>
                  </a:lnTo>
                  <a:lnTo>
                    <a:pt x="8371850" y="5029597"/>
                  </a:lnTo>
                  <a:close/>
                  <a:moveTo>
                    <a:pt x="8136553" y="5025558"/>
                  </a:moveTo>
                  <a:lnTo>
                    <a:pt x="8146464" y="5025558"/>
                  </a:lnTo>
                  <a:lnTo>
                    <a:pt x="8150483" y="5029597"/>
                  </a:lnTo>
                  <a:lnTo>
                    <a:pt x="8150483" y="5039468"/>
                  </a:lnTo>
                  <a:lnTo>
                    <a:pt x="8146464" y="5043507"/>
                  </a:lnTo>
                  <a:lnTo>
                    <a:pt x="8136553" y="5043507"/>
                  </a:lnTo>
                  <a:lnTo>
                    <a:pt x="8132534" y="5039468"/>
                  </a:lnTo>
                  <a:lnTo>
                    <a:pt x="8132534" y="5029597"/>
                  </a:lnTo>
                  <a:close/>
                  <a:moveTo>
                    <a:pt x="7897241" y="5025558"/>
                  </a:moveTo>
                  <a:lnTo>
                    <a:pt x="7907151" y="5025558"/>
                  </a:lnTo>
                  <a:lnTo>
                    <a:pt x="7911170" y="5029597"/>
                  </a:lnTo>
                  <a:lnTo>
                    <a:pt x="7911170" y="5039468"/>
                  </a:lnTo>
                  <a:lnTo>
                    <a:pt x="7907151" y="5043507"/>
                  </a:lnTo>
                  <a:lnTo>
                    <a:pt x="7897241" y="5043507"/>
                  </a:lnTo>
                  <a:lnTo>
                    <a:pt x="7893222" y="5039468"/>
                  </a:lnTo>
                  <a:lnTo>
                    <a:pt x="7893222" y="5029597"/>
                  </a:lnTo>
                  <a:close/>
                  <a:moveTo>
                    <a:pt x="7657926" y="5025558"/>
                  </a:moveTo>
                  <a:lnTo>
                    <a:pt x="7667836" y="5025558"/>
                  </a:lnTo>
                  <a:lnTo>
                    <a:pt x="7671855" y="5029597"/>
                  </a:lnTo>
                  <a:lnTo>
                    <a:pt x="7671855" y="5039468"/>
                  </a:lnTo>
                  <a:lnTo>
                    <a:pt x="7667836" y="5043507"/>
                  </a:lnTo>
                  <a:lnTo>
                    <a:pt x="7657926" y="5043507"/>
                  </a:lnTo>
                  <a:lnTo>
                    <a:pt x="7653906" y="5039468"/>
                  </a:lnTo>
                  <a:lnTo>
                    <a:pt x="7653906" y="5029597"/>
                  </a:lnTo>
                  <a:close/>
                  <a:moveTo>
                    <a:pt x="7418611" y="5025558"/>
                  </a:moveTo>
                  <a:lnTo>
                    <a:pt x="7428521" y="5025558"/>
                  </a:lnTo>
                  <a:lnTo>
                    <a:pt x="7432540" y="5029597"/>
                  </a:lnTo>
                  <a:lnTo>
                    <a:pt x="7432540" y="5039468"/>
                  </a:lnTo>
                  <a:lnTo>
                    <a:pt x="7428521" y="5043507"/>
                  </a:lnTo>
                  <a:lnTo>
                    <a:pt x="7418611" y="5043507"/>
                  </a:lnTo>
                  <a:lnTo>
                    <a:pt x="7414592" y="5039468"/>
                  </a:lnTo>
                  <a:lnTo>
                    <a:pt x="7414592" y="5029597"/>
                  </a:lnTo>
                  <a:close/>
                  <a:moveTo>
                    <a:pt x="7179298" y="5025558"/>
                  </a:moveTo>
                  <a:lnTo>
                    <a:pt x="7189209" y="5025558"/>
                  </a:lnTo>
                  <a:lnTo>
                    <a:pt x="7193228" y="5029597"/>
                  </a:lnTo>
                  <a:lnTo>
                    <a:pt x="7193228" y="5039468"/>
                  </a:lnTo>
                  <a:lnTo>
                    <a:pt x="7189209" y="5043507"/>
                  </a:lnTo>
                  <a:lnTo>
                    <a:pt x="7179298" y="5043507"/>
                  </a:lnTo>
                  <a:lnTo>
                    <a:pt x="7175279" y="5039468"/>
                  </a:lnTo>
                  <a:lnTo>
                    <a:pt x="7175279" y="5029597"/>
                  </a:lnTo>
                  <a:close/>
                  <a:moveTo>
                    <a:pt x="6939983" y="5025558"/>
                  </a:moveTo>
                  <a:lnTo>
                    <a:pt x="6949894" y="5025558"/>
                  </a:lnTo>
                  <a:lnTo>
                    <a:pt x="6953913" y="5029597"/>
                  </a:lnTo>
                  <a:lnTo>
                    <a:pt x="6953913" y="5039468"/>
                  </a:lnTo>
                  <a:lnTo>
                    <a:pt x="6949894" y="5043507"/>
                  </a:lnTo>
                  <a:lnTo>
                    <a:pt x="6939983" y="5043507"/>
                  </a:lnTo>
                  <a:lnTo>
                    <a:pt x="6935964" y="5039468"/>
                  </a:lnTo>
                  <a:lnTo>
                    <a:pt x="6935964" y="5029597"/>
                  </a:lnTo>
                  <a:close/>
                  <a:moveTo>
                    <a:pt x="6700670" y="5025558"/>
                  </a:moveTo>
                  <a:lnTo>
                    <a:pt x="6710581" y="5025558"/>
                  </a:lnTo>
                  <a:lnTo>
                    <a:pt x="6714600" y="5029597"/>
                  </a:lnTo>
                  <a:lnTo>
                    <a:pt x="6714600" y="5039468"/>
                  </a:lnTo>
                  <a:lnTo>
                    <a:pt x="6710581" y="5043507"/>
                  </a:lnTo>
                  <a:lnTo>
                    <a:pt x="6700670" y="5043507"/>
                  </a:lnTo>
                  <a:lnTo>
                    <a:pt x="6696651" y="5039468"/>
                  </a:lnTo>
                  <a:lnTo>
                    <a:pt x="6696651" y="5029597"/>
                  </a:lnTo>
                  <a:close/>
                  <a:moveTo>
                    <a:pt x="6461356" y="5025558"/>
                  </a:moveTo>
                  <a:lnTo>
                    <a:pt x="6471266" y="5025558"/>
                  </a:lnTo>
                  <a:lnTo>
                    <a:pt x="6475285" y="5029597"/>
                  </a:lnTo>
                  <a:lnTo>
                    <a:pt x="6475285" y="5039468"/>
                  </a:lnTo>
                  <a:lnTo>
                    <a:pt x="6471266" y="5043507"/>
                  </a:lnTo>
                  <a:lnTo>
                    <a:pt x="6461356" y="5043507"/>
                  </a:lnTo>
                  <a:lnTo>
                    <a:pt x="6457337" y="5039468"/>
                  </a:lnTo>
                  <a:lnTo>
                    <a:pt x="6457337" y="5029597"/>
                  </a:lnTo>
                  <a:close/>
                  <a:moveTo>
                    <a:pt x="6222042" y="5025558"/>
                  </a:moveTo>
                  <a:lnTo>
                    <a:pt x="6231952" y="5025558"/>
                  </a:lnTo>
                  <a:lnTo>
                    <a:pt x="6235971" y="5029597"/>
                  </a:lnTo>
                  <a:lnTo>
                    <a:pt x="6235971" y="5039468"/>
                  </a:lnTo>
                  <a:lnTo>
                    <a:pt x="6231952" y="5043507"/>
                  </a:lnTo>
                  <a:lnTo>
                    <a:pt x="6222042" y="5043507"/>
                  </a:lnTo>
                  <a:lnTo>
                    <a:pt x="6218023" y="5039468"/>
                  </a:lnTo>
                  <a:lnTo>
                    <a:pt x="6218023" y="5029597"/>
                  </a:lnTo>
                  <a:close/>
                  <a:moveTo>
                    <a:pt x="5982729" y="5025558"/>
                  </a:moveTo>
                  <a:lnTo>
                    <a:pt x="5992639" y="5025558"/>
                  </a:lnTo>
                  <a:lnTo>
                    <a:pt x="5996658" y="5029597"/>
                  </a:lnTo>
                  <a:lnTo>
                    <a:pt x="5996658" y="5039468"/>
                  </a:lnTo>
                  <a:lnTo>
                    <a:pt x="5992639" y="5043507"/>
                  </a:lnTo>
                  <a:lnTo>
                    <a:pt x="5982729" y="5043507"/>
                  </a:lnTo>
                  <a:lnTo>
                    <a:pt x="5978710" y="5039468"/>
                  </a:lnTo>
                  <a:lnTo>
                    <a:pt x="5978710" y="5029597"/>
                  </a:lnTo>
                  <a:close/>
                  <a:moveTo>
                    <a:pt x="5743412" y="5025558"/>
                  </a:moveTo>
                  <a:lnTo>
                    <a:pt x="5753323" y="5025558"/>
                  </a:lnTo>
                  <a:lnTo>
                    <a:pt x="5757342" y="5029597"/>
                  </a:lnTo>
                  <a:lnTo>
                    <a:pt x="5757342" y="5039468"/>
                  </a:lnTo>
                  <a:lnTo>
                    <a:pt x="5753323" y="5043507"/>
                  </a:lnTo>
                  <a:lnTo>
                    <a:pt x="5743412" y="5043507"/>
                  </a:lnTo>
                  <a:lnTo>
                    <a:pt x="5739393" y="5039468"/>
                  </a:lnTo>
                  <a:lnTo>
                    <a:pt x="5739393" y="5029597"/>
                  </a:lnTo>
                  <a:close/>
                  <a:moveTo>
                    <a:pt x="5504099" y="5025558"/>
                  </a:moveTo>
                  <a:lnTo>
                    <a:pt x="5514010" y="5025558"/>
                  </a:lnTo>
                  <a:lnTo>
                    <a:pt x="5518029" y="5029597"/>
                  </a:lnTo>
                  <a:lnTo>
                    <a:pt x="5518029" y="5039468"/>
                  </a:lnTo>
                  <a:lnTo>
                    <a:pt x="5514010" y="5043507"/>
                  </a:lnTo>
                  <a:lnTo>
                    <a:pt x="5504099" y="5043507"/>
                  </a:lnTo>
                  <a:lnTo>
                    <a:pt x="5500080" y="5039468"/>
                  </a:lnTo>
                  <a:lnTo>
                    <a:pt x="5500080" y="5029597"/>
                  </a:lnTo>
                  <a:close/>
                  <a:moveTo>
                    <a:pt x="5264784" y="5025558"/>
                  </a:moveTo>
                  <a:lnTo>
                    <a:pt x="5274694" y="5025558"/>
                  </a:lnTo>
                  <a:lnTo>
                    <a:pt x="5278713" y="5029597"/>
                  </a:lnTo>
                  <a:lnTo>
                    <a:pt x="5278713" y="5039468"/>
                  </a:lnTo>
                  <a:lnTo>
                    <a:pt x="5274694" y="5043507"/>
                  </a:lnTo>
                  <a:lnTo>
                    <a:pt x="5264784" y="5043507"/>
                  </a:lnTo>
                  <a:lnTo>
                    <a:pt x="5260765" y="5039468"/>
                  </a:lnTo>
                  <a:lnTo>
                    <a:pt x="5260765" y="5029597"/>
                  </a:lnTo>
                  <a:close/>
                  <a:moveTo>
                    <a:pt x="5025470" y="5025558"/>
                  </a:moveTo>
                  <a:lnTo>
                    <a:pt x="5035381" y="5025558"/>
                  </a:lnTo>
                  <a:lnTo>
                    <a:pt x="5039400" y="5029597"/>
                  </a:lnTo>
                  <a:lnTo>
                    <a:pt x="5039400" y="5039468"/>
                  </a:lnTo>
                  <a:lnTo>
                    <a:pt x="5035381" y="5043507"/>
                  </a:lnTo>
                  <a:lnTo>
                    <a:pt x="5025470" y="5043507"/>
                  </a:lnTo>
                  <a:lnTo>
                    <a:pt x="5021451" y="5039468"/>
                  </a:lnTo>
                  <a:lnTo>
                    <a:pt x="5021451" y="5029597"/>
                  </a:lnTo>
                  <a:close/>
                  <a:moveTo>
                    <a:pt x="4786241" y="5025558"/>
                  </a:moveTo>
                  <a:lnTo>
                    <a:pt x="4796152" y="5025558"/>
                  </a:lnTo>
                  <a:lnTo>
                    <a:pt x="4800171" y="5029597"/>
                  </a:lnTo>
                  <a:lnTo>
                    <a:pt x="4800171" y="5039468"/>
                  </a:lnTo>
                  <a:lnTo>
                    <a:pt x="4796152" y="5043507"/>
                  </a:lnTo>
                  <a:lnTo>
                    <a:pt x="4786241" y="5043507"/>
                  </a:lnTo>
                  <a:lnTo>
                    <a:pt x="4782224" y="5039468"/>
                  </a:lnTo>
                  <a:lnTo>
                    <a:pt x="4782224" y="5029597"/>
                  </a:lnTo>
                  <a:close/>
                  <a:moveTo>
                    <a:pt x="4546929" y="5025558"/>
                  </a:moveTo>
                  <a:lnTo>
                    <a:pt x="4556840" y="5025558"/>
                  </a:lnTo>
                  <a:lnTo>
                    <a:pt x="4560859" y="5029597"/>
                  </a:lnTo>
                  <a:lnTo>
                    <a:pt x="4560859" y="5039468"/>
                  </a:lnTo>
                  <a:lnTo>
                    <a:pt x="4556840" y="5043507"/>
                  </a:lnTo>
                  <a:lnTo>
                    <a:pt x="4546929" y="5043507"/>
                  </a:lnTo>
                  <a:lnTo>
                    <a:pt x="4542910" y="5039468"/>
                  </a:lnTo>
                  <a:lnTo>
                    <a:pt x="4542910" y="5029597"/>
                  </a:lnTo>
                  <a:close/>
                  <a:moveTo>
                    <a:pt x="4307612" y="5025558"/>
                  </a:moveTo>
                  <a:lnTo>
                    <a:pt x="4317523" y="5025558"/>
                  </a:lnTo>
                  <a:lnTo>
                    <a:pt x="4321543" y="5029597"/>
                  </a:lnTo>
                  <a:lnTo>
                    <a:pt x="4321543" y="5039468"/>
                  </a:lnTo>
                  <a:lnTo>
                    <a:pt x="4317523" y="5043507"/>
                  </a:lnTo>
                  <a:lnTo>
                    <a:pt x="4307612" y="5043507"/>
                  </a:lnTo>
                  <a:lnTo>
                    <a:pt x="4303595" y="5039468"/>
                  </a:lnTo>
                  <a:lnTo>
                    <a:pt x="4303595" y="5029597"/>
                  </a:lnTo>
                  <a:close/>
                  <a:moveTo>
                    <a:pt x="4068297" y="5025558"/>
                  </a:moveTo>
                  <a:lnTo>
                    <a:pt x="4078210" y="5025558"/>
                  </a:lnTo>
                  <a:lnTo>
                    <a:pt x="4082229" y="5029597"/>
                  </a:lnTo>
                  <a:lnTo>
                    <a:pt x="4082229" y="5039468"/>
                  </a:lnTo>
                  <a:lnTo>
                    <a:pt x="4078210" y="5043507"/>
                  </a:lnTo>
                  <a:lnTo>
                    <a:pt x="4068297" y="5043507"/>
                  </a:lnTo>
                  <a:lnTo>
                    <a:pt x="4064278" y="5039468"/>
                  </a:lnTo>
                  <a:lnTo>
                    <a:pt x="4064278" y="5029597"/>
                  </a:lnTo>
                  <a:close/>
                  <a:moveTo>
                    <a:pt x="3828990" y="5025558"/>
                  </a:moveTo>
                  <a:lnTo>
                    <a:pt x="3838899" y="5025558"/>
                  </a:lnTo>
                  <a:lnTo>
                    <a:pt x="3842917" y="5029597"/>
                  </a:lnTo>
                  <a:lnTo>
                    <a:pt x="3842917" y="5039468"/>
                  </a:lnTo>
                  <a:lnTo>
                    <a:pt x="3838899" y="5043507"/>
                  </a:lnTo>
                  <a:lnTo>
                    <a:pt x="3828990" y="5043507"/>
                  </a:lnTo>
                  <a:lnTo>
                    <a:pt x="3824971" y="5039468"/>
                  </a:lnTo>
                  <a:lnTo>
                    <a:pt x="3824971" y="5029597"/>
                  </a:lnTo>
                  <a:close/>
                  <a:moveTo>
                    <a:pt x="3589676" y="5025558"/>
                  </a:moveTo>
                  <a:lnTo>
                    <a:pt x="3599585" y="5025558"/>
                  </a:lnTo>
                  <a:lnTo>
                    <a:pt x="3603604" y="5029597"/>
                  </a:lnTo>
                  <a:lnTo>
                    <a:pt x="3603604" y="5039468"/>
                  </a:lnTo>
                  <a:lnTo>
                    <a:pt x="3599585" y="5043507"/>
                  </a:lnTo>
                  <a:lnTo>
                    <a:pt x="3589676" y="5043507"/>
                  </a:lnTo>
                  <a:lnTo>
                    <a:pt x="3585657" y="5039468"/>
                  </a:lnTo>
                  <a:lnTo>
                    <a:pt x="3585657" y="5029597"/>
                  </a:lnTo>
                  <a:close/>
                  <a:moveTo>
                    <a:pt x="3350359" y="5025558"/>
                  </a:moveTo>
                  <a:lnTo>
                    <a:pt x="3360268" y="5025558"/>
                  </a:lnTo>
                  <a:lnTo>
                    <a:pt x="3364287" y="5029597"/>
                  </a:lnTo>
                  <a:lnTo>
                    <a:pt x="3364287" y="5039468"/>
                  </a:lnTo>
                  <a:lnTo>
                    <a:pt x="3360268" y="5043507"/>
                  </a:lnTo>
                  <a:lnTo>
                    <a:pt x="3350359" y="5043507"/>
                  </a:lnTo>
                  <a:lnTo>
                    <a:pt x="3346340" y="5039468"/>
                  </a:lnTo>
                  <a:lnTo>
                    <a:pt x="3346340" y="5029597"/>
                  </a:lnTo>
                  <a:close/>
                  <a:moveTo>
                    <a:pt x="3111048" y="5025558"/>
                  </a:moveTo>
                  <a:lnTo>
                    <a:pt x="3120959" y="5025558"/>
                  </a:lnTo>
                  <a:lnTo>
                    <a:pt x="3124977" y="5029597"/>
                  </a:lnTo>
                  <a:lnTo>
                    <a:pt x="3124977" y="5039468"/>
                  </a:lnTo>
                  <a:lnTo>
                    <a:pt x="3120959" y="5043507"/>
                  </a:lnTo>
                  <a:lnTo>
                    <a:pt x="3111048" y="5043507"/>
                  </a:lnTo>
                  <a:lnTo>
                    <a:pt x="3107029" y="5039468"/>
                  </a:lnTo>
                  <a:lnTo>
                    <a:pt x="3107029" y="5029597"/>
                  </a:lnTo>
                  <a:close/>
                  <a:moveTo>
                    <a:pt x="2871737" y="5025558"/>
                  </a:moveTo>
                  <a:lnTo>
                    <a:pt x="2881646" y="5025558"/>
                  </a:lnTo>
                  <a:lnTo>
                    <a:pt x="2885666" y="5029597"/>
                  </a:lnTo>
                  <a:lnTo>
                    <a:pt x="2885666" y="5039468"/>
                  </a:lnTo>
                  <a:lnTo>
                    <a:pt x="2881646" y="5043507"/>
                  </a:lnTo>
                  <a:lnTo>
                    <a:pt x="2871737" y="5043507"/>
                  </a:lnTo>
                  <a:lnTo>
                    <a:pt x="2867717" y="5039468"/>
                  </a:lnTo>
                  <a:lnTo>
                    <a:pt x="2867717" y="5029597"/>
                  </a:lnTo>
                  <a:close/>
                  <a:moveTo>
                    <a:pt x="2632423" y="5025558"/>
                  </a:moveTo>
                  <a:lnTo>
                    <a:pt x="2642334" y="5025558"/>
                  </a:lnTo>
                  <a:lnTo>
                    <a:pt x="2646352" y="5029597"/>
                  </a:lnTo>
                  <a:lnTo>
                    <a:pt x="2646352" y="5039468"/>
                  </a:lnTo>
                  <a:lnTo>
                    <a:pt x="2642334" y="5043507"/>
                  </a:lnTo>
                  <a:lnTo>
                    <a:pt x="2632423" y="5043507"/>
                  </a:lnTo>
                  <a:lnTo>
                    <a:pt x="2628404" y="5039468"/>
                  </a:lnTo>
                  <a:lnTo>
                    <a:pt x="2628404" y="5029597"/>
                  </a:lnTo>
                  <a:close/>
                  <a:moveTo>
                    <a:pt x="2393104" y="5025558"/>
                  </a:moveTo>
                  <a:lnTo>
                    <a:pt x="2403015" y="5025558"/>
                  </a:lnTo>
                  <a:lnTo>
                    <a:pt x="2407034" y="5029597"/>
                  </a:lnTo>
                  <a:lnTo>
                    <a:pt x="2407034" y="5039468"/>
                  </a:lnTo>
                  <a:lnTo>
                    <a:pt x="2403015" y="5043507"/>
                  </a:lnTo>
                  <a:lnTo>
                    <a:pt x="2393104" y="5043507"/>
                  </a:lnTo>
                  <a:lnTo>
                    <a:pt x="2389087" y="5039468"/>
                  </a:lnTo>
                  <a:lnTo>
                    <a:pt x="2389087" y="5029597"/>
                  </a:lnTo>
                  <a:close/>
                  <a:moveTo>
                    <a:pt x="721962" y="5025558"/>
                  </a:moveTo>
                  <a:lnTo>
                    <a:pt x="731872" y="5025558"/>
                  </a:lnTo>
                  <a:lnTo>
                    <a:pt x="735891" y="5029597"/>
                  </a:lnTo>
                  <a:lnTo>
                    <a:pt x="735891" y="5039468"/>
                  </a:lnTo>
                  <a:lnTo>
                    <a:pt x="731872" y="5043507"/>
                  </a:lnTo>
                  <a:lnTo>
                    <a:pt x="721962" y="5043507"/>
                  </a:lnTo>
                  <a:lnTo>
                    <a:pt x="717944" y="5039468"/>
                  </a:lnTo>
                  <a:lnTo>
                    <a:pt x="717944" y="5029597"/>
                  </a:lnTo>
                  <a:close/>
                  <a:moveTo>
                    <a:pt x="482650" y="5025558"/>
                  </a:moveTo>
                  <a:lnTo>
                    <a:pt x="492560" y="5025558"/>
                  </a:lnTo>
                  <a:lnTo>
                    <a:pt x="496580" y="5029597"/>
                  </a:lnTo>
                  <a:lnTo>
                    <a:pt x="496580" y="5039468"/>
                  </a:lnTo>
                  <a:lnTo>
                    <a:pt x="492560" y="5043507"/>
                  </a:lnTo>
                  <a:lnTo>
                    <a:pt x="482650" y="5043507"/>
                  </a:lnTo>
                  <a:lnTo>
                    <a:pt x="478631" y="5039468"/>
                  </a:lnTo>
                  <a:lnTo>
                    <a:pt x="478631" y="5029597"/>
                  </a:lnTo>
                  <a:close/>
                  <a:moveTo>
                    <a:pt x="243336" y="5025558"/>
                  </a:moveTo>
                  <a:lnTo>
                    <a:pt x="253247" y="5025558"/>
                  </a:lnTo>
                  <a:lnTo>
                    <a:pt x="257266" y="5029597"/>
                  </a:lnTo>
                  <a:lnTo>
                    <a:pt x="257266" y="5039468"/>
                  </a:lnTo>
                  <a:lnTo>
                    <a:pt x="253247" y="5043507"/>
                  </a:lnTo>
                  <a:lnTo>
                    <a:pt x="243336" y="5043507"/>
                  </a:lnTo>
                  <a:lnTo>
                    <a:pt x="239317" y="5039468"/>
                  </a:lnTo>
                  <a:lnTo>
                    <a:pt x="239317" y="5029597"/>
                  </a:lnTo>
                  <a:close/>
                  <a:moveTo>
                    <a:pt x="4024" y="5025558"/>
                  </a:moveTo>
                  <a:lnTo>
                    <a:pt x="13933" y="5025558"/>
                  </a:lnTo>
                  <a:lnTo>
                    <a:pt x="17952" y="5029597"/>
                  </a:lnTo>
                  <a:lnTo>
                    <a:pt x="17952" y="5039468"/>
                  </a:lnTo>
                  <a:lnTo>
                    <a:pt x="13933" y="5043507"/>
                  </a:lnTo>
                  <a:lnTo>
                    <a:pt x="4024" y="5043507"/>
                  </a:lnTo>
                  <a:lnTo>
                    <a:pt x="4" y="5039468"/>
                  </a:lnTo>
                  <a:lnTo>
                    <a:pt x="4" y="5029597"/>
                  </a:lnTo>
                  <a:close/>
                  <a:moveTo>
                    <a:pt x="9572438" y="4786279"/>
                  </a:moveTo>
                  <a:lnTo>
                    <a:pt x="9582349" y="4786279"/>
                  </a:lnTo>
                  <a:lnTo>
                    <a:pt x="9586368" y="4790317"/>
                  </a:lnTo>
                  <a:lnTo>
                    <a:pt x="9586368" y="4800188"/>
                  </a:lnTo>
                  <a:lnTo>
                    <a:pt x="9582349" y="4804227"/>
                  </a:lnTo>
                  <a:lnTo>
                    <a:pt x="9572438" y="4804227"/>
                  </a:lnTo>
                  <a:lnTo>
                    <a:pt x="9568419" y="4800188"/>
                  </a:lnTo>
                  <a:lnTo>
                    <a:pt x="9568419" y="4790317"/>
                  </a:lnTo>
                  <a:close/>
                  <a:moveTo>
                    <a:pt x="9333125" y="4786279"/>
                  </a:moveTo>
                  <a:lnTo>
                    <a:pt x="9343036" y="4786279"/>
                  </a:lnTo>
                  <a:lnTo>
                    <a:pt x="9347055" y="4790317"/>
                  </a:lnTo>
                  <a:lnTo>
                    <a:pt x="9347055" y="4800188"/>
                  </a:lnTo>
                  <a:lnTo>
                    <a:pt x="9343036" y="4804227"/>
                  </a:lnTo>
                  <a:lnTo>
                    <a:pt x="9333125" y="4804227"/>
                  </a:lnTo>
                  <a:lnTo>
                    <a:pt x="9329106" y="4800188"/>
                  </a:lnTo>
                  <a:lnTo>
                    <a:pt x="9329106" y="4790317"/>
                  </a:lnTo>
                  <a:close/>
                  <a:moveTo>
                    <a:pt x="9093811" y="4786279"/>
                  </a:moveTo>
                  <a:lnTo>
                    <a:pt x="9103722" y="4786279"/>
                  </a:lnTo>
                  <a:lnTo>
                    <a:pt x="9107741" y="4790317"/>
                  </a:lnTo>
                  <a:lnTo>
                    <a:pt x="9107741" y="4800188"/>
                  </a:lnTo>
                  <a:lnTo>
                    <a:pt x="9103722" y="4804227"/>
                  </a:lnTo>
                  <a:lnTo>
                    <a:pt x="9093811" y="4804227"/>
                  </a:lnTo>
                  <a:lnTo>
                    <a:pt x="9089792" y="4800188"/>
                  </a:lnTo>
                  <a:lnTo>
                    <a:pt x="9089792" y="4790317"/>
                  </a:lnTo>
                  <a:close/>
                  <a:moveTo>
                    <a:pt x="8854496" y="4786279"/>
                  </a:moveTo>
                  <a:lnTo>
                    <a:pt x="8864407" y="4786279"/>
                  </a:lnTo>
                  <a:lnTo>
                    <a:pt x="8868426" y="4790317"/>
                  </a:lnTo>
                  <a:lnTo>
                    <a:pt x="8868426" y="4800188"/>
                  </a:lnTo>
                  <a:lnTo>
                    <a:pt x="8864407" y="4804227"/>
                  </a:lnTo>
                  <a:lnTo>
                    <a:pt x="8854496" y="4804227"/>
                  </a:lnTo>
                  <a:lnTo>
                    <a:pt x="8850477" y="4800188"/>
                  </a:lnTo>
                  <a:lnTo>
                    <a:pt x="8850477" y="4790317"/>
                  </a:lnTo>
                  <a:close/>
                  <a:moveTo>
                    <a:pt x="8615184" y="4786279"/>
                  </a:moveTo>
                  <a:lnTo>
                    <a:pt x="8625095" y="4786279"/>
                  </a:lnTo>
                  <a:lnTo>
                    <a:pt x="8629114" y="4790317"/>
                  </a:lnTo>
                  <a:lnTo>
                    <a:pt x="8629114" y="4800188"/>
                  </a:lnTo>
                  <a:lnTo>
                    <a:pt x="8625095" y="4804227"/>
                  </a:lnTo>
                  <a:lnTo>
                    <a:pt x="8615184" y="4804227"/>
                  </a:lnTo>
                  <a:lnTo>
                    <a:pt x="8611165" y="4800188"/>
                  </a:lnTo>
                  <a:lnTo>
                    <a:pt x="8611165" y="4790317"/>
                  </a:lnTo>
                  <a:close/>
                  <a:moveTo>
                    <a:pt x="8375869" y="4786279"/>
                  </a:moveTo>
                  <a:lnTo>
                    <a:pt x="8385779" y="4786279"/>
                  </a:lnTo>
                  <a:lnTo>
                    <a:pt x="8389799" y="4790317"/>
                  </a:lnTo>
                  <a:lnTo>
                    <a:pt x="8389799" y="4800188"/>
                  </a:lnTo>
                  <a:lnTo>
                    <a:pt x="8385779" y="4804227"/>
                  </a:lnTo>
                  <a:lnTo>
                    <a:pt x="8375869" y="4804227"/>
                  </a:lnTo>
                  <a:lnTo>
                    <a:pt x="8371850" y="4800188"/>
                  </a:lnTo>
                  <a:lnTo>
                    <a:pt x="8371850" y="4790317"/>
                  </a:lnTo>
                  <a:close/>
                  <a:moveTo>
                    <a:pt x="8136553" y="4786279"/>
                  </a:moveTo>
                  <a:lnTo>
                    <a:pt x="8146464" y="4786279"/>
                  </a:lnTo>
                  <a:lnTo>
                    <a:pt x="8150483" y="4790317"/>
                  </a:lnTo>
                  <a:lnTo>
                    <a:pt x="8150483" y="4800188"/>
                  </a:lnTo>
                  <a:lnTo>
                    <a:pt x="8146464" y="4804227"/>
                  </a:lnTo>
                  <a:lnTo>
                    <a:pt x="8136553" y="4804227"/>
                  </a:lnTo>
                  <a:lnTo>
                    <a:pt x="8132534" y="4800188"/>
                  </a:lnTo>
                  <a:lnTo>
                    <a:pt x="8132534" y="4790317"/>
                  </a:lnTo>
                  <a:close/>
                  <a:moveTo>
                    <a:pt x="7897241" y="4786279"/>
                  </a:moveTo>
                  <a:lnTo>
                    <a:pt x="7907151" y="4786279"/>
                  </a:lnTo>
                  <a:lnTo>
                    <a:pt x="7911170" y="4790317"/>
                  </a:lnTo>
                  <a:lnTo>
                    <a:pt x="7911170" y="4800188"/>
                  </a:lnTo>
                  <a:lnTo>
                    <a:pt x="7907151" y="4804227"/>
                  </a:lnTo>
                  <a:lnTo>
                    <a:pt x="7897241" y="4804227"/>
                  </a:lnTo>
                  <a:lnTo>
                    <a:pt x="7893222" y="4800188"/>
                  </a:lnTo>
                  <a:lnTo>
                    <a:pt x="7893222" y="4790317"/>
                  </a:lnTo>
                  <a:close/>
                  <a:moveTo>
                    <a:pt x="7657926" y="4786279"/>
                  </a:moveTo>
                  <a:lnTo>
                    <a:pt x="7667836" y="4786279"/>
                  </a:lnTo>
                  <a:lnTo>
                    <a:pt x="7671855" y="4790317"/>
                  </a:lnTo>
                  <a:lnTo>
                    <a:pt x="7671855" y="4800188"/>
                  </a:lnTo>
                  <a:lnTo>
                    <a:pt x="7667836" y="4804227"/>
                  </a:lnTo>
                  <a:lnTo>
                    <a:pt x="7657926" y="4804227"/>
                  </a:lnTo>
                  <a:lnTo>
                    <a:pt x="7653906" y="4800188"/>
                  </a:lnTo>
                  <a:lnTo>
                    <a:pt x="7653906" y="4790317"/>
                  </a:lnTo>
                  <a:close/>
                  <a:moveTo>
                    <a:pt x="7418611" y="4786279"/>
                  </a:moveTo>
                  <a:lnTo>
                    <a:pt x="7428521" y="4786279"/>
                  </a:lnTo>
                  <a:lnTo>
                    <a:pt x="7432540" y="4790317"/>
                  </a:lnTo>
                  <a:lnTo>
                    <a:pt x="7432540" y="4800188"/>
                  </a:lnTo>
                  <a:lnTo>
                    <a:pt x="7428521" y="4804227"/>
                  </a:lnTo>
                  <a:lnTo>
                    <a:pt x="7418611" y="4804227"/>
                  </a:lnTo>
                  <a:lnTo>
                    <a:pt x="7414592" y="4800188"/>
                  </a:lnTo>
                  <a:lnTo>
                    <a:pt x="7414592" y="4790317"/>
                  </a:lnTo>
                  <a:close/>
                  <a:moveTo>
                    <a:pt x="7179298" y="4786279"/>
                  </a:moveTo>
                  <a:lnTo>
                    <a:pt x="7189209" y="4786279"/>
                  </a:lnTo>
                  <a:lnTo>
                    <a:pt x="7193228" y="4790317"/>
                  </a:lnTo>
                  <a:lnTo>
                    <a:pt x="7193228" y="4800188"/>
                  </a:lnTo>
                  <a:lnTo>
                    <a:pt x="7189209" y="4804227"/>
                  </a:lnTo>
                  <a:lnTo>
                    <a:pt x="7179298" y="4804227"/>
                  </a:lnTo>
                  <a:lnTo>
                    <a:pt x="7175279" y="4800188"/>
                  </a:lnTo>
                  <a:lnTo>
                    <a:pt x="7175279" y="4790317"/>
                  </a:lnTo>
                  <a:close/>
                  <a:moveTo>
                    <a:pt x="6939983" y="4786279"/>
                  </a:moveTo>
                  <a:lnTo>
                    <a:pt x="6949894" y="4786279"/>
                  </a:lnTo>
                  <a:lnTo>
                    <a:pt x="6953913" y="4790317"/>
                  </a:lnTo>
                  <a:lnTo>
                    <a:pt x="6953913" y="4800188"/>
                  </a:lnTo>
                  <a:lnTo>
                    <a:pt x="6949894" y="4804227"/>
                  </a:lnTo>
                  <a:lnTo>
                    <a:pt x="6939983" y="4804227"/>
                  </a:lnTo>
                  <a:lnTo>
                    <a:pt x="6935964" y="4800188"/>
                  </a:lnTo>
                  <a:lnTo>
                    <a:pt x="6935964" y="4790317"/>
                  </a:lnTo>
                  <a:close/>
                  <a:moveTo>
                    <a:pt x="6700670" y="4786279"/>
                  </a:moveTo>
                  <a:lnTo>
                    <a:pt x="6710581" y="4786279"/>
                  </a:lnTo>
                  <a:lnTo>
                    <a:pt x="6714600" y="4790317"/>
                  </a:lnTo>
                  <a:lnTo>
                    <a:pt x="6714600" y="4800188"/>
                  </a:lnTo>
                  <a:lnTo>
                    <a:pt x="6710581" y="4804227"/>
                  </a:lnTo>
                  <a:lnTo>
                    <a:pt x="6700670" y="4804227"/>
                  </a:lnTo>
                  <a:lnTo>
                    <a:pt x="6696651" y="4800188"/>
                  </a:lnTo>
                  <a:lnTo>
                    <a:pt x="6696651" y="4790317"/>
                  </a:lnTo>
                  <a:close/>
                  <a:moveTo>
                    <a:pt x="6461356" y="4786279"/>
                  </a:moveTo>
                  <a:lnTo>
                    <a:pt x="6471266" y="4786279"/>
                  </a:lnTo>
                  <a:lnTo>
                    <a:pt x="6475285" y="4790317"/>
                  </a:lnTo>
                  <a:lnTo>
                    <a:pt x="6475285" y="4800188"/>
                  </a:lnTo>
                  <a:lnTo>
                    <a:pt x="6471266" y="4804227"/>
                  </a:lnTo>
                  <a:lnTo>
                    <a:pt x="6461356" y="4804227"/>
                  </a:lnTo>
                  <a:lnTo>
                    <a:pt x="6457337" y="4800188"/>
                  </a:lnTo>
                  <a:lnTo>
                    <a:pt x="6457337" y="4790317"/>
                  </a:lnTo>
                  <a:close/>
                  <a:moveTo>
                    <a:pt x="6222042" y="4786279"/>
                  </a:moveTo>
                  <a:lnTo>
                    <a:pt x="6231952" y="4786279"/>
                  </a:lnTo>
                  <a:lnTo>
                    <a:pt x="6235971" y="4790317"/>
                  </a:lnTo>
                  <a:lnTo>
                    <a:pt x="6235971" y="4800188"/>
                  </a:lnTo>
                  <a:lnTo>
                    <a:pt x="6231952" y="4804227"/>
                  </a:lnTo>
                  <a:lnTo>
                    <a:pt x="6222042" y="4804227"/>
                  </a:lnTo>
                  <a:lnTo>
                    <a:pt x="6218023" y="4800188"/>
                  </a:lnTo>
                  <a:lnTo>
                    <a:pt x="6218023" y="4790317"/>
                  </a:lnTo>
                  <a:close/>
                  <a:moveTo>
                    <a:pt x="5982729" y="4786279"/>
                  </a:moveTo>
                  <a:lnTo>
                    <a:pt x="5992639" y="4786279"/>
                  </a:lnTo>
                  <a:lnTo>
                    <a:pt x="5996658" y="4790317"/>
                  </a:lnTo>
                  <a:lnTo>
                    <a:pt x="5996658" y="4800188"/>
                  </a:lnTo>
                  <a:lnTo>
                    <a:pt x="5992639" y="4804227"/>
                  </a:lnTo>
                  <a:lnTo>
                    <a:pt x="5982729" y="4804227"/>
                  </a:lnTo>
                  <a:lnTo>
                    <a:pt x="5978710" y="4800188"/>
                  </a:lnTo>
                  <a:lnTo>
                    <a:pt x="5978710" y="4790317"/>
                  </a:lnTo>
                  <a:close/>
                  <a:moveTo>
                    <a:pt x="5743412" y="4786279"/>
                  </a:moveTo>
                  <a:lnTo>
                    <a:pt x="5753323" y="4786279"/>
                  </a:lnTo>
                  <a:lnTo>
                    <a:pt x="5757342" y="4790317"/>
                  </a:lnTo>
                  <a:lnTo>
                    <a:pt x="5757342" y="4800188"/>
                  </a:lnTo>
                  <a:lnTo>
                    <a:pt x="5753323" y="4804227"/>
                  </a:lnTo>
                  <a:lnTo>
                    <a:pt x="5743412" y="4804227"/>
                  </a:lnTo>
                  <a:lnTo>
                    <a:pt x="5739393" y="4800188"/>
                  </a:lnTo>
                  <a:lnTo>
                    <a:pt x="5739393" y="4790317"/>
                  </a:lnTo>
                  <a:close/>
                  <a:moveTo>
                    <a:pt x="5504099" y="4786279"/>
                  </a:moveTo>
                  <a:lnTo>
                    <a:pt x="5514010" y="4786279"/>
                  </a:lnTo>
                  <a:lnTo>
                    <a:pt x="5518029" y="4790317"/>
                  </a:lnTo>
                  <a:lnTo>
                    <a:pt x="5518029" y="4800188"/>
                  </a:lnTo>
                  <a:lnTo>
                    <a:pt x="5514010" y="4804227"/>
                  </a:lnTo>
                  <a:lnTo>
                    <a:pt x="5504099" y="4804227"/>
                  </a:lnTo>
                  <a:lnTo>
                    <a:pt x="5500080" y="4800188"/>
                  </a:lnTo>
                  <a:lnTo>
                    <a:pt x="5500080" y="4790317"/>
                  </a:lnTo>
                  <a:close/>
                  <a:moveTo>
                    <a:pt x="5264784" y="4786279"/>
                  </a:moveTo>
                  <a:lnTo>
                    <a:pt x="5274694" y="4786279"/>
                  </a:lnTo>
                  <a:lnTo>
                    <a:pt x="5278713" y="4790317"/>
                  </a:lnTo>
                  <a:lnTo>
                    <a:pt x="5278713" y="4800188"/>
                  </a:lnTo>
                  <a:lnTo>
                    <a:pt x="5274694" y="4804227"/>
                  </a:lnTo>
                  <a:lnTo>
                    <a:pt x="5264784" y="4804227"/>
                  </a:lnTo>
                  <a:lnTo>
                    <a:pt x="5260765" y="4800188"/>
                  </a:lnTo>
                  <a:lnTo>
                    <a:pt x="5260765" y="4790317"/>
                  </a:lnTo>
                  <a:close/>
                  <a:moveTo>
                    <a:pt x="5025470" y="4786279"/>
                  </a:moveTo>
                  <a:lnTo>
                    <a:pt x="5035381" y="4786279"/>
                  </a:lnTo>
                  <a:lnTo>
                    <a:pt x="5039400" y="4790317"/>
                  </a:lnTo>
                  <a:lnTo>
                    <a:pt x="5039400" y="4800188"/>
                  </a:lnTo>
                  <a:lnTo>
                    <a:pt x="5035381" y="4804227"/>
                  </a:lnTo>
                  <a:lnTo>
                    <a:pt x="5025470" y="4804227"/>
                  </a:lnTo>
                  <a:lnTo>
                    <a:pt x="5021451" y="4800188"/>
                  </a:lnTo>
                  <a:lnTo>
                    <a:pt x="5021451" y="4790317"/>
                  </a:lnTo>
                  <a:close/>
                  <a:moveTo>
                    <a:pt x="4786241" y="4786279"/>
                  </a:moveTo>
                  <a:lnTo>
                    <a:pt x="4796152" y="4786279"/>
                  </a:lnTo>
                  <a:lnTo>
                    <a:pt x="4800171" y="4790317"/>
                  </a:lnTo>
                  <a:lnTo>
                    <a:pt x="4800171" y="4800188"/>
                  </a:lnTo>
                  <a:lnTo>
                    <a:pt x="4796152" y="4804227"/>
                  </a:lnTo>
                  <a:lnTo>
                    <a:pt x="4786241" y="4804227"/>
                  </a:lnTo>
                  <a:lnTo>
                    <a:pt x="4782224" y="4800188"/>
                  </a:lnTo>
                  <a:lnTo>
                    <a:pt x="4782224" y="4790317"/>
                  </a:lnTo>
                  <a:close/>
                  <a:moveTo>
                    <a:pt x="4546929" y="4786279"/>
                  </a:moveTo>
                  <a:lnTo>
                    <a:pt x="4556840" y="4786279"/>
                  </a:lnTo>
                  <a:lnTo>
                    <a:pt x="4560859" y="4790317"/>
                  </a:lnTo>
                  <a:lnTo>
                    <a:pt x="4560859" y="4800188"/>
                  </a:lnTo>
                  <a:lnTo>
                    <a:pt x="4556840" y="4804227"/>
                  </a:lnTo>
                  <a:lnTo>
                    <a:pt x="4546929" y="4804227"/>
                  </a:lnTo>
                  <a:lnTo>
                    <a:pt x="4542910" y="4800188"/>
                  </a:lnTo>
                  <a:lnTo>
                    <a:pt x="4542910" y="4790317"/>
                  </a:lnTo>
                  <a:close/>
                  <a:moveTo>
                    <a:pt x="4307612" y="4786279"/>
                  </a:moveTo>
                  <a:lnTo>
                    <a:pt x="4317523" y="4786279"/>
                  </a:lnTo>
                  <a:lnTo>
                    <a:pt x="4321543" y="4790317"/>
                  </a:lnTo>
                  <a:lnTo>
                    <a:pt x="4321543" y="4800188"/>
                  </a:lnTo>
                  <a:lnTo>
                    <a:pt x="4317523" y="4804227"/>
                  </a:lnTo>
                  <a:lnTo>
                    <a:pt x="4307612" y="4804227"/>
                  </a:lnTo>
                  <a:lnTo>
                    <a:pt x="4303595" y="4800188"/>
                  </a:lnTo>
                  <a:lnTo>
                    <a:pt x="4303595" y="4790317"/>
                  </a:lnTo>
                  <a:close/>
                  <a:moveTo>
                    <a:pt x="4068297" y="4786279"/>
                  </a:moveTo>
                  <a:lnTo>
                    <a:pt x="4078210" y="4786279"/>
                  </a:lnTo>
                  <a:lnTo>
                    <a:pt x="4082229" y="4790317"/>
                  </a:lnTo>
                  <a:lnTo>
                    <a:pt x="4082229" y="4800188"/>
                  </a:lnTo>
                  <a:lnTo>
                    <a:pt x="4078210" y="4804227"/>
                  </a:lnTo>
                  <a:lnTo>
                    <a:pt x="4068297" y="4804227"/>
                  </a:lnTo>
                  <a:lnTo>
                    <a:pt x="4064278" y="4800188"/>
                  </a:lnTo>
                  <a:lnTo>
                    <a:pt x="4064278" y="4790317"/>
                  </a:lnTo>
                  <a:close/>
                  <a:moveTo>
                    <a:pt x="3828990" y="4786279"/>
                  </a:moveTo>
                  <a:lnTo>
                    <a:pt x="3838899" y="4786279"/>
                  </a:lnTo>
                  <a:lnTo>
                    <a:pt x="3842917" y="4790317"/>
                  </a:lnTo>
                  <a:lnTo>
                    <a:pt x="3842917" y="4800188"/>
                  </a:lnTo>
                  <a:lnTo>
                    <a:pt x="3838899" y="4804227"/>
                  </a:lnTo>
                  <a:lnTo>
                    <a:pt x="3828990" y="4804227"/>
                  </a:lnTo>
                  <a:lnTo>
                    <a:pt x="3824971" y="4800188"/>
                  </a:lnTo>
                  <a:lnTo>
                    <a:pt x="3824971" y="4790317"/>
                  </a:lnTo>
                  <a:close/>
                  <a:moveTo>
                    <a:pt x="3589676" y="4786279"/>
                  </a:moveTo>
                  <a:lnTo>
                    <a:pt x="3599585" y="4786279"/>
                  </a:lnTo>
                  <a:lnTo>
                    <a:pt x="3603604" y="4790317"/>
                  </a:lnTo>
                  <a:lnTo>
                    <a:pt x="3603604" y="4800188"/>
                  </a:lnTo>
                  <a:lnTo>
                    <a:pt x="3599585" y="4804227"/>
                  </a:lnTo>
                  <a:lnTo>
                    <a:pt x="3589676" y="4804227"/>
                  </a:lnTo>
                  <a:lnTo>
                    <a:pt x="3585657" y="4800188"/>
                  </a:lnTo>
                  <a:lnTo>
                    <a:pt x="3585657" y="4790317"/>
                  </a:lnTo>
                  <a:close/>
                  <a:moveTo>
                    <a:pt x="3350359" y="4786279"/>
                  </a:moveTo>
                  <a:lnTo>
                    <a:pt x="3360268" y="4786279"/>
                  </a:lnTo>
                  <a:lnTo>
                    <a:pt x="3364287" y="4790317"/>
                  </a:lnTo>
                  <a:lnTo>
                    <a:pt x="3364287" y="4800188"/>
                  </a:lnTo>
                  <a:lnTo>
                    <a:pt x="3360268" y="4804227"/>
                  </a:lnTo>
                  <a:lnTo>
                    <a:pt x="3350359" y="4804227"/>
                  </a:lnTo>
                  <a:lnTo>
                    <a:pt x="3346340" y="4800188"/>
                  </a:lnTo>
                  <a:lnTo>
                    <a:pt x="3346340" y="4790317"/>
                  </a:lnTo>
                  <a:close/>
                  <a:moveTo>
                    <a:pt x="3111048" y="4786279"/>
                  </a:moveTo>
                  <a:lnTo>
                    <a:pt x="3120959" y="4786279"/>
                  </a:lnTo>
                  <a:lnTo>
                    <a:pt x="3124977" y="4790317"/>
                  </a:lnTo>
                  <a:lnTo>
                    <a:pt x="3124977" y="4800188"/>
                  </a:lnTo>
                  <a:lnTo>
                    <a:pt x="3120959" y="4804227"/>
                  </a:lnTo>
                  <a:lnTo>
                    <a:pt x="3111048" y="4804227"/>
                  </a:lnTo>
                  <a:lnTo>
                    <a:pt x="3107029" y="4800188"/>
                  </a:lnTo>
                  <a:lnTo>
                    <a:pt x="3107029" y="4790317"/>
                  </a:lnTo>
                  <a:close/>
                  <a:moveTo>
                    <a:pt x="2871737" y="4786279"/>
                  </a:moveTo>
                  <a:lnTo>
                    <a:pt x="2881646" y="4786279"/>
                  </a:lnTo>
                  <a:lnTo>
                    <a:pt x="2885666" y="4790317"/>
                  </a:lnTo>
                  <a:lnTo>
                    <a:pt x="2885666" y="4800188"/>
                  </a:lnTo>
                  <a:lnTo>
                    <a:pt x="2881646" y="4804227"/>
                  </a:lnTo>
                  <a:lnTo>
                    <a:pt x="2871737" y="4804227"/>
                  </a:lnTo>
                  <a:lnTo>
                    <a:pt x="2867717" y="4800188"/>
                  </a:lnTo>
                  <a:lnTo>
                    <a:pt x="2867717" y="4790317"/>
                  </a:lnTo>
                  <a:close/>
                  <a:moveTo>
                    <a:pt x="2632423" y="4786279"/>
                  </a:moveTo>
                  <a:lnTo>
                    <a:pt x="2642334" y="4786279"/>
                  </a:lnTo>
                  <a:lnTo>
                    <a:pt x="2646352" y="4790317"/>
                  </a:lnTo>
                  <a:lnTo>
                    <a:pt x="2646352" y="4800188"/>
                  </a:lnTo>
                  <a:lnTo>
                    <a:pt x="2642334" y="4804227"/>
                  </a:lnTo>
                  <a:lnTo>
                    <a:pt x="2632423" y="4804227"/>
                  </a:lnTo>
                  <a:lnTo>
                    <a:pt x="2628404" y="4800188"/>
                  </a:lnTo>
                  <a:lnTo>
                    <a:pt x="2628404" y="4790317"/>
                  </a:lnTo>
                  <a:close/>
                  <a:moveTo>
                    <a:pt x="2393104" y="4786279"/>
                  </a:moveTo>
                  <a:lnTo>
                    <a:pt x="2403015" y="4786279"/>
                  </a:lnTo>
                  <a:lnTo>
                    <a:pt x="2407034" y="4790317"/>
                  </a:lnTo>
                  <a:lnTo>
                    <a:pt x="2407034" y="4800188"/>
                  </a:lnTo>
                  <a:lnTo>
                    <a:pt x="2403015" y="4804227"/>
                  </a:lnTo>
                  <a:lnTo>
                    <a:pt x="2393104" y="4804227"/>
                  </a:lnTo>
                  <a:lnTo>
                    <a:pt x="2389087" y="4800188"/>
                  </a:lnTo>
                  <a:lnTo>
                    <a:pt x="2389087" y="4790317"/>
                  </a:lnTo>
                  <a:close/>
                  <a:moveTo>
                    <a:pt x="2157819" y="4786279"/>
                  </a:moveTo>
                  <a:lnTo>
                    <a:pt x="2167729" y="4786279"/>
                  </a:lnTo>
                  <a:lnTo>
                    <a:pt x="2171748" y="4790317"/>
                  </a:lnTo>
                  <a:lnTo>
                    <a:pt x="2171748" y="4800188"/>
                  </a:lnTo>
                  <a:lnTo>
                    <a:pt x="2167729" y="4804227"/>
                  </a:lnTo>
                  <a:lnTo>
                    <a:pt x="2157819" y="4804227"/>
                  </a:lnTo>
                  <a:lnTo>
                    <a:pt x="2153800" y="4800188"/>
                  </a:lnTo>
                  <a:lnTo>
                    <a:pt x="2153800" y="4790317"/>
                  </a:lnTo>
                  <a:close/>
                  <a:moveTo>
                    <a:pt x="1918510" y="4786279"/>
                  </a:moveTo>
                  <a:lnTo>
                    <a:pt x="1928420" y="4786279"/>
                  </a:lnTo>
                  <a:lnTo>
                    <a:pt x="1932440" y="4790317"/>
                  </a:lnTo>
                  <a:lnTo>
                    <a:pt x="1932440" y="4800188"/>
                  </a:lnTo>
                  <a:lnTo>
                    <a:pt x="1928420" y="4804227"/>
                  </a:lnTo>
                  <a:lnTo>
                    <a:pt x="1918510" y="4804227"/>
                  </a:lnTo>
                  <a:lnTo>
                    <a:pt x="1914492" y="4800188"/>
                  </a:lnTo>
                  <a:lnTo>
                    <a:pt x="1914492" y="4790317"/>
                  </a:lnTo>
                  <a:close/>
                  <a:moveTo>
                    <a:pt x="1679205" y="4786279"/>
                  </a:moveTo>
                  <a:lnTo>
                    <a:pt x="1689115" y="4786279"/>
                  </a:lnTo>
                  <a:lnTo>
                    <a:pt x="1693134" y="4790317"/>
                  </a:lnTo>
                  <a:lnTo>
                    <a:pt x="1693134" y="4800188"/>
                  </a:lnTo>
                  <a:lnTo>
                    <a:pt x="1689115" y="4804227"/>
                  </a:lnTo>
                  <a:lnTo>
                    <a:pt x="1679205" y="4804227"/>
                  </a:lnTo>
                  <a:lnTo>
                    <a:pt x="1675187" y="4800188"/>
                  </a:lnTo>
                  <a:lnTo>
                    <a:pt x="1675187" y="4790317"/>
                  </a:lnTo>
                  <a:close/>
                  <a:moveTo>
                    <a:pt x="1439890" y="4786279"/>
                  </a:moveTo>
                  <a:lnTo>
                    <a:pt x="1449800" y="4786279"/>
                  </a:lnTo>
                  <a:lnTo>
                    <a:pt x="1453818" y="4790317"/>
                  </a:lnTo>
                  <a:lnTo>
                    <a:pt x="1453818" y="4800188"/>
                  </a:lnTo>
                  <a:lnTo>
                    <a:pt x="1449800" y="4804227"/>
                  </a:lnTo>
                  <a:lnTo>
                    <a:pt x="1439890" y="4804227"/>
                  </a:lnTo>
                  <a:lnTo>
                    <a:pt x="1435870" y="4800188"/>
                  </a:lnTo>
                  <a:lnTo>
                    <a:pt x="1435870" y="4790317"/>
                  </a:lnTo>
                  <a:close/>
                  <a:moveTo>
                    <a:pt x="1200574" y="4786279"/>
                  </a:moveTo>
                  <a:lnTo>
                    <a:pt x="1210484" y="4786279"/>
                  </a:lnTo>
                  <a:lnTo>
                    <a:pt x="1214503" y="4790317"/>
                  </a:lnTo>
                  <a:lnTo>
                    <a:pt x="1214503" y="4800188"/>
                  </a:lnTo>
                  <a:lnTo>
                    <a:pt x="1210484" y="4804227"/>
                  </a:lnTo>
                  <a:lnTo>
                    <a:pt x="1200574" y="4804227"/>
                  </a:lnTo>
                  <a:lnTo>
                    <a:pt x="1196555" y="4800188"/>
                  </a:lnTo>
                  <a:lnTo>
                    <a:pt x="1196555" y="4790317"/>
                  </a:lnTo>
                  <a:close/>
                  <a:moveTo>
                    <a:pt x="961262" y="4786279"/>
                  </a:moveTo>
                  <a:lnTo>
                    <a:pt x="971172" y="4786279"/>
                  </a:lnTo>
                  <a:lnTo>
                    <a:pt x="975190" y="4790317"/>
                  </a:lnTo>
                  <a:lnTo>
                    <a:pt x="975190" y="4800188"/>
                  </a:lnTo>
                  <a:lnTo>
                    <a:pt x="971172" y="4804227"/>
                  </a:lnTo>
                  <a:lnTo>
                    <a:pt x="961262" y="4804227"/>
                  </a:lnTo>
                  <a:lnTo>
                    <a:pt x="957242" y="4800188"/>
                  </a:lnTo>
                  <a:lnTo>
                    <a:pt x="957242" y="4790317"/>
                  </a:lnTo>
                  <a:close/>
                  <a:moveTo>
                    <a:pt x="721963" y="4786279"/>
                  </a:moveTo>
                  <a:lnTo>
                    <a:pt x="731873" y="4786279"/>
                  </a:lnTo>
                  <a:lnTo>
                    <a:pt x="735892" y="4790317"/>
                  </a:lnTo>
                  <a:lnTo>
                    <a:pt x="735892" y="4800188"/>
                  </a:lnTo>
                  <a:lnTo>
                    <a:pt x="731873" y="4804227"/>
                  </a:lnTo>
                  <a:lnTo>
                    <a:pt x="721963" y="4804227"/>
                  </a:lnTo>
                  <a:lnTo>
                    <a:pt x="717944" y="4800188"/>
                  </a:lnTo>
                  <a:lnTo>
                    <a:pt x="717944" y="4790317"/>
                  </a:lnTo>
                  <a:close/>
                  <a:moveTo>
                    <a:pt x="482651" y="4786279"/>
                  </a:moveTo>
                  <a:lnTo>
                    <a:pt x="492561" y="4786279"/>
                  </a:lnTo>
                  <a:lnTo>
                    <a:pt x="496580" y="4790317"/>
                  </a:lnTo>
                  <a:lnTo>
                    <a:pt x="496580" y="4800188"/>
                  </a:lnTo>
                  <a:lnTo>
                    <a:pt x="492561" y="4804227"/>
                  </a:lnTo>
                  <a:lnTo>
                    <a:pt x="482651" y="4804227"/>
                  </a:lnTo>
                  <a:lnTo>
                    <a:pt x="478632" y="4800188"/>
                  </a:lnTo>
                  <a:lnTo>
                    <a:pt x="478632" y="4790317"/>
                  </a:lnTo>
                  <a:close/>
                  <a:moveTo>
                    <a:pt x="243338" y="4786279"/>
                  </a:moveTo>
                  <a:lnTo>
                    <a:pt x="253247" y="4786279"/>
                  </a:lnTo>
                  <a:lnTo>
                    <a:pt x="257266" y="4790317"/>
                  </a:lnTo>
                  <a:lnTo>
                    <a:pt x="257266" y="4800188"/>
                  </a:lnTo>
                  <a:lnTo>
                    <a:pt x="253247" y="4804227"/>
                  </a:lnTo>
                  <a:lnTo>
                    <a:pt x="243338" y="4804227"/>
                  </a:lnTo>
                  <a:lnTo>
                    <a:pt x="239318" y="4800188"/>
                  </a:lnTo>
                  <a:lnTo>
                    <a:pt x="239318" y="4790317"/>
                  </a:lnTo>
                  <a:close/>
                  <a:moveTo>
                    <a:pt x="4024" y="4786279"/>
                  </a:moveTo>
                  <a:lnTo>
                    <a:pt x="13934" y="4786279"/>
                  </a:lnTo>
                  <a:lnTo>
                    <a:pt x="17954" y="4790317"/>
                  </a:lnTo>
                  <a:lnTo>
                    <a:pt x="17954" y="4800188"/>
                  </a:lnTo>
                  <a:lnTo>
                    <a:pt x="13934" y="4804227"/>
                  </a:lnTo>
                  <a:lnTo>
                    <a:pt x="4024" y="4804227"/>
                  </a:lnTo>
                  <a:lnTo>
                    <a:pt x="5" y="4800188"/>
                  </a:lnTo>
                  <a:lnTo>
                    <a:pt x="5" y="4790317"/>
                  </a:lnTo>
                  <a:close/>
                  <a:moveTo>
                    <a:pt x="2157819" y="4546999"/>
                  </a:moveTo>
                  <a:lnTo>
                    <a:pt x="2167729" y="4546999"/>
                  </a:lnTo>
                  <a:lnTo>
                    <a:pt x="2171748" y="4551038"/>
                  </a:lnTo>
                  <a:lnTo>
                    <a:pt x="2171748" y="4560909"/>
                  </a:lnTo>
                  <a:lnTo>
                    <a:pt x="2167729" y="4564948"/>
                  </a:lnTo>
                  <a:lnTo>
                    <a:pt x="2157819" y="4564948"/>
                  </a:lnTo>
                  <a:lnTo>
                    <a:pt x="2153801" y="4560909"/>
                  </a:lnTo>
                  <a:lnTo>
                    <a:pt x="2153801" y="4551038"/>
                  </a:lnTo>
                  <a:close/>
                  <a:moveTo>
                    <a:pt x="1918510" y="4546999"/>
                  </a:moveTo>
                  <a:lnTo>
                    <a:pt x="1928421" y="4546999"/>
                  </a:lnTo>
                  <a:lnTo>
                    <a:pt x="1932440" y="4551038"/>
                  </a:lnTo>
                  <a:lnTo>
                    <a:pt x="1932440" y="4560909"/>
                  </a:lnTo>
                  <a:lnTo>
                    <a:pt x="1928421" y="4564948"/>
                  </a:lnTo>
                  <a:lnTo>
                    <a:pt x="1918510" y="4564948"/>
                  </a:lnTo>
                  <a:lnTo>
                    <a:pt x="1914492" y="4560909"/>
                  </a:lnTo>
                  <a:lnTo>
                    <a:pt x="1914492" y="4551038"/>
                  </a:lnTo>
                  <a:close/>
                  <a:moveTo>
                    <a:pt x="1679206" y="4546999"/>
                  </a:moveTo>
                  <a:lnTo>
                    <a:pt x="1689116" y="4546999"/>
                  </a:lnTo>
                  <a:lnTo>
                    <a:pt x="1693134" y="4551038"/>
                  </a:lnTo>
                  <a:lnTo>
                    <a:pt x="1693134" y="4560909"/>
                  </a:lnTo>
                  <a:lnTo>
                    <a:pt x="1689116" y="4564948"/>
                  </a:lnTo>
                  <a:lnTo>
                    <a:pt x="1679206" y="4564948"/>
                  </a:lnTo>
                  <a:lnTo>
                    <a:pt x="1675187" y="4560909"/>
                  </a:lnTo>
                  <a:lnTo>
                    <a:pt x="1675187" y="4551038"/>
                  </a:lnTo>
                  <a:close/>
                  <a:moveTo>
                    <a:pt x="1439890" y="4546999"/>
                  </a:moveTo>
                  <a:lnTo>
                    <a:pt x="1449800" y="4546999"/>
                  </a:lnTo>
                  <a:lnTo>
                    <a:pt x="1453819" y="4551038"/>
                  </a:lnTo>
                  <a:lnTo>
                    <a:pt x="1453819" y="4560909"/>
                  </a:lnTo>
                  <a:lnTo>
                    <a:pt x="1449800" y="4564948"/>
                  </a:lnTo>
                  <a:lnTo>
                    <a:pt x="1439890" y="4564948"/>
                  </a:lnTo>
                  <a:lnTo>
                    <a:pt x="1435871" y="4560909"/>
                  </a:lnTo>
                  <a:lnTo>
                    <a:pt x="1435871" y="4551038"/>
                  </a:lnTo>
                  <a:close/>
                  <a:moveTo>
                    <a:pt x="1200575" y="4546999"/>
                  </a:moveTo>
                  <a:lnTo>
                    <a:pt x="1210485" y="4546999"/>
                  </a:lnTo>
                  <a:lnTo>
                    <a:pt x="1214504" y="4551038"/>
                  </a:lnTo>
                  <a:lnTo>
                    <a:pt x="1214504" y="4560909"/>
                  </a:lnTo>
                  <a:lnTo>
                    <a:pt x="1210485" y="4564948"/>
                  </a:lnTo>
                  <a:lnTo>
                    <a:pt x="1200575" y="4564948"/>
                  </a:lnTo>
                  <a:lnTo>
                    <a:pt x="1196556" y="4560909"/>
                  </a:lnTo>
                  <a:lnTo>
                    <a:pt x="1196556" y="4551038"/>
                  </a:lnTo>
                  <a:close/>
                  <a:moveTo>
                    <a:pt x="961262" y="4546999"/>
                  </a:moveTo>
                  <a:lnTo>
                    <a:pt x="971172" y="4546999"/>
                  </a:lnTo>
                  <a:lnTo>
                    <a:pt x="975191" y="4551038"/>
                  </a:lnTo>
                  <a:lnTo>
                    <a:pt x="975191" y="4560909"/>
                  </a:lnTo>
                  <a:lnTo>
                    <a:pt x="971172" y="4564948"/>
                  </a:lnTo>
                  <a:lnTo>
                    <a:pt x="961262" y="4564948"/>
                  </a:lnTo>
                  <a:lnTo>
                    <a:pt x="957243" y="4560909"/>
                  </a:lnTo>
                  <a:lnTo>
                    <a:pt x="957243" y="4551038"/>
                  </a:lnTo>
                  <a:close/>
                  <a:moveTo>
                    <a:pt x="9572438" y="4546948"/>
                  </a:moveTo>
                  <a:lnTo>
                    <a:pt x="9582349" y="4546948"/>
                  </a:lnTo>
                  <a:lnTo>
                    <a:pt x="9586368" y="4550987"/>
                  </a:lnTo>
                  <a:lnTo>
                    <a:pt x="9586368" y="4560858"/>
                  </a:lnTo>
                  <a:lnTo>
                    <a:pt x="9582349" y="4564897"/>
                  </a:lnTo>
                  <a:lnTo>
                    <a:pt x="9572438" y="4564897"/>
                  </a:lnTo>
                  <a:lnTo>
                    <a:pt x="9568419" y="4560858"/>
                  </a:lnTo>
                  <a:lnTo>
                    <a:pt x="9568419" y="4550987"/>
                  </a:lnTo>
                  <a:close/>
                  <a:moveTo>
                    <a:pt x="9333125" y="4546948"/>
                  </a:moveTo>
                  <a:lnTo>
                    <a:pt x="9343036" y="4546948"/>
                  </a:lnTo>
                  <a:lnTo>
                    <a:pt x="9347055" y="4550987"/>
                  </a:lnTo>
                  <a:lnTo>
                    <a:pt x="9347055" y="4560858"/>
                  </a:lnTo>
                  <a:lnTo>
                    <a:pt x="9343036" y="4564897"/>
                  </a:lnTo>
                  <a:lnTo>
                    <a:pt x="9333125" y="4564897"/>
                  </a:lnTo>
                  <a:lnTo>
                    <a:pt x="9329106" y="4560858"/>
                  </a:lnTo>
                  <a:lnTo>
                    <a:pt x="9329106" y="4550987"/>
                  </a:lnTo>
                  <a:close/>
                  <a:moveTo>
                    <a:pt x="9093811" y="4546948"/>
                  </a:moveTo>
                  <a:lnTo>
                    <a:pt x="9103722" y="4546948"/>
                  </a:lnTo>
                  <a:lnTo>
                    <a:pt x="9107741" y="4550987"/>
                  </a:lnTo>
                  <a:lnTo>
                    <a:pt x="9107741" y="4560858"/>
                  </a:lnTo>
                  <a:lnTo>
                    <a:pt x="9103722" y="4564897"/>
                  </a:lnTo>
                  <a:lnTo>
                    <a:pt x="9093811" y="4564897"/>
                  </a:lnTo>
                  <a:lnTo>
                    <a:pt x="9089792" y="4560858"/>
                  </a:lnTo>
                  <a:lnTo>
                    <a:pt x="9089792" y="4550987"/>
                  </a:lnTo>
                  <a:close/>
                  <a:moveTo>
                    <a:pt x="8854496" y="4546948"/>
                  </a:moveTo>
                  <a:lnTo>
                    <a:pt x="8864407" y="4546948"/>
                  </a:lnTo>
                  <a:lnTo>
                    <a:pt x="8868426" y="4550987"/>
                  </a:lnTo>
                  <a:lnTo>
                    <a:pt x="8868426" y="4560858"/>
                  </a:lnTo>
                  <a:lnTo>
                    <a:pt x="8864407" y="4564897"/>
                  </a:lnTo>
                  <a:lnTo>
                    <a:pt x="8854496" y="4564897"/>
                  </a:lnTo>
                  <a:lnTo>
                    <a:pt x="8850477" y="4560858"/>
                  </a:lnTo>
                  <a:lnTo>
                    <a:pt x="8850477" y="4550987"/>
                  </a:lnTo>
                  <a:close/>
                  <a:moveTo>
                    <a:pt x="8615184" y="4546948"/>
                  </a:moveTo>
                  <a:lnTo>
                    <a:pt x="8625095" y="4546948"/>
                  </a:lnTo>
                  <a:lnTo>
                    <a:pt x="8629114" y="4550987"/>
                  </a:lnTo>
                  <a:lnTo>
                    <a:pt x="8629114" y="4560858"/>
                  </a:lnTo>
                  <a:lnTo>
                    <a:pt x="8625095" y="4564897"/>
                  </a:lnTo>
                  <a:lnTo>
                    <a:pt x="8615184" y="4564897"/>
                  </a:lnTo>
                  <a:lnTo>
                    <a:pt x="8611165" y="4560858"/>
                  </a:lnTo>
                  <a:lnTo>
                    <a:pt x="8611165" y="4550987"/>
                  </a:lnTo>
                  <a:close/>
                  <a:moveTo>
                    <a:pt x="8375869" y="4546948"/>
                  </a:moveTo>
                  <a:lnTo>
                    <a:pt x="8385779" y="4546948"/>
                  </a:lnTo>
                  <a:lnTo>
                    <a:pt x="8389799" y="4550987"/>
                  </a:lnTo>
                  <a:lnTo>
                    <a:pt x="8389799" y="4560858"/>
                  </a:lnTo>
                  <a:lnTo>
                    <a:pt x="8385779" y="4564897"/>
                  </a:lnTo>
                  <a:lnTo>
                    <a:pt x="8375869" y="4564897"/>
                  </a:lnTo>
                  <a:lnTo>
                    <a:pt x="8371850" y="4560858"/>
                  </a:lnTo>
                  <a:lnTo>
                    <a:pt x="8371850" y="4550987"/>
                  </a:lnTo>
                  <a:close/>
                  <a:moveTo>
                    <a:pt x="8136553" y="4546948"/>
                  </a:moveTo>
                  <a:lnTo>
                    <a:pt x="8146464" y="4546948"/>
                  </a:lnTo>
                  <a:lnTo>
                    <a:pt x="8150483" y="4550987"/>
                  </a:lnTo>
                  <a:lnTo>
                    <a:pt x="8150483" y="4560858"/>
                  </a:lnTo>
                  <a:lnTo>
                    <a:pt x="8146464" y="4564897"/>
                  </a:lnTo>
                  <a:lnTo>
                    <a:pt x="8136553" y="4564897"/>
                  </a:lnTo>
                  <a:lnTo>
                    <a:pt x="8132534" y="4560858"/>
                  </a:lnTo>
                  <a:lnTo>
                    <a:pt x="8132534" y="4550987"/>
                  </a:lnTo>
                  <a:close/>
                  <a:moveTo>
                    <a:pt x="7897241" y="4546948"/>
                  </a:moveTo>
                  <a:lnTo>
                    <a:pt x="7907151" y="4546948"/>
                  </a:lnTo>
                  <a:lnTo>
                    <a:pt x="7911170" y="4550987"/>
                  </a:lnTo>
                  <a:lnTo>
                    <a:pt x="7911170" y="4560858"/>
                  </a:lnTo>
                  <a:lnTo>
                    <a:pt x="7907151" y="4564897"/>
                  </a:lnTo>
                  <a:lnTo>
                    <a:pt x="7897241" y="4564897"/>
                  </a:lnTo>
                  <a:lnTo>
                    <a:pt x="7893222" y="4560858"/>
                  </a:lnTo>
                  <a:lnTo>
                    <a:pt x="7893222" y="4550987"/>
                  </a:lnTo>
                  <a:close/>
                  <a:moveTo>
                    <a:pt x="7657926" y="4546948"/>
                  </a:moveTo>
                  <a:lnTo>
                    <a:pt x="7667836" y="4546948"/>
                  </a:lnTo>
                  <a:lnTo>
                    <a:pt x="7671855" y="4550987"/>
                  </a:lnTo>
                  <a:lnTo>
                    <a:pt x="7671855" y="4560858"/>
                  </a:lnTo>
                  <a:lnTo>
                    <a:pt x="7667836" y="4564897"/>
                  </a:lnTo>
                  <a:lnTo>
                    <a:pt x="7657926" y="4564897"/>
                  </a:lnTo>
                  <a:lnTo>
                    <a:pt x="7653906" y="4560858"/>
                  </a:lnTo>
                  <a:lnTo>
                    <a:pt x="7653906" y="4550987"/>
                  </a:lnTo>
                  <a:close/>
                  <a:moveTo>
                    <a:pt x="7418611" y="4546948"/>
                  </a:moveTo>
                  <a:lnTo>
                    <a:pt x="7428521" y="4546948"/>
                  </a:lnTo>
                  <a:lnTo>
                    <a:pt x="7432540" y="4550987"/>
                  </a:lnTo>
                  <a:lnTo>
                    <a:pt x="7432540" y="4560858"/>
                  </a:lnTo>
                  <a:lnTo>
                    <a:pt x="7428521" y="4564897"/>
                  </a:lnTo>
                  <a:lnTo>
                    <a:pt x="7418611" y="4564897"/>
                  </a:lnTo>
                  <a:lnTo>
                    <a:pt x="7414592" y="4560858"/>
                  </a:lnTo>
                  <a:lnTo>
                    <a:pt x="7414592" y="4550987"/>
                  </a:lnTo>
                  <a:close/>
                  <a:moveTo>
                    <a:pt x="7179298" y="4546948"/>
                  </a:moveTo>
                  <a:lnTo>
                    <a:pt x="7189209" y="4546948"/>
                  </a:lnTo>
                  <a:lnTo>
                    <a:pt x="7193228" y="4550987"/>
                  </a:lnTo>
                  <a:lnTo>
                    <a:pt x="7193228" y="4560858"/>
                  </a:lnTo>
                  <a:lnTo>
                    <a:pt x="7189209" y="4564897"/>
                  </a:lnTo>
                  <a:lnTo>
                    <a:pt x="7179298" y="4564897"/>
                  </a:lnTo>
                  <a:lnTo>
                    <a:pt x="7175279" y="4560858"/>
                  </a:lnTo>
                  <a:lnTo>
                    <a:pt x="7175279" y="4550987"/>
                  </a:lnTo>
                  <a:close/>
                  <a:moveTo>
                    <a:pt x="6939983" y="4546948"/>
                  </a:moveTo>
                  <a:lnTo>
                    <a:pt x="6949894" y="4546948"/>
                  </a:lnTo>
                  <a:lnTo>
                    <a:pt x="6953913" y="4550987"/>
                  </a:lnTo>
                  <a:lnTo>
                    <a:pt x="6953913" y="4560858"/>
                  </a:lnTo>
                  <a:lnTo>
                    <a:pt x="6949894" y="4564897"/>
                  </a:lnTo>
                  <a:lnTo>
                    <a:pt x="6939983" y="4564897"/>
                  </a:lnTo>
                  <a:lnTo>
                    <a:pt x="6935964" y="4560858"/>
                  </a:lnTo>
                  <a:lnTo>
                    <a:pt x="6935964" y="4550987"/>
                  </a:lnTo>
                  <a:close/>
                  <a:moveTo>
                    <a:pt x="6700670" y="4546948"/>
                  </a:moveTo>
                  <a:lnTo>
                    <a:pt x="6710581" y="4546948"/>
                  </a:lnTo>
                  <a:lnTo>
                    <a:pt x="6714600" y="4550987"/>
                  </a:lnTo>
                  <a:lnTo>
                    <a:pt x="6714600" y="4560858"/>
                  </a:lnTo>
                  <a:lnTo>
                    <a:pt x="6710581" y="4564897"/>
                  </a:lnTo>
                  <a:lnTo>
                    <a:pt x="6700670" y="4564897"/>
                  </a:lnTo>
                  <a:lnTo>
                    <a:pt x="6696651" y="4560858"/>
                  </a:lnTo>
                  <a:lnTo>
                    <a:pt x="6696651" y="4550987"/>
                  </a:lnTo>
                  <a:close/>
                  <a:moveTo>
                    <a:pt x="6461356" y="4546948"/>
                  </a:moveTo>
                  <a:lnTo>
                    <a:pt x="6471266" y="4546948"/>
                  </a:lnTo>
                  <a:lnTo>
                    <a:pt x="6475285" y="4550987"/>
                  </a:lnTo>
                  <a:lnTo>
                    <a:pt x="6475285" y="4560858"/>
                  </a:lnTo>
                  <a:lnTo>
                    <a:pt x="6471266" y="4564897"/>
                  </a:lnTo>
                  <a:lnTo>
                    <a:pt x="6461356" y="4564897"/>
                  </a:lnTo>
                  <a:lnTo>
                    <a:pt x="6457337" y="4560858"/>
                  </a:lnTo>
                  <a:lnTo>
                    <a:pt x="6457337" y="4550987"/>
                  </a:lnTo>
                  <a:close/>
                  <a:moveTo>
                    <a:pt x="6222042" y="4546948"/>
                  </a:moveTo>
                  <a:lnTo>
                    <a:pt x="6231952" y="4546948"/>
                  </a:lnTo>
                  <a:lnTo>
                    <a:pt x="6235971" y="4550987"/>
                  </a:lnTo>
                  <a:lnTo>
                    <a:pt x="6235971" y="4560858"/>
                  </a:lnTo>
                  <a:lnTo>
                    <a:pt x="6231952" y="4564897"/>
                  </a:lnTo>
                  <a:lnTo>
                    <a:pt x="6222042" y="4564897"/>
                  </a:lnTo>
                  <a:lnTo>
                    <a:pt x="6218023" y="4560858"/>
                  </a:lnTo>
                  <a:lnTo>
                    <a:pt x="6218023" y="4550987"/>
                  </a:lnTo>
                  <a:close/>
                  <a:moveTo>
                    <a:pt x="5982729" y="4546948"/>
                  </a:moveTo>
                  <a:lnTo>
                    <a:pt x="5992639" y="4546948"/>
                  </a:lnTo>
                  <a:lnTo>
                    <a:pt x="5996658" y="4550987"/>
                  </a:lnTo>
                  <a:lnTo>
                    <a:pt x="5996658" y="4560858"/>
                  </a:lnTo>
                  <a:lnTo>
                    <a:pt x="5992639" y="4564897"/>
                  </a:lnTo>
                  <a:lnTo>
                    <a:pt x="5982729" y="4564897"/>
                  </a:lnTo>
                  <a:lnTo>
                    <a:pt x="5978710" y="4560858"/>
                  </a:lnTo>
                  <a:lnTo>
                    <a:pt x="5978710" y="4550987"/>
                  </a:lnTo>
                  <a:close/>
                  <a:moveTo>
                    <a:pt x="5743412" y="4546948"/>
                  </a:moveTo>
                  <a:lnTo>
                    <a:pt x="5753323" y="4546948"/>
                  </a:lnTo>
                  <a:lnTo>
                    <a:pt x="5757342" y="4550987"/>
                  </a:lnTo>
                  <a:lnTo>
                    <a:pt x="5757342" y="4560858"/>
                  </a:lnTo>
                  <a:lnTo>
                    <a:pt x="5753323" y="4564897"/>
                  </a:lnTo>
                  <a:lnTo>
                    <a:pt x="5743412" y="4564897"/>
                  </a:lnTo>
                  <a:lnTo>
                    <a:pt x="5739393" y="4560858"/>
                  </a:lnTo>
                  <a:lnTo>
                    <a:pt x="5739393" y="4550987"/>
                  </a:lnTo>
                  <a:close/>
                  <a:moveTo>
                    <a:pt x="5504099" y="4546948"/>
                  </a:moveTo>
                  <a:lnTo>
                    <a:pt x="5514010" y="4546948"/>
                  </a:lnTo>
                  <a:lnTo>
                    <a:pt x="5518029" y="4550987"/>
                  </a:lnTo>
                  <a:lnTo>
                    <a:pt x="5518029" y="4560858"/>
                  </a:lnTo>
                  <a:lnTo>
                    <a:pt x="5514010" y="4564897"/>
                  </a:lnTo>
                  <a:lnTo>
                    <a:pt x="5504099" y="4564897"/>
                  </a:lnTo>
                  <a:lnTo>
                    <a:pt x="5500080" y="4560858"/>
                  </a:lnTo>
                  <a:lnTo>
                    <a:pt x="5500080" y="4550987"/>
                  </a:lnTo>
                  <a:close/>
                  <a:moveTo>
                    <a:pt x="5264784" y="4546948"/>
                  </a:moveTo>
                  <a:lnTo>
                    <a:pt x="5274694" y="4546948"/>
                  </a:lnTo>
                  <a:lnTo>
                    <a:pt x="5278713" y="4550987"/>
                  </a:lnTo>
                  <a:lnTo>
                    <a:pt x="5278713" y="4560858"/>
                  </a:lnTo>
                  <a:lnTo>
                    <a:pt x="5274694" y="4564897"/>
                  </a:lnTo>
                  <a:lnTo>
                    <a:pt x="5264784" y="4564897"/>
                  </a:lnTo>
                  <a:lnTo>
                    <a:pt x="5260765" y="4560858"/>
                  </a:lnTo>
                  <a:lnTo>
                    <a:pt x="5260765" y="4550987"/>
                  </a:lnTo>
                  <a:close/>
                  <a:moveTo>
                    <a:pt x="5025470" y="4546948"/>
                  </a:moveTo>
                  <a:lnTo>
                    <a:pt x="5035381" y="4546948"/>
                  </a:lnTo>
                  <a:lnTo>
                    <a:pt x="5039400" y="4550987"/>
                  </a:lnTo>
                  <a:lnTo>
                    <a:pt x="5039400" y="4560858"/>
                  </a:lnTo>
                  <a:lnTo>
                    <a:pt x="5035381" y="4564897"/>
                  </a:lnTo>
                  <a:lnTo>
                    <a:pt x="5025470" y="4564897"/>
                  </a:lnTo>
                  <a:lnTo>
                    <a:pt x="5021451" y="4560858"/>
                  </a:lnTo>
                  <a:lnTo>
                    <a:pt x="5021451" y="4550987"/>
                  </a:lnTo>
                  <a:close/>
                  <a:moveTo>
                    <a:pt x="4786241" y="4546948"/>
                  </a:moveTo>
                  <a:lnTo>
                    <a:pt x="4796152" y="4546948"/>
                  </a:lnTo>
                  <a:lnTo>
                    <a:pt x="4800171" y="4550987"/>
                  </a:lnTo>
                  <a:lnTo>
                    <a:pt x="4800171" y="4560858"/>
                  </a:lnTo>
                  <a:lnTo>
                    <a:pt x="4796152" y="4564897"/>
                  </a:lnTo>
                  <a:lnTo>
                    <a:pt x="4786241" y="4564897"/>
                  </a:lnTo>
                  <a:lnTo>
                    <a:pt x="4782224" y="4560858"/>
                  </a:lnTo>
                  <a:lnTo>
                    <a:pt x="4782224" y="4550987"/>
                  </a:lnTo>
                  <a:close/>
                  <a:moveTo>
                    <a:pt x="4546929" y="4546948"/>
                  </a:moveTo>
                  <a:lnTo>
                    <a:pt x="4556840" y="4546948"/>
                  </a:lnTo>
                  <a:lnTo>
                    <a:pt x="4560859" y="4550987"/>
                  </a:lnTo>
                  <a:lnTo>
                    <a:pt x="4560859" y="4560858"/>
                  </a:lnTo>
                  <a:lnTo>
                    <a:pt x="4556840" y="4564897"/>
                  </a:lnTo>
                  <a:lnTo>
                    <a:pt x="4546929" y="4564897"/>
                  </a:lnTo>
                  <a:lnTo>
                    <a:pt x="4542910" y="4560858"/>
                  </a:lnTo>
                  <a:lnTo>
                    <a:pt x="4542910" y="4550987"/>
                  </a:lnTo>
                  <a:close/>
                  <a:moveTo>
                    <a:pt x="4307612" y="4546948"/>
                  </a:moveTo>
                  <a:lnTo>
                    <a:pt x="4317523" y="4546948"/>
                  </a:lnTo>
                  <a:lnTo>
                    <a:pt x="4321543" y="4550987"/>
                  </a:lnTo>
                  <a:lnTo>
                    <a:pt x="4321543" y="4560858"/>
                  </a:lnTo>
                  <a:lnTo>
                    <a:pt x="4317523" y="4564897"/>
                  </a:lnTo>
                  <a:lnTo>
                    <a:pt x="4307612" y="4564897"/>
                  </a:lnTo>
                  <a:lnTo>
                    <a:pt x="4303595" y="4560858"/>
                  </a:lnTo>
                  <a:lnTo>
                    <a:pt x="4303595" y="4550987"/>
                  </a:lnTo>
                  <a:close/>
                  <a:moveTo>
                    <a:pt x="4068297" y="4546948"/>
                  </a:moveTo>
                  <a:lnTo>
                    <a:pt x="4078210" y="4546948"/>
                  </a:lnTo>
                  <a:lnTo>
                    <a:pt x="4082229" y="4550987"/>
                  </a:lnTo>
                  <a:lnTo>
                    <a:pt x="4082229" y="4560858"/>
                  </a:lnTo>
                  <a:lnTo>
                    <a:pt x="4078210" y="4564897"/>
                  </a:lnTo>
                  <a:lnTo>
                    <a:pt x="4068297" y="4564897"/>
                  </a:lnTo>
                  <a:lnTo>
                    <a:pt x="4064278" y="4560858"/>
                  </a:lnTo>
                  <a:lnTo>
                    <a:pt x="4064278" y="4550987"/>
                  </a:lnTo>
                  <a:close/>
                  <a:moveTo>
                    <a:pt x="3828990" y="4546948"/>
                  </a:moveTo>
                  <a:lnTo>
                    <a:pt x="3838899" y="4546948"/>
                  </a:lnTo>
                  <a:lnTo>
                    <a:pt x="3842917" y="4550987"/>
                  </a:lnTo>
                  <a:lnTo>
                    <a:pt x="3842917" y="4560858"/>
                  </a:lnTo>
                  <a:lnTo>
                    <a:pt x="3838899" y="4564897"/>
                  </a:lnTo>
                  <a:lnTo>
                    <a:pt x="3828990" y="4564897"/>
                  </a:lnTo>
                  <a:lnTo>
                    <a:pt x="3824971" y="4560858"/>
                  </a:lnTo>
                  <a:lnTo>
                    <a:pt x="3824971" y="4550987"/>
                  </a:lnTo>
                  <a:close/>
                  <a:moveTo>
                    <a:pt x="3589676" y="4546948"/>
                  </a:moveTo>
                  <a:lnTo>
                    <a:pt x="3599585" y="4546948"/>
                  </a:lnTo>
                  <a:lnTo>
                    <a:pt x="3603604" y="4550987"/>
                  </a:lnTo>
                  <a:lnTo>
                    <a:pt x="3603604" y="4560858"/>
                  </a:lnTo>
                  <a:lnTo>
                    <a:pt x="3599585" y="4564897"/>
                  </a:lnTo>
                  <a:lnTo>
                    <a:pt x="3589676" y="4564897"/>
                  </a:lnTo>
                  <a:lnTo>
                    <a:pt x="3585657" y="4560858"/>
                  </a:lnTo>
                  <a:lnTo>
                    <a:pt x="3585657" y="4550987"/>
                  </a:lnTo>
                  <a:close/>
                  <a:moveTo>
                    <a:pt x="3350359" y="4546948"/>
                  </a:moveTo>
                  <a:lnTo>
                    <a:pt x="3360268" y="4546948"/>
                  </a:lnTo>
                  <a:lnTo>
                    <a:pt x="3364287" y="4550987"/>
                  </a:lnTo>
                  <a:lnTo>
                    <a:pt x="3364287" y="4560858"/>
                  </a:lnTo>
                  <a:lnTo>
                    <a:pt x="3360268" y="4564897"/>
                  </a:lnTo>
                  <a:lnTo>
                    <a:pt x="3350359" y="4564897"/>
                  </a:lnTo>
                  <a:lnTo>
                    <a:pt x="3346340" y="4560858"/>
                  </a:lnTo>
                  <a:lnTo>
                    <a:pt x="3346340" y="4550987"/>
                  </a:lnTo>
                  <a:close/>
                  <a:moveTo>
                    <a:pt x="3111048" y="4546948"/>
                  </a:moveTo>
                  <a:lnTo>
                    <a:pt x="3120959" y="4546948"/>
                  </a:lnTo>
                  <a:lnTo>
                    <a:pt x="3124977" y="4550987"/>
                  </a:lnTo>
                  <a:lnTo>
                    <a:pt x="3124977" y="4560858"/>
                  </a:lnTo>
                  <a:lnTo>
                    <a:pt x="3120959" y="4564897"/>
                  </a:lnTo>
                  <a:lnTo>
                    <a:pt x="3111048" y="4564897"/>
                  </a:lnTo>
                  <a:lnTo>
                    <a:pt x="3107029" y="4560858"/>
                  </a:lnTo>
                  <a:lnTo>
                    <a:pt x="3107029" y="4550987"/>
                  </a:lnTo>
                  <a:close/>
                  <a:moveTo>
                    <a:pt x="2871737" y="4546948"/>
                  </a:moveTo>
                  <a:lnTo>
                    <a:pt x="2881646" y="4546948"/>
                  </a:lnTo>
                  <a:lnTo>
                    <a:pt x="2885666" y="4550987"/>
                  </a:lnTo>
                  <a:lnTo>
                    <a:pt x="2885666" y="4560858"/>
                  </a:lnTo>
                  <a:lnTo>
                    <a:pt x="2881646" y="4564897"/>
                  </a:lnTo>
                  <a:lnTo>
                    <a:pt x="2871737" y="4564897"/>
                  </a:lnTo>
                  <a:lnTo>
                    <a:pt x="2867717" y="4560858"/>
                  </a:lnTo>
                  <a:lnTo>
                    <a:pt x="2867717" y="4550987"/>
                  </a:lnTo>
                  <a:close/>
                  <a:moveTo>
                    <a:pt x="2632423" y="4546948"/>
                  </a:moveTo>
                  <a:lnTo>
                    <a:pt x="2642334" y="4546948"/>
                  </a:lnTo>
                  <a:lnTo>
                    <a:pt x="2646352" y="4550987"/>
                  </a:lnTo>
                  <a:lnTo>
                    <a:pt x="2646352" y="4560858"/>
                  </a:lnTo>
                  <a:lnTo>
                    <a:pt x="2642334" y="4564897"/>
                  </a:lnTo>
                  <a:lnTo>
                    <a:pt x="2632423" y="4564897"/>
                  </a:lnTo>
                  <a:lnTo>
                    <a:pt x="2628404" y="4560858"/>
                  </a:lnTo>
                  <a:lnTo>
                    <a:pt x="2628404" y="4550987"/>
                  </a:lnTo>
                  <a:close/>
                  <a:moveTo>
                    <a:pt x="2393104" y="4546948"/>
                  </a:moveTo>
                  <a:lnTo>
                    <a:pt x="2403015" y="4546948"/>
                  </a:lnTo>
                  <a:lnTo>
                    <a:pt x="2407034" y="4550987"/>
                  </a:lnTo>
                  <a:lnTo>
                    <a:pt x="2407034" y="4560858"/>
                  </a:lnTo>
                  <a:lnTo>
                    <a:pt x="2403015" y="4564897"/>
                  </a:lnTo>
                  <a:lnTo>
                    <a:pt x="2393104" y="4564897"/>
                  </a:lnTo>
                  <a:lnTo>
                    <a:pt x="2389087" y="4560858"/>
                  </a:lnTo>
                  <a:lnTo>
                    <a:pt x="2389087" y="4550987"/>
                  </a:lnTo>
                  <a:close/>
                  <a:moveTo>
                    <a:pt x="721964" y="4546948"/>
                  </a:moveTo>
                  <a:lnTo>
                    <a:pt x="731874" y="4546948"/>
                  </a:lnTo>
                  <a:lnTo>
                    <a:pt x="735893" y="4550987"/>
                  </a:lnTo>
                  <a:lnTo>
                    <a:pt x="735893" y="4560858"/>
                  </a:lnTo>
                  <a:lnTo>
                    <a:pt x="731874" y="4564897"/>
                  </a:lnTo>
                  <a:lnTo>
                    <a:pt x="721964" y="4564897"/>
                  </a:lnTo>
                  <a:lnTo>
                    <a:pt x="717945" y="4560858"/>
                  </a:lnTo>
                  <a:lnTo>
                    <a:pt x="717945" y="4550987"/>
                  </a:lnTo>
                  <a:close/>
                  <a:moveTo>
                    <a:pt x="482651" y="4546948"/>
                  </a:moveTo>
                  <a:lnTo>
                    <a:pt x="492562" y="4546948"/>
                  </a:lnTo>
                  <a:lnTo>
                    <a:pt x="496581" y="4550987"/>
                  </a:lnTo>
                  <a:lnTo>
                    <a:pt x="496581" y="4560858"/>
                  </a:lnTo>
                  <a:lnTo>
                    <a:pt x="492562" y="4564897"/>
                  </a:lnTo>
                  <a:lnTo>
                    <a:pt x="482651" y="4564897"/>
                  </a:lnTo>
                  <a:lnTo>
                    <a:pt x="478632" y="4560858"/>
                  </a:lnTo>
                  <a:lnTo>
                    <a:pt x="478632" y="4550987"/>
                  </a:lnTo>
                  <a:close/>
                  <a:moveTo>
                    <a:pt x="243338" y="4546948"/>
                  </a:moveTo>
                  <a:lnTo>
                    <a:pt x="253248" y="4546948"/>
                  </a:lnTo>
                  <a:lnTo>
                    <a:pt x="257267" y="4550987"/>
                  </a:lnTo>
                  <a:lnTo>
                    <a:pt x="257267" y="4560858"/>
                  </a:lnTo>
                  <a:lnTo>
                    <a:pt x="253248" y="4564897"/>
                  </a:lnTo>
                  <a:lnTo>
                    <a:pt x="243338" y="4564897"/>
                  </a:lnTo>
                  <a:lnTo>
                    <a:pt x="239319" y="4560858"/>
                  </a:lnTo>
                  <a:lnTo>
                    <a:pt x="239319" y="4550987"/>
                  </a:lnTo>
                  <a:close/>
                  <a:moveTo>
                    <a:pt x="4025" y="4546948"/>
                  </a:moveTo>
                  <a:lnTo>
                    <a:pt x="13935" y="4546948"/>
                  </a:lnTo>
                  <a:lnTo>
                    <a:pt x="17954" y="4550987"/>
                  </a:lnTo>
                  <a:lnTo>
                    <a:pt x="17954" y="4560858"/>
                  </a:lnTo>
                  <a:lnTo>
                    <a:pt x="13935" y="4564897"/>
                  </a:lnTo>
                  <a:lnTo>
                    <a:pt x="4025" y="4564897"/>
                  </a:lnTo>
                  <a:lnTo>
                    <a:pt x="6" y="4560858"/>
                  </a:lnTo>
                  <a:lnTo>
                    <a:pt x="6" y="4550987"/>
                  </a:lnTo>
                  <a:close/>
                  <a:moveTo>
                    <a:pt x="2157819" y="4307669"/>
                  </a:moveTo>
                  <a:lnTo>
                    <a:pt x="2167729" y="4307669"/>
                  </a:lnTo>
                  <a:lnTo>
                    <a:pt x="2171749" y="4311708"/>
                  </a:lnTo>
                  <a:lnTo>
                    <a:pt x="2171749" y="4321579"/>
                  </a:lnTo>
                  <a:lnTo>
                    <a:pt x="2167729" y="4325618"/>
                  </a:lnTo>
                  <a:lnTo>
                    <a:pt x="2157819" y="4325618"/>
                  </a:lnTo>
                  <a:lnTo>
                    <a:pt x="2153801" y="4321579"/>
                  </a:lnTo>
                  <a:lnTo>
                    <a:pt x="2153801" y="4311708"/>
                  </a:lnTo>
                  <a:close/>
                  <a:moveTo>
                    <a:pt x="1918511" y="4307669"/>
                  </a:moveTo>
                  <a:lnTo>
                    <a:pt x="1928421" y="4307669"/>
                  </a:lnTo>
                  <a:lnTo>
                    <a:pt x="1932440" y="4311708"/>
                  </a:lnTo>
                  <a:lnTo>
                    <a:pt x="1932440" y="4321579"/>
                  </a:lnTo>
                  <a:lnTo>
                    <a:pt x="1928421" y="4325618"/>
                  </a:lnTo>
                  <a:lnTo>
                    <a:pt x="1918511" y="4325618"/>
                  </a:lnTo>
                  <a:lnTo>
                    <a:pt x="1914492" y="4321579"/>
                  </a:lnTo>
                  <a:lnTo>
                    <a:pt x="1914492" y="4311708"/>
                  </a:lnTo>
                  <a:close/>
                  <a:moveTo>
                    <a:pt x="1679206" y="4307669"/>
                  </a:moveTo>
                  <a:lnTo>
                    <a:pt x="1689117" y="4307669"/>
                  </a:lnTo>
                  <a:lnTo>
                    <a:pt x="1693136" y="4311708"/>
                  </a:lnTo>
                  <a:lnTo>
                    <a:pt x="1693136" y="4321579"/>
                  </a:lnTo>
                  <a:lnTo>
                    <a:pt x="1689117" y="4325618"/>
                  </a:lnTo>
                  <a:lnTo>
                    <a:pt x="1679206" y="4325618"/>
                  </a:lnTo>
                  <a:lnTo>
                    <a:pt x="1675188" y="4321579"/>
                  </a:lnTo>
                  <a:lnTo>
                    <a:pt x="1675188" y="4311708"/>
                  </a:lnTo>
                  <a:close/>
                  <a:moveTo>
                    <a:pt x="1439891" y="4307669"/>
                  </a:moveTo>
                  <a:lnTo>
                    <a:pt x="1449801" y="4307669"/>
                  </a:lnTo>
                  <a:lnTo>
                    <a:pt x="1453819" y="4311708"/>
                  </a:lnTo>
                  <a:lnTo>
                    <a:pt x="1453819" y="4321579"/>
                  </a:lnTo>
                  <a:lnTo>
                    <a:pt x="1449801" y="4325618"/>
                  </a:lnTo>
                  <a:lnTo>
                    <a:pt x="1439891" y="4325618"/>
                  </a:lnTo>
                  <a:lnTo>
                    <a:pt x="1435871" y="4321579"/>
                  </a:lnTo>
                  <a:lnTo>
                    <a:pt x="1435871" y="4311708"/>
                  </a:lnTo>
                  <a:close/>
                  <a:moveTo>
                    <a:pt x="1200575" y="4307669"/>
                  </a:moveTo>
                  <a:lnTo>
                    <a:pt x="1210486" y="4307669"/>
                  </a:lnTo>
                  <a:lnTo>
                    <a:pt x="1214505" y="4311708"/>
                  </a:lnTo>
                  <a:lnTo>
                    <a:pt x="1214505" y="4321579"/>
                  </a:lnTo>
                  <a:lnTo>
                    <a:pt x="1210486" y="4325618"/>
                  </a:lnTo>
                  <a:lnTo>
                    <a:pt x="1200575" y="4325618"/>
                  </a:lnTo>
                  <a:lnTo>
                    <a:pt x="1196556" y="4321579"/>
                  </a:lnTo>
                  <a:lnTo>
                    <a:pt x="1196556" y="4311708"/>
                  </a:lnTo>
                  <a:close/>
                  <a:moveTo>
                    <a:pt x="961263" y="4307669"/>
                  </a:moveTo>
                  <a:lnTo>
                    <a:pt x="971173" y="4307669"/>
                  </a:lnTo>
                  <a:lnTo>
                    <a:pt x="975191" y="4311708"/>
                  </a:lnTo>
                  <a:lnTo>
                    <a:pt x="975191" y="4321579"/>
                  </a:lnTo>
                  <a:lnTo>
                    <a:pt x="971173" y="4325618"/>
                  </a:lnTo>
                  <a:lnTo>
                    <a:pt x="961263" y="4325618"/>
                  </a:lnTo>
                  <a:lnTo>
                    <a:pt x="957244" y="4321579"/>
                  </a:lnTo>
                  <a:lnTo>
                    <a:pt x="957244" y="4311708"/>
                  </a:lnTo>
                  <a:close/>
                  <a:moveTo>
                    <a:pt x="9572438" y="4307617"/>
                  </a:moveTo>
                  <a:lnTo>
                    <a:pt x="9582349" y="4307617"/>
                  </a:lnTo>
                  <a:lnTo>
                    <a:pt x="9586368" y="4311656"/>
                  </a:lnTo>
                  <a:lnTo>
                    <a:pt x="9586368" y="4321527"/>
                  </a:lnTo>
                  <a:lnTo>
                    <a:pt x="9582349" y="4325566"/>
                  </a:lnTo>
                  <a:lnTo>
                    <a:pt x="9572438" y="4325566"/>
                  </a:lnTo>
                  <a:lnTo>
                    <a:pt x="9568419" y="4321527"/>
                  </a:lnTo>
                  <a:lnTo>
                    <a:pt x="9568419" y="4311656"/>
                  </a:lnTo>
                  <a:close/>
                  <a:moveTo>
                    <a:pt x="9333125" y="4307617"/>
                  </a:moveTo>
                  <a:lnTo>
                    <a:pt x="9343036" y="4307617"/>
                  </a:lnTo>
                  <a:lnTo>
                    <a:pt x="9347055" y="4311656"/>
                  </a:lnTo>
                  <a:lnTo>
                    <a:pt x="9347055" y="4321527"/>
                  </a:lnTo>
                  <a:lnTo>
                    <a:pt x="9343036" y="4325566"/>
                  </a:lnTo>
                  <a:lnTo>
                    <a:pt x="9333125" y="4325566"/>
                  </a:lnTo>
                  <a:lnTo>
                    <a:pt x="9329106" y="4321527"/>
                  </a:lnTo>
                  <a:lnTo>
                    <a:pt x="9329106" y="4311656"/>
                  </a:lnTo>
                  <a:close/>
                  <a:moveTo>
                    <a:pt x="9093811" y="4307617"/>
                  </a:moveTo>
                  <a:lnTo>
                    <a:pt x="9103722" y="4307617"/>
                  </a:lnTo>
                  <a:lnTo>
                    <a:pt x="9107741" y="4311656"/>
                  </a:lnTo>
                  <a:lnTo>
                    <a:pt x="9107741" y="4321527"/>
                  </a:lnTo>
                  <a:lnTo>
                    <a:pt x="9103722" y="4325566"/>
                  </a:lnTo>
                  <a:lnTo>
                    <a:pt x="9093811" y="4325566"/>
                  </a:lnTo>
                  <a:lnTo>
                    <a:pt x="9089792" y="4321527"/>
                  </a:lnTo>
                  <a:lnTo>
                    <a:pt x="9089792" y="4311656"/>
                  </a:lnTo>
                  <a:close/>
                  <a:moveTo>
                    <a:pt x="8854496" y="4307617"/>
                  </a:moveTo>
                  <a:lnTo>
                    <a:pt x="8864407" y="4307617"/>
                  </a:lnTo>
                  <a:lnTo>
                    <a:pt x="8868426" y="4311656"/>
                  </a:lnTo>
                  <a:lnTo>
                    <a:pt x="8868426" y="4321527"/>
                  </a:lnTo>
                  <a:lnTo>
                    <a:pt x="8864407" y="4325566"/>
                  </a:lnTo>
                  <a:lnTo>
                    <a:pt x="8854496" y="4325566"/>
                  </a:lnTo>
                  <a:lnTo>
                    <a:pt x="8850477" y="4321527"/>
                  </a:lnTo>
                  <a:lnTo>
                    <a:pt x="8850477" y="4311656"/>
                  </a:lnTo>
                  <a:close/>
                  <a:moveTo>
                    <a:pt x="8615184" y="4307617"/>
                  </a:moveTo>
                  <a:lnTo>
                    <a:pt x="8625095" y="4307617"/>
                  </a:lnTo>
                  <a:lnTo>
                    <a:pt x="8629114" y="4311656"/>
                  </a:lnTo>
                  <a:lnTo>
                    <a:pt x="8629114" y="4321527"/>
                  </a:lnTo>
                  <a:lnTo>
                    <a:pt x="8625095" y="4325566"/>
                  </a:lnTo>
                  <a:lnTo>
                    <a:pt x="8615184" y="4325566"/>
                  </a:lnTo>
                  <a:lnTo>
                    <a:pt x="8611165" y="4321527"/>
                  </a:lnTo>
                  <a:lnTo>
                    <a:pt x="8611165" y="4311656"/>
                  </a:lnTo>
                  <a:close/>
                  <a:moveTo>
                    <a:pt x="8375869" y="4307617"/>
                  </a:moveTo>
                  <a:lnTo>
                    <a:pt x="8385779" y="4307617"/>
                  </a:lnTo>
                  <a:lnTo>
                    <a:pt x="8389799" y="4311656"/>
                  </a:lnTo>
                  <a:lnTo>
                    <a:pt x="8389799" y="4321527"/>
                  </a:lnTo>
                  <a:lnTo>
                    <a:pt x="8385779" y="4325566"/>
                  </a:lnTo>
                  <a:lnTo>
                    <a:pt x="8375869" y="4325566"/>
                  </a:lnTo>
                  <a:lnTo>
                    <a:pt x="8371850" y="4321527"/>
                  </a:lnTo>
                  <a:lnTo>
                    <a:pt x="8371850" y="4311656"/>
                  </a:lnTo>
                  <a:close/>
                  <a:moveTo>
                    <a:pt x="8136553" y="4307617"/>
                  </a:moveTo>
                  <a:lnTo>
                    <a:pt x="8146464" y="4307617"/>
                  </a:lnTo>
                  <a:lnTo>
                    <a:pt x="8150483" y="4311656"/>
                  </a:lnTo>
                  <a:lnTo>
                    <a:pt x="8150483" y="4321527"/>
                  </a:lnTo>
                  <a:lnTo>
                    <a:pt x="8146464" y="4325566"/>
                  </a:lnTo>
                  <a:lnTo>
                    <a:pt x="8136553" y="4325566"/>
                  </a:lnTo>
                  <a:lnTo>
                    <a:pt x="8132534" y="4321527"/>
                  </a:lnTo>
                  <a:lnTo>
                    <a:pt x="8132534" y="4311656"/>
                  </a:lnTo>
                  <a:close/>
                  <a:moveTo>
                    <a:pt x="7897241" y="4307617"/>
                  </a:moveTo>
                  <a:lnTo>
                    <a:pt x="7907151" y="4307617"/>
                  </a:lnTo>
                  <a:lnTo>
                    <a:pt x="7911170" y="4311656"/>
                  </a:lnTo>
                  <a:lnTo>
                    <a:pt x="7911170" y="4321527"/>
                  </a:lnTo>
                  <a:lnTo>
                    <a:pt x="7907151" y="4325566"/>
                  </a:lnTo>
                  <a:lnTo>
                    <a:pt x="7897241" y="4325566"/>
                  </a:lnTo>
                  <a:lnTo>
                    <a:pt x="7893222" y="4321527"/>
                  </a:lnTo>
                  <a:lnTo>
                    <a:pt x="7893222" y="4311656"/>
                  </a:lnTo>
                  <a:close/>
                  <a:moveTo>
                    <a:pt x="7657926" y="4307617"/>
                  </a:moveTo>
                  <a:lnTo>
                    <a:pt x="7667836" y="4307617"/>
                  </a:lnTo>
                  <a:lnTo>
                    <a:pt x="7671855" y="4311656"/>
                  </a:lnTo>
                  <a:lnTo>
                    <a:pt x="7671855" y="4321527"/>
                  </a:lnTo>
                  <a:lnTo>
                    <a:pt x="7667836" y="4325566"/>
                  </a:lnTo>
                  <a:lnTo>
                    <a:pt x="7657926" y="4325566"/>
                  </a:lnTo>
                  <a:lnTo>
                    <a:pt x="7653906" y="4321527"/>
                  </a:lnTo>
                  <a:lnTo>
                    <a:pt x="7653906" y="4311656"/>
                  </a:lnTo>
                  <a:close/>
                  <a:moveTo>
                    <a:pt x="7418611" y="4307617"/>
                  </a:moveTo>
                  <a:lnTo>
                    <a:pt x="7428521" y="4307617"/>
                  </a:lnTo>
                  <a:lnTo>
                    <a:pt x="7432540" y="4311656"/>
                  </a:lnTo>
                  <a:lnTo>
                    <a:pt x="7432540" y="4321527"/>
                  </a:lnTo>
                  <a:lnTo>
                    <a:pt x="7428521" y="4325566"/>
                  </a:lnTo>
                  <a:lnTo>
                    <a:pt x="7418611" y="4325566"/>
                  </a:lnTo>
                  <a:lnTo>
                    <a:pt x="7414592" y="4321527"/>
                  </a:lnTo>
                  <a:lnTo>
                    <a:pt x="7414592" y="4311656"/>
                  </a:lnTo>
                  <a:close/>
                  <a:moveTo>
                    <a:pt x="7179298" y="4307617"/>
                  </a:moveTo>
                  <a:lnTo>
                    <a:pt x="7189209" y="4307617"/>
                  </a:lnTo>
                  <a:lnTo>
                    <a:pt x="7193228" y="4311656"/>
                  </a:lnTo>
                  <a:lnTo>
                    <a:pt x="7193228" y="4321527"/>
                  </a:lnTo>
                  <a:lnTo>
                    <a:pt x="7189209" y="4325566"/>
                  </a:lnTo>
                  <a:lnTo>
                    <a:pt x="7179298" y="4325566"/>
                  </a:lnTo>
                  <a:lnTo>
                    <a:pt x="7175279" y="4321527"/>
                  </a:lnTo>
                  <a:lnTo>
                    <a:pt x="7175279" y="4311656"/>
                  </a:lnTo>
                  <a:close/>
                  <a:moveTo>
                    <a:pt x="6939983" y="4307617"/>
                  </a:moveTo>
                  <a:lnTo>
                    <a:pt x="6949894" y="4307617"/>
                  </a:lnTo>
                  <a:lnTo>
                    <a:pt x="6953913" y="4311656"/>
                  </a:lnTo>
                  <a:lnTo>
                    <a:pt x="6953913" y="4321527"/>
                  </a:lnTo>
                  <a:lnTo>
                    <a:pt x="6949894" y="4325566"/>
                  </a:lnTo>
                  <a:lnTo>
                    <a:pt x="6939983" y="4325566"/>
                  </a:lnTo>
                  <a:lnTo>
                    <a:pt x="6935964" y="4321527"/>
                  </a:lnTo>
                  <a:lnTo>
                    <a:pt x="6935964" y="4311656"/>
                  </a:lnTo>
                  <a:close/>
                  <a:moveTo>
                    <a:pt x="6700670" y="4307617"/>
                  </a:moveTo>
                  <a:lnTo>
                    <a:pt x="6710581" y="4307617"/>
                  </a:lnTo>
                  <a:lnTo>
                    <a:pt x="6714600" y="4311656"/>
                  </a:lnTo>
                  <a:lnTo>
                    <a:pt x="6714600" y="4321527"/>
                  </a:lnTo>
                  <a:lnTo>
                    <a:pt x="6710581" y="4325566"/>
                  </a:lnTo>
                  <a:lnTo>
                    <a:pt x="6700670" y="4325566"/>
                  </a:lnTo>
                  <a:lnTo>
                    <a:pt x="6696651" y="4321527"/>
                  </a:lnTo>
                  <a:lnTo>
                    <a:pt x="6696651" y="4311656"/>
                  </a:lnTo>
                  <a:close/>
                  <a:moveTo>
                    <a:pt x="6461356" y="4307617"/>
                  </a:moveTo>
                  <a:lnTo>
                    <a:pt x="6471266" y="4307617"/>
                  </a:lnTo>
                  <a:lnTo>
                    <a:pt x="6475285" y="4311656"/>
                  </a:lnTo>
                  <a:lnTo>
                    <a:pt x="6475285" y="4321527"/>
                  </a:lnTo>
                  <a:lnTo>
                    <a:pt x="6471266" y="4325566"/>
                  </a:lnTo>
                  <a:lnTo>
                    <a:pt x="6461356" y="4325566"/>
                  </a:lnTo>
                  <a:lnTo>
                    <a:pt x="6457337" y="4321527"/>
                  </a:lnTo>
                  <a:lnTo>
                    <a:pt x="6457337" y="4311656"/>
                  </a:lnTo>
                  <a:close/>
                  <a:moveTo>
                    <a:pt x="6222042" y="4307617"/>
                  </a:moveTo>
                  <a:lnTo>
                    <a:pt x="6231952" y="4307617"/>
                  </a:lnTo>
                  <a:lnTo>
                    <a:pt x="6235971" y="4311656"/>
                  </a:lnTo>
                  <a:lnTo>
                    <a:pt x="6235971" y="4321527"/>
                  </a:lnTo>
                  <a:lnTo>
                    <a:pt x="6231952" y="4325566"/>
                  </a:lnTo>
                  <a:lnTo>
                    <a:pt x="6222042" y="4325566"/>
                  </a:lnTo>
                  <a:lnTo>
                    <a:pt x="6218023" y="4321527"/>
                  </a:lnTo>
                  <a:lnTo>
                    <a:pt x="6218023" y="4311656"/>
                  </a:lnTo>
                  <a:close/>
                  <a:moveTo>
                    <a:pt x="5982729" y="4307617"/>
                  </a:moveTo>
                  <a:lnTo>
                    <a:pt x="5992639" y="4307617"/>
                  </a:lnTo>
                  <a:lnTo>
                    <a:pt x="5996658" y="4311656"/>
                  </a:lnTo>
                  <a:lnTo>
                    <a:pt x="5996658" y="4321527"/>
                  </a:lnTo>
                  <a:lnTo>
                    <a:pt x="5992639" y="4325566"/>
                  </a:lnTo>
                  <a:lnTo>
                    <a:pt x="5982729" y="4325566"/>
                  </a:lnTo>
                  <a:lnTo>
                    <a:pt x="5978710" y="4321527"/>
                  </a:lnTo>
                  <a:lnTo>
                    <a:pt x="5978710" y="4311656"/>
                  </a:lnTo>
                  <a:close/>
                  <a:moveTo>
                    <a:pt x="5743412" y="4307617"/>
                  </a:moveTo>
                  <a:lnTo>
                    <a:pt x="5753323" y="4307617"/>
                  </a:lnTo>
                  <a:lnTo>
                    <a:pt x="5757342" y="4311656"/>
                  </a:lnTo>
                  <a:lnTo>
                    <a:pt x="5757342" y="4321527"/>
                  </a:lnTo>
                  <a:lnTo>
                    <a:pt x="5753323" y="4325566"/>
                  </a:lnTo>
                  <a:lnTo>
                    <a:pt x="5743412" y="4325566"/>
                  </a:lnTo>
                  <a:lnTo>
                    <a:pt x="5739393" y="4321527"/>
                  </a:lnTo>
                  <a:lnTo>
                    <a:pt x="5739393" y="4311656"/>
                  </a:lnTo>
                  <a:close/>
                  <a:moveTo>
                    <a:pt x="5504099" y="4307617"/>
                  </a:moveTo>
                  <a:lnTo>
                    <a:pt x="5514010" y="4307617"/>
                  </a:lnTo>
                  <a:lnTo>
                    <a:pt x="5518029" y="4311656"/>
                  </a:lnTo>
                  <a:lnTo>
                    <a:pt x="5518029" y="4321527"/>
                  </a:lnTo>
                  <a:lnTo>
                    <a:pt x="5514010" y="4325566"/>
                  </a:lnTo>
                  <a:lnTo>
                    <a:pt x="5504099" y="4325566"/>
                  </a:lnTo>
                  <a:lnTo>
                    <a:pt x="5500080" y="4321527"/>
                  </a:lnTo>
                  <a:lnTo>
                    <a:pt x="5500080" y="4311656"/>
                  </a:lnTo>
                  <a:close/>
                  <a:moveTo>
                    <a:pt x="5264784" y="4307617"/>
                  </a:moveTo>
                  <a:lnTo>
                    <a:pt x="5274694" y="4307617"/>
                  </a:lnTo>
                  <a:lnTo>
                    <a:pt x="5278713" y="4311656"/>
                  </a:lnTo>
                  <a:lnTo>
                    <a:pt x="5278713" y="4321527"/>
                  </a:lnTo>
                  <a:lnTo>
                    <a:pt x="5274694" y="4325566"/>
                  </a:lnTo>
                  <a:lnTo>
                    <a:pt x="5264784" y="4325566"/>
                  </a:lnTo>
                  <a:lnTo>
                    <a:pt x="5260765" y="4321527"/>
                  </a:lnTo>
                  <a:lnTo>
                    <a:pt x="5260765" y="4311656"/>
                  </a:lnTo>
                  <a:close/>
                  <a:moveTo>
                    <a:pt x="5025470" y="4307617"/>
                  </a:moveTo>
                  <a:lnTo>
                    <a:pt x="5035381" y="4307617"/>
                  </a:lnTo>
                  <a:lnTo>
                    <a:pt x="5039400" y="4311656"/>
                  </a:lnTo>
                  <a:lnTo>
                    <a:pt x="5039400" y="4321527"/>
                  </a:lnTo>
                  <a:lnTo>
                    <a:pt x="5035381" y="4325566"/>
                  </a:lnTo>
                  <a:lnTo>
                    <a:pt x="5025470" y="4325566"/>
                  </a:lnTo>
                  <a:lnTo>
                    <a:pt x="5021451" y="4321527"/>
                  </a:lnTo>
                  <a:lnTo>
                    <a:pt x="5021451" y="4311656"/>
                  </a:lnTo>
                  <a:close/>
                  <a:moveTo>
                    <a:pt x="4786241" y="4307617"/>
                  </a:moveTo>
                  <a:lnTo>
                    <a:pt x="4796152" y="4307617"/>
                  </a:lnTo>
                  <a:lnTo>
                    <a:pt x="4800171" y="4311656"/>
                  </a:lnTo>
                  <a:lnTo>
                    <a:pt x="4800171" y="4321527"/>
                  </a:lnTo>
                  <a:lnTo>
                    <a:pt x="4796152" y="4325566"/>
                  </a:lnTo>
                  <a:lnTo>
                    <a:pt x="4786241" y="4325566"/>
                  </a:lnTo>
                  <a:lnTo>
                    <a:pt x="4782224" y="4321527"/>
                  </a:lnTo>
                  <a:lnTo>
                    <a:pt x="4782224" y="4311656"/>
                  </a:lnTo>
                  <a:close/>
                  <a:moveTo>
                    <a:pt x="4546929" y="4307617"/>
                  </a:moveTo>
                  <a:lnTo>
                    <a:pt x="4556840" y="4307617"/>
                  </a:lnTo>
                  <a:lnTo>
                    <a:pt x="4560859" y="4311656"/>
                  </a:lnTo>
                  <a:lnTo>
                    <a:pt x="4560859" y="4321527"/>
                  </a:lnTo>
                  <a:lnTo>
                    <a:pt x="4556840" y="4325566"/>
                  </a:lnTo>
                  <a:lnTo>
                    <a:pt x="4546929" y="4325566"/>
                  </a:lnTo>
                  <a:lnTo>
                    <a:pt x="4542910" y="4321527"/>
                  </a:lnTo>
                  <a:lnTo>
                    <a:pt x="4542910" y="4311656"/>
                  </a:lnTo>
                  <a:close/>
                  <a:moveTo>
                    <a:pt x="4307612" y="4307617"/>
                  </a:moveTo>
                  <a:lnTo>
                    <a:pt x="4317523" y="4307617"/>
                  </a:lnTo>
                  <a:lnTo>
                    <a:pt x="4321543" y="4311656"/>
                  </a:lnTo>
                  <a:lnTo>
                    <a:pt x="4321543" y="4321527"/>
                  </a:lnTo>
                  <a:lnTo>
                    <a:pt x="4317523" y="4325566"/>
                  </a:lnTo>
                  <a:lnTo>
                    <a:pt x="4307612" y="4325566"/>
                  </a:lnTo>
                  <a:lnTo>
                    <a:pt x="4303595" y="4321527"/>
                  </a:lnTo>
                  <a:lnTo>
                    <a:pt x="4303595" y="4311656"/>
                  </a:lnTo>
                  <a:close/>
                  <a:moveTo>
                    <a:pt x="4068297" y="4307617"/>
                  </a:moveTo>
                  <a:lnTo>
                    <a:pt x="4078210" y="4307617"/>
                  </a:lnTo>
                  <a:lnTo>
                    <a:pt x="4082229" y="4311656"/>
                  </a:lnTo>
                  <a:lnTo>
                    <a:pt x="4082229" y="4321527"/>
                  </a:lnTo>
                  <a:lnTo>
                    <a:pt x="4078210" y="4325566"/>
                  </a:lnTo>
                  <a:lnTo>
                    <a:pt x="4068297" y="4325566"/>
                  </a:lnTo>
                  <a:lnTo>
                    <a:pt x="4064278" y="4321527"/>
                  </a:lnTo>
                  <a:lnTo>
                    <a:pt x="4064278" y="4311656"/>
                  </a:lnTo>
                  <a:close/>
                  <a:moveTo>
                    <a:pt x="3828990" y="4307617"/>
                  </a:moveTo>
                  <a:lnTo>
                    <a:pt x="3838899" y="4307617"/>
                  </a:lnTo>
                  <a:lnTo>
                    <a:pt x="3842917" y="4311656"/>
                  </a:lnTo>
                  <a:lnTo>
                    <a:pt x="3842917" y="4321527"/>
                  </a:lnTo>
                  <a:lnTo>
                    <a:pt x="3838899" y="4325566"/>
                  </a:lnTo>
                  <a:lnTo>
                    <a:pt x="3828990" y="4325566"/>
                  </a:lnTo>
                  <a:lnTo>
                    <a:pt x="3824971" y="4321527"/>
                  </a:lnTo>
                  <a:lnTo>
                    <a:pt x="3824971" y="4311656"/>
                  </a:lnTo>
                  <a:close/>
                  <a:moveTo>
                    <a:pt x="3589676" y="4307617"/>
                  </a:moveTo>
                  <a:lnTo>
                    <a:pt x="3599585" y="4307617"/>
                  </a:lnTo>
                  <a:lnTo>
                    <a:pt x="3603604" y="4311656"/>
                  </a:lnTo>
                  <a:lnTo>
                    <a:pt x="3603604" y="4321527"/>
                  </a:lnTo>
                  <a:lnTo>
                    <a:pt x="3599585" y="4325566"/>
                  </a:lnTo>
                  <a:lnTo>
                    <a:pt x="3589676" y="4325566"/>
                  </a:lnTo>
                  <a:lnTo>
                    <a:pt x="3585657" y="4321527"/>
                  </a:lnTo>
                  <a:lnTo>
                    <a:pt x="3585657" y="4311656"/>
                  </a:lnTo>
                  <a:close/>
                  <a:moveTo>
                    <a:pt x="3350359" y="4307617"/>
                  </a:moveTo>
                  <a:lnTo>
                    <a:pt x="3360268" y="4307617"/>
                  </a:lnTo>
                  <a:lnTo>
                    <a:pt x="3364287" y="4311656"/>
                  </a:lnTo>
                  <a:lnTo>
                    <a:pt x="3364287" y="4321527"/>
                  </a:lnTo>
                  <a:lnTo>
                    <a:pt x="3360268" y="4325566"/>
                  </a:lnTo>
                  <a:lnTo>
                    <a:pt x="3350359" y="4325566"/>
                  </a:lnTo>
                  <a:lnTo>
                    <a:pt x="3346340" y="4321527"/>
                  </a:lnTo>
                  <a:lnTo>
                    <a:pt x="3346340" y="4311656"/>
                  </a:lnTo>
                  <a:close/>
                  <a:moveTo>
                    <a:pt x="3111048" y="4307617"/>
                  </a:moveTo>
                  <a:lnTo>
                    <a:pt x="3120959" y="4307617"/>
                  </a:lnTo>
                  <a:lnTo>
                    <a:pt x="3124977" y="4311656"/>
                  </a:lnTo>
                  <a:lnTo>
                    <a:pt x="3124977" y="4321527"/>
                  </a:lnTo>
                  <a:lnTo>
                    <a:pt x="3120959" y="4325566"/>
                  </a:lnTo>
                  <a:lnTo>
                    <a:pt x="3111048" y="4325566"/>
                  </a:lnTo>
                  <a:lnTo>
                    <a:pt x="3107029" y="4321527"/>
                  </a:lnTo>
                  <a:lnTo>
                    <a:pt x="3107029" y="4311656"/>
                  </a:lnTo>
                  <a:close/>
                  <a:moveTo>
                    <a:pt x="2871737" y="4307617"/>
                  </a:moveTo>
                  <a:lnTo>
                    <a:pt x="2881646" y="4307617"/>
                  </a:lnTo>
                  <a:lnTo>
                    <a:pt x="2885666" y="4311656"/>
                  </a:lnTo>
                  <a:lnTo>
                    <a:pt x="2885666" y="4321527"/>
                  </a:lnTo>
                  <a:lnTo>
                    <a:pt x="2881646" y="4325566"/>
                  </a:lnTo>
                  <a:lnTo>
                    <a:pt x="2871737" y="4325566"/>
                  </a:lnTo>
                  <a:lnTo>
                    <a:pt x="2867717" y="4321527"/>
                  </a:lnTo>
                  <a:lnTo>
                    <a:pt x="2867717" y="4311656"/>
                  </a:lnTo>
                  <a:close/>
                  <a:moveTo>
                    <a:pt x="2632423" y="4307617"/>
                  </a:moveTo>
                  <a:lnTo>
                    <a:pt x="2642334" y="4307617"/>
                  </a:lnTo>
                  <a:lnTo>
                    <a:pt x="2646352" y="4311656"/>
                  </a:lnTo>
                  <a:lnTo>
                    <a:pt x="2646352" y="4321527"/>
                  </a:lnTo>
                  <a:lnTo>
                    <a:pt x="2642334" y="4325566"/>
                  </a:lnTo>
                  <a:lnTo>
                    <a:pt x="2632423" y="4325566"/>
                  </a:lnTo>
                  <a:lnTo>
                    <a:pt x="2628404" y="4321527"/>
                  </a:lnTo>
                  <a:lnTo>
                    <a:pt x="2628404" y="4311656"/>
                  </a:lnTo>
                  <a:close/>
                  <a:moveTo>
                    <a:pt x="2393104" y="4307617"/>
                  </a:moveTo>
                  <a:lnTo>
                    <a:pt x="2403015" y="4307617"/>
                  </a:lnTo>
                  <a:lnTo>
                    <a:pt x="2407034" y="4311656"/>
                  </a:lnTo>
                  <a:lnTo>
                    <a:pt x="2407034" y="4321527"/>
                  </a:lnTo>
                  <a:lnTo>
                    <a:pt x="2403015" y="4325566"/>
                  </a:lnTo>
                  <a:lnTo>
                    <a:pt x="2393104" y="4325566"/>
                  </a:lnTo>
                  <a:lnTo>
                    <a:pt x="2389087" y="4321527"/>
                  </a:lnTo>
                  <a:lnTo>
                    <a:pt x="2389087" y="4311656"/>
                  </a:lnTo>
                  <a:close/>
                  <a:moveTo>
                    <a:pt x="721965" y="4307617"/>
                  </a:moveTo>
                  <a:lnTo>
                    <a:pt x="731874" y="4307617"/>
                  </a:lnTo>
                  <a:lnTo>
                    <a:pt x="735893" y="4311656"/>
                  </a:lnTo>
                  <a:lnTo>
                    <a:pt x="735893" y="4321527"/>
                  </a:lnTo>
                  <a:lnTo>
                    <a:pt x="731874" y="4325566"/>
                  </a:lnTo>
                  <a:lnTo>
                    <a:pt x="721965" y="4325566"/>
                  </a:lnTo>
                  <a:lnTo>
                    <a:pt x="717945" y="4321527"/>
                  </a:lnTo>
                  <a:lnTo>
                    <a:pt x="717945" y="4311656"/>
                  </a:lnTo>
                  <a:close/>
                  <a:moveTo>
                    <a:pt x="482652" y="4307617"/>
                  </a:moveTo>
                  <a:lnTo>
                    <a:pt x="492562" y="4307617"/>
                  </a:lnTo>
                  <a:lnTo>
                    <a:pt x="496581" y="4311656"/>
                  </a:lnTo>
                  <a:lnTo>
                    <a:pt x="496581" y="4321527"/>
                  </a:lnTo>
                  <a:lnTo>
                    <a:pt x="492562" y="4325566"/>
                  </a:lnTo>
                  <a:lnTo>
                    <a:pt x="482652" y="4325566"/>
                  </a:lnTo>
                  <a:lnTo>
                    <a:pt x="478633" y="4321527"/>
                  </a:lnTo>
                  <a:lnTo>
                    <a:pt x="478633" y="4311656"/>
                  </a:lnTo>
                  <a:close/>
                  <a:moveTo>
                    <a:pt x="243339" y="4307617"/>
                  </a:moveTo>
                  <a:lnTo>
                    <a:pt x="253249" y="4307617"/>
                  </a:lnTo>
                  <a:lnTo>
                    <a:pt x="257268" y="4311656"/>
                  </a:lnTo>
                  <a:lnTo>
                    <a:pt x="257268" y="4321527"/>
                  </a:lnTo>
                  <a:lnTo>
                    <a:pt x="253249" y="4325566"/>
                  </a:lnTo>
                  <a:lnTo>
                    <a:pt x="243339" y="4325566"/>
                  </a:lnTo>
                  <a:lnTo>
                    <a:pt x="239320" y="4321527"/>
                  </a:lnTo>
                  <a:lnTo>
                    <a:pt x="239320" y="4311656"/>
                  </a:lnTo>
                  <a:close/>
                  <a:moveTo>
                    <a:pt x="4025" y="4307617"/>
                  </a:moveTo>
                  <a:lnTo>
                    <a:pt x="13936" y="4307617"/>
                  </a:lnTo>
                  <a:lnTo>
                    <a:pt x="17955" y="4311656"/>
                  </a:lnTo>
                  <a:lnTo>
                    <a:pt x="17955" y="4321527"/>
                  </a:lnTo>
                  <a:lnTo>
                    <a:pt x="13936" y="4325566"/>
                  </a:lnTo>
                  <a:lnTo>
                    <a:pt x="4025" y="4325566"/>
                  </a:lnTo>
                  <a:lnTo>
                    <a:pt x="7" y="4321527"/>
                  </a:lnTo>
                  <a:lnTo>
                    <a:pt x="7" y="4311656"/>
                  </a:lnTo>
                  <a:close/>
                  <a:moveTo>
                    <a:pt x="9572438" y="4068339"/>
                  </a:moveTo>
                  <a:lnTo>
                    <a:pt x="9582349" y="4068339"/>
                  </a:lnTo>
                  <a:lnTo>
                    <a:pt x="9586368" y="4072377"/>
                  </a:lnTo>
                  <a:lnTo>
                    <a:pt x="9586368" y="4082248"/>
                  </a:lnTo>
                  <a:lnTo>
                    <a:pt x="9582349" y="4086287"/>
                  </a:lnTo>
                  <a:lnTo>
                    <a:pt x="9572438" y="4086287"/>
                  </a:lnTo>
                  <a:lnTo>
                    <a:pt x="9568419" y="4082248"/>
                  </a:lnTo>
                  <a:lnTo>
                    <a:pt x="9568419" y="4072377"/>
                  </a:lnTo>
                  <a:close/>
                  <a:moveTo>
                    <a:pt x="9333125" y="4068339"/>
                  </a:moveTo>
                  <a:lnTo>
                    <a:pt x="9343036" y="4068339"/>
                  </a:lnTo>
                  <a:lnTo>
                    <a:pt x="9347055" y="4072377"/>
                  </a:lnTo>
                  <a:lnTo>
                    <a:pt x="9347055" y="4082248"/>
                  </a:lnTo>
                  <a:lnTo>
                    <a:pt x="9343036" y="4086287"/>
                  </a:lnTo>
                  <a:lnTo>
                    <a:pt x="9333125" y="4086287"/>
                  </a:lnTo>
                  <a:lnTo>
                    <a:pt x="9329106" y="4082248"/>
                  </a:lnTo>
                  <a:lnTo>
                    <a:pt x="9329106" y="4072377"/>
                  </a:lnTo>
                  <a:close/>
                  <a:moveTo>
                    <a:pt x="9093811" y="4068339"/>
                  </a:moveTo>
                  <a:lnTo>
                    <a:pt x="9103722" y="4068339"/>
                  </a:lnTo>
                  <a:lnTo>
                    <a:pt x="9107741" y="4072377"/>
                  </a:lnTo>
                  <a:lnTo>
                    <a:pt x="9107741" y="4082248"/>
                  </a:lnTo>
                  <a:lnTo>
                    <a:pt x="9103722" y="4086287"/>
                  </a:lnTo>
                  <a:lnTo>
                    <a:pt x="9093811" y="4086287"/>
                  </a:lnTo>
                  <a:lnTo>
                    <a:pt x="9089792" y="4082248"/>
                  </a:lnTo>
                  <a:lnTo>
                    <a:pt x="9089792" y="4072377"/>
                  </a:lnTo>
                  <a:close/>
                  <a:moveTo>
                    <a:pt x="8854496" y="4068339"/>
                  </a:moveTo>
                  <a:lnTo>
                    <a:pt x="8864407" y="4068339"/>
                  </a:lnTo>
                  <a:lnTo>
                    <a:pt x="8868426" y="4072377"/>
                  </a:lnTo>
                  <a:lnTo>
                    <a:pt x="8868426" y="4082248"/>
                  </a:lnTo>
                  <a:lnTo>
                    <a:pt x="8864407" y="4086287"/>
                  </a:lnTo>
                  <a:lnTo>
                    <a:pt x="8854496" y="4086287"/>
                  </a:lnTo>
                  <a:lnTo>
                    <a:pt x="8850477" y="4082248"/>
                  </a:lnTo>
                  <a:lnTo>
                    <a:pt x="8850477" y="4072377"/>
                  </a:lnTo>
                  <a:close/>
                  <a:moveTo>
                    <a:pt x="8615184" y="4068339"/>
                  </a:moveTo>
                  <a:lnTo>
                    <a:pt x="8625095" y="4068339"/>
                  </a:lnTo>
                  <a:lnTo>
                    <a:pt x="8629114" y="4072377"/>
                  </a:lnTo>
                  <a:lnTo>
                    <a:pt x="8629114" y="4082248"/>
                  </a:lnTo>
                  <a:lnTo>
                    <a:pt x="8625095" y="4086287"/>
                  </a:lnTo>
                  <a:lnTo>
                    <a:pt x="8615184" y="4086287"/>
                  </a:lnTo>
                  <a:lnTo>
                    <a:pt x="8611165" y="4082248"/>
                  </a:lnTo>
                  <a:lnTo>
                    <a:pt x="8611165" y="4072377"/>
                  </a:lnTo>
                  <a:close/>
                  <a:moveTo>
                    <a:pt x="8375869" y="4068339"/>
                  </a:moveTo>
                  <a:lnTo>
                    <a:pt x="8385779" y="4068339"/>
                  </a:lnTo>
                  <a:lnTo>
                    <a:pt x="8389799" y="4072377"/>
                  </a:lnTo>
                  <a:lnTo>
                    <a:pt x="8389799" y="4082248"/>
                  </a:lnTo>
                  <a:lnTo>
                    <a:pt x="8385779" y="4086287"/>
                  </a:lnTo>
                  <a:lnTo>
                    <a:pt x="8375869" y="4086287"/>
                  </a:lnTo>
                  <a:lnTo>
                    <a:pt x="8371850" y="4082248"/>
                  </a:lnTo>
                  <a:lnTo>
                    <a:pt x="8371850" y="4072377"/>
                  </a:lnTo>
                  <a:close/>
                  <a:moveTo>
                    <a:pt x="8136553" y="4068339"/>
                  </a:moveTo>
                  <a:lnTo>
                    <a:pt x="8146464" y="4068339"/>
                  </a:lnTo>
                  <a:lnTo>
                    <a:pt x="8150483" y="4072377"/>
                  </a:lnTo>
                  <a:lnTo>
                    <a:pt x="8150483" y="4082248"/>
                  </a:lnTo>
                  <a:lnTo>
                    <a:pt x="8146464" y="4086287"/>
                  </a:lnTo>
                  <a:lnTo>
                    <a:pt x="8136553" y="4086287"/>
                  </a:lnTo>
                  <a:lnTo>
                    <a:pt x="8132534" y="4082248"/>
                  </a:lnTo>
                  <a:lnTo>
                    <a:pt x="8132534" y="4072377"/>
                  </a:lnTo>
                  <a:close/>
                  <a:moveTo>
                    <a:pt x="7897241" y="4068339"/>
                  </a:moveTo>
                  <a:lnTo>
                    <a:pt x="7907151" y="4068339"/>
                  </a:lnTo>
                  <a:lnTo>
                    <a:pt x="7911170" y="4072377"/>
                  </a:lnTo>
                  <a:lnTo>
                    <a:pt x="7911170" y="4082248"/>
                  </a:lnTo>
                  <a:lnTo>
                    <a:pt x="7907151" y="4086287"/>
                  </a:lnTo>
                  <a:lnTo>
                    <a:pt x="7897241" y="4086287"/>
                  </a:lnTo>
                  <a:lnTo>
                    <a:pt x="7893222" y="4082248"/>
                  </a:lnTo>
                  <a:lnTo>
                    <a:pt x="7893222" y="4072377"/>
                  </a:lnTo>
                  <a:close/>
                  <a:moveTo>
                    <a:pt x="7657926" y="4068339"/>
                  </a:moveTo>
                  <a:lnTo>
                    <a:pt x="7667836" y="4068339"/>
                  </a:lnTo>
                  <a:lnTo>
                    <a:pt x="7671855" y="4072377"/>
                  </a:lnTo>
                  <a:lnTo>
                    <a:pt x="7671855" y="4082248"/>
                  </a:lnTo>
                  <a:lnTo>
                    <a:pt x="7667836" y="4086287"/>
                  </a:lnTo>
                  <a:lnTo>
                    <a:pt x="7657926" y="4086287"/>
                  </a:lnTo>
                  <a:lnTo>
                    <a:pt x="7653906" y="4082248"/>
                  </a:lnTo>
                  <a:lnTo>
                    <a:pt x="7653906" y="4072377"/>
                  </a:lnTo>
                  <a:close/>
                  <a:moveTo>
                    <a:pt x="7418611" y="4068339"/>
                  </a:moveTo>
                  <a:lnTo>
                    <a:pt x="7428521" y="4068339"/>
                  </a:lnTo>
                  <a:lnTo>
                    <a:pt x="7432540" y="4072377"/>
                  </a:lnTo>
                  <a:lnTo>
                    <a:pt x="7432540" y="4082248"/>
                  </a:lnTo>
                  <a:lnTo>
                    <a:pt x="7428521" y="4086287"/>
                  </a:lnTo>
                  <a:lnTo>
                    <a:pt x="7418611" y="4086287"/>
                  </a:lnTo>
                  <a:lnTo>
                    <a:pt x="7414592" y="4082248"/>
                  </a:lnTo>
                  <a:lnTo>
                    <a:pt x="7414592" y="4072377"/>
                  </a:lnTo>
                  <a:close/>
                  <a:moveTo>
                    <a:pt x="7179298" y="4068339"/>
                  </a:moveTo>
                  <a:lnTo>
                    <a:pt x="7189209" y="4068339"/>
                  </a:lnTo>
                  <a:lnTo>
                    <a:pt x="7193228" y="4072377"/>
                  </a:lnTo>
                  <a:lnTo>
                    <a:pt x="7193228" y="4082248"/>
                  </a:lnTo>
                  <a:lnTo>
                    <a:pt x="7189209" y="4086287"/>
                  </a:lnTo>
                  <a:lnTo>
                    <a:pt x="7179298" y="4086287"/>
                  </a:lnTo>
                  <a:lnTo>
                    <a:pt x="7175279" y="4082248"/>
                  </a:lnTo>
                  <a:lnTo>
                    <a:pt x="7175279" y="4072377"/>
                  </a:lnTo>
                  <a:close/>
                  <a:moveTo>
                    <a:pt x="6939983" y="4068339"/>
                  </a:moveTo>
                  <a:lnTo>
                    <a:pt x="6949894" y="4068339"/>
                  </a:lnTo>
                  <a:lnTo>
                    <a:pt x="6953913" y="4072377"/>
                  </a:lnTo>
                  <a:lnTo>
                    <a:pt x="6953913" y="4082248"/>
                  </a:lnTo>
                  <a:lnTo>
                    <a:pt x="6949894" y="4086287"/>
                  </a:lnTo>
                  <a:lnTo>
                    <a:pt x="6939983" y="4086287"/>
                  </a:lnTo>
                  <a:lnTo>
                    <a:pt x="6935964" y="4082248"/>
                  </a:lnTo>
                  <a:lnTo>
                    <a:pt x="6935964" y="4072377"/>
                  </a:lnTo>
                  <a:close/>
                  <a:moveTo>
                    <a:pt x="6700670" y="4068339"/>
                  </a:moveTo>
                  <a:lnTo>
                    <a:pt x="6710581" y="4068339"/>
                  </a:lnTo>
                  <a:lnTo>
                    <a:pt x="6714600" y="4072377"/>
                  </a:lnTo>
                  <a:lnTo>
                    <a:pt x="6714600" y="4082248"/>
                  </a:lnTo>
                  <a:lnTo>
                    <a:pt x="6710581" y="4086287"/>
                  </a:lnTo>
                  <a:lnTo>
                    <a:pt x="6700670" y="4086287"/>
                  </a:lnTo>
                  <a:lnTo>
                    <a:pt x="6696651" y="4082248"/>
                  </a:lnTo>
                  <a:lnTo>
                    <a:pt x="6696651" y="4072377"/>
                  </a:lnTo>
                  <a:close/>
                  <a:moveTo>
                    <a:pt x="6461356" y="4068339"/>
                  </a:moveTo>
                  <a:lnTo>
                    <a:pt x="6471266" y="4068339"/>
                  </a:lnTo>
                  <a:lnTo>
                    <a:pt x="6475285" y="4072377"/>
                  </a:lnTo>
                  <a:lnTo>
                    <a:pt x="6475285" y="4082248"/>
                  </a:lnTo>
                  <a:lnTo>
                    <a:pt x="6471266" y="4086287"/>
                  </a:lnTo>
                  <a:lnTo>
                    <a:pt x="6461356" y="4086287"/>
                  </a:lnTo>
                  <a:lnTo>
                    <a:pt x="6457337" y="4082248"/>
                  </a:lnTo>
                  <a:lnTo>
                    <a:pt x="6457337" y="4072377"/>
                  </a:lnTo>
                  <a:close/>
                  <a:moveTo>
                    <a:pt x="6222042" y="4068339"/>
                  </a:moveTo>
                  <a:lnTo>
                    <a:pt x="6231952" y="4068339"/>
                  </a:lnTo>
                  <a:lnTo>
                    <a:pt x="6235971" y="4072377"/>
                  </a:lnTo>
                  <a:lnTo>
                    <a:pt x="6235971" y="4082248"/>
                  </a:lnTo>
                  <a:lnTo>
                    <a:pt x="6231952" y="4086287"/>
                  </a:lnTo>
                  <a:lnTo>
                    <a:pt x="6222042" y="4086287"/>
                  </a:lnTo>
                  <a:lnTo>
                    <a:pt x="6218023" y="4082248"/>
                  </a:lnTo>
                  <a:lnTo>
                    <a:pt x="6218023" y="4072377"/>
                  </a:lnTo>
                  <a:close/>
                  <a:moveTo>
                    <a:pt x="5982729" y="4068339"/>
                  </a:moveTo>
                  <a:lnTo>
                    <a:pt x="5992639" y="4068339"/>
                  </a:lnTo>
                  <a:lnTo>
                    <a:pt x="5996658" y="4072377"/>
                  </a:lnTo>
                  <a:lnTo>
                    <a:pt x="5996658" y="4082248"/>
                  </a:lnTo>
                  <a:lnTo>
                    <a:pt x="5992639" y="4086287"/>
                  </a:lnTo>
                  <a:lnTo>
                    <a:pt x="5982729" y="4086287"/>
                  </a:lnTo>
                  <a:lnTo>
                    <a:pt x="5978710" y="4082248"/>
                  </a:lnTo>
                  <a:lnTo>
                    <a:pt x="5978710" y="4072377"/>
                  </a:lnTo>
                  <a:close/>
                  <a:moveTo>
                    <a:pt x="5743412" y="4068339"/>
                  </a:moveTo>
                  <a:lnTo>
                    <a:pt x="5753323" y="4068339"/>
                  </a:lnTo>
                  <a:lnTo>
                    <a:pt x="5757342" y="4072377"/>
                  </a:lnTo>
                  <a:lnTo>
                    <a:pt x="5757342" y="4082248"/>
                  </a:lnTo>
                  <a:lnTo>
                    <a:pt x="5753323" y="4086287"/>
                  </a:lnTo>
                  <a:lnTo>
                    <a:pt x="5743412" y="4086287"/>
                  </a:lnTo>
                  <a:lnTo>
                    <a:pt x="5739393" y="4082248"/>
                  </a:lnTo>
                  <a:lnTo>
                    <a:pt x="5739393" y="4072377"/>
                  </a:lnTo>
                  <a:close/>
                  <a:moveTo>
                    <a:pt x="5504099" y="4068339"/>
                  </a:moveTo>
                  <a:lnTo>
                    <a:pt x="5514010" y="4068339"/>
                  </a:lnTo>
                  <a:lnTo>
                    <a:pt x="5518029" y="4072377"/>
                  </a:lnTo>
                  <a:lnTo>
                    <a:pt x="5518029" y="4082248"/>
                  </a:lnTo>
                  <a:lnTo>
                    <a:pt x="5514010" y="4086287"/>
                  </a:lnTo>
                  <a:lnTo>
                    <a:pt x="5504099" y="4086287"/>
                  </a:lnTo>
                  <a:lnTo>
                    <a:pt x="5500080" y="4082248"/>
                  </a:lnTo>
                  <a:lnTo>
                    <a:pt x="5500080" y="4072377"/>
                  </a:lnTo>
                  <a:close/>
                  <a:moveTo>
                    <a:pt x="5264784" y="4068339"/>
                  </a:moveTo>
                  <a:lnTo>
                    <a:pt x="5274694" y="4068339"/>
                  </a:lnTo>
                  <a:lnTo>
                    <a:pt x="5278713" y="4072377"/>
                  </a:lnTo>
                  <a:lnTo>
                    <a:pt x="5278713" y="4082248"/>
                  </a:lnTo>
                  <a:lnTo>
                    <a:pt x="5274694" y="4086287"/>
                  </a:lnTo>
                  <a:lnTo>
                    <a:pt x="5264784" y="4086287"/>
                  </a:lnTo>
                  <a:lnTo>
                    <a:pt x="5260765" y="4082248"/>
                  </a:lnTo>
                  <a:lnTo>
                    <a:pt x="5260765" y="4072377"/>
                  </a:lnTo>
                  <a:close/>
                  <a:moveTo>
                    <a:pt x="5025470" y="4068339"/>
                  </a:moveTo>
                  <a:lnTo>
                    <a:pt x="5035381" y="4068339"/>
                  </a:lnTo>
                  <a:lnTo>
                    <a:pt x="5039400" y="4072377"/>
                  </a:lnTo>
                  <a:lnTo>
                    <a:pt x="5039400" y="4082248"/>
                  </a:lnTo>
                  <a:lnTo>
                    <a:pt x="5035381" y="4086287"/>
                  </a:lnTo>
                  <a:lnTo>
                    <a:pt x="5025470" y="4086287"/>
                  </a:lnTo>
                  <a:lnTo>
                    <a:pt x="5021451" y="4082248"/>
                  </a:lnTo>
                  <a:lnTo>
                    <a:pt x="5021451" y="4072377"/>
                  </a:lnTo>
                  <a:close/>
                  <a:moveTo>
                    <a:pt x="4786241" y="4068339"/>
                  </a:moveTo>
                  <a:lnTo>
                    <a:pt x="4796152" y="4068339"/>
                  </a:lnTo>
                  <a:lnTo>
                    <a:pt x="4800171" y="4072377"/>
                  </a:lnTo>
                  <a:lnTo>
                    <a:pt x="4800171" y="4082248"/>
                  </a:lnTo>
                  <a:lnTo>
                    <a:pt x="4796152" y="4086287"/>
                  </a:lnTo>
                  <a:lnTo>
                    <a:pt x="4786241" y="4086287"/>
                  </a:lnTo>
                  <a:lnTo>
                    <a:pt x="4782224" y="4082248"/>
                  </a:lnTo>
                  <a:lnTo>
                    <a:pt x="4782224" y="4072377"/>
                  </a:lnTo>
                  <a:close/>
                  <a:moveTo>
                    <a:pt x="4546929" y="4068339"/>
                  </a:moveTo>
                  <a:lnTo>
                    <a:pt x="4556840" y="4068339"/>
                  </a:lnTo>
                  <a:lnTo>
                    <a:pt x="4560859" y="4072377"/>
                  </a:lnTo>
                  <a:lnTo>
                    <a:pt x="4560859" y="4082248"/>
                  </a:lnTo>
                  <a:lnTo>
                    <a:pt x="4556840" y="4086287"/>
                  </a:lnTo>
                  <a:lnTo>
                    <a:pt x="4546929" y="4086287"/>
                  </a:lnTo>
                  <a:lnTo>
                    <a:pt x="4542910" y="4082248"/>
                  </a:lnTo>
                  <a:lnTo>
                    <a:pt x="4542910" y="4072377"/>
                  </a:lnTo>
                  <a:close/>
                  <a:moveTo>
                    <a:pt x="4307612" y="4068339"/>
                  </a:moveTo>
                  <a:lnTo>
                    <a:pt x="4317523" y="4068339"/>
                  </a:lnTo>
                  <a:lnTo>
                    <a:pt x="4321543" y="4072377"/>
                  </a:lnTo>
                  <a:lnTo>
                    <a:pt x="4321543" y="4082248"/>
                  </a:lnTo>
                  <a:lnTo>
                    <a:pt x="4317523" y="4086287"/>
                  </a:lnTo>
                  <a:lnTo>
                    <a:pt x="4307612" y="4086287"/>
                  </a:lnTo>
                  <a:lnTo>
                    <a:pt x="4303595" y="4082248"/>
                  </a:lnTo>
                  <a:lnTo>
                    <a:pt x="4303595" y="4072377"/>
                  </a:lnTo>
                  <a:close/>
                  <a:moveTo>
                    <a:pt x="4068297" y="4068339"/>
                  </a:moveTo>
                  <a:lnTo>
                    <a:pt x="4078210" y="4068339"/>
                  </a:lnTo>
                  <a:lnTo>
                    <a:pt x="4082229" y="4072377"/>
                  </a:lnTo>
                  <a:lnTo>
                    <a:pt x="4082229" y="4082248"/>
                  </a:lnTo>
                  <a:lnTo>
                    <a:pt x="4078210" y="4086287"/>
                  </a:lnTo>
                  <a:lnTo>
                    <a:pt x="4068297" y="4086287"/>
                  </a:lnTo>
                  <a:lnTo>
                    <a:pt x="4064278" y="4082248"/>
                  </a:lnTo>
                  <a:lnTo>
                    <a:pt x="4064278" y="4072377"/>
                  </a:lnTo>
                  <a:close/>
                  <a:moveTo>
                    <a:pt x="3828990" y="4068339"/>
                  </a:moveTo>
                  <a:lnTo>
                    <a:pt x="3838899" y="4068339"/>
                  </a:lnTo>
                  <a:lnTo>
                    <a:pt x="3842917" y="4072377"/>
                  </a:lnTo>
                  <a:lnTo>
                    <a:pt x="3842917" y="4082248"/>
                  </a:lnTo>
                  <a:lnTo>
                    <a:pt x="3838899" y="4086287"/>
                  </a:lnTo>
                  <a:lnTo>
                    <a:pt x="3828990" y="4086287"/>
                  </a:lnTo>
                  <a:lnTo>
                    <a:pt x="3824971" y="4082248"/>
                  </a:lnTo>
                  <a:lnTo>
                    <a:pt x="3824971" y="4072377"/>
                  </a:lnTo>
                  <a:close/>
                  <a:moveTo>
                    <a:pt x="3589676" y="4068339"/>
                  </a:moveTo>
                  <a:lnTo>
                    <a:pt x="3599585" y="4068339"/>
                  </a:lnTo>
                  <a:lnTo>
                    <a:pt x="3603604" y="4072377"/>
                  </a:lnTo>
                  <a:lnTo>
                    <a:pt x="3603604" y="4082248"/>
                  </a:lnTo>
                  <a:lnTo>
                    <a:pt x="3599585" y="4086287"/>
                  </a:lnTo>
                  <a:lnTo>
                    <a:pt x="3589676" y="4086287"/>
                  </a:lnTo>
                  <a:lnTo>
                    <a:pt x="3585657" y="4082248"/>
                  </a:lnTo>
                  <a:lnTo>
                    <a:pt x="3585657" y="4072377"/>
                  </a:lnTo>
                  <a:close/>
                  <a:moveTo>
                    <a:pt x="3350359" y="4068339"/>
                  </a:moveTo>
                  <a:lnTo>
                    <a:pt x="3360268" y="4068339"/>
                  </a:lnTo>
                  <a:lnTo>
                    <a:pt x="3364287" y="4072377"/>
                  </a:lnTo>
                  <a:lnTo>
                    <a:pt x="3364287" y="4082248"/>
                  </a:lnTo>
                  <a:lnTo>
                    <a:pt x="3360268" y="4086287"/>
                  </a:lnTo>
                  <a:lnTo>
                    <a:pt x="3350359" y="4086287"/>
                  </a:lnTo>
                  <a:lnTo>
                    <a:pt x="3346340" y="4082248"/>
                  </a:lnTo>
                  <a:lnTo>
                    <a:pt x="3346340" y="4072377"/>
                  </a:lnTo>
                  <a:close/>
                  <a:moveTo>
                    <a:pt x="3111048" y="4068339"/>
                  </a:moveTo>
                  <a:lnTo>
                    <a:pt x="3120959" y="4068339"/>
                  </a:lnTo>
                  <a:lnTo>
                    <a:pt x="3124977" y="4072377"/>
                  </a:lnTo>
                  <a:lnTo>
                    <a:pt x="3124977" y="4082248"/>
                  </a:lnTo>
                  <a:lnTo>
                    <a:pt x="3120959" y="4086287"/>
                  </a:lnTo>
                  <a:lnTo>
                    <a:pt x="3111048" y="4086287"/>
                  </a:lnTo>
                  <a:lnTo>
                    <a:pt x="3107029" y="4082248"/>
                  </a:lnTo>
                  <a:lnTo>
                    <a:pt x="3107029" y="4072377"/>
                  </a:lnTo>
                  <a:close/>
                  <a:moveTo>
                    <a:pt x="2871737" y="4068339"/>
                  </a:moveTo>
                  <a:lnTo>
                    <a:pt x="2881646" y="4068339"/>
                  </a:lnTo>
                  <a:lnTo>
                    <a:pt x="2885666" y="4072377"/>
                  </a:lnTo>
                  <a:lnTo>
                    <a:pt x="2885666" y="4082248"/>
                  </a:lnTo>
                  <a:lnTo>
                    <a:pt x="2881646" y="4086287"/>
                  </a:lnTo>
                  <a:lnTo>
                    <a:pt x="2871737" y="4086287"/>
                  </a:lnTo>
                  <a:lnTo>
                    <a:pt x="2867717" y="4082248"/>
                  </a:lnTo>
                  <a:lnTo>
                    <a:pt x="2867717" y="4072377"/>
                  </a:lnTo>
                  <a:close/>
                  <a:moveTo>
                    <a:pt x="2632423" y="4068339"/>
                  </a:moveTo>
                  <a:lnTo>
                    <a:pt x="2642334" y="4068339"/>
                  </a:lnTo>
                  <a:lnTo>
                    <a:pt x="2646352" y="4072377"/>
                  </a:lnTo>
                  <a:lnTo>
                    <a:pt x="2646352" y="4082248"/>
                  </a:lnTo>
                  <a:lnTo>
                    <a:pt x="2642334" y="4086287"/>
                  </a:lnTo>
                  <a:lnTo>
                    <a:pt x="2632423" y="4086287"/>
                  </a:lnTo>
                  <a:lnTo>
                    <a:pt x="2628404" y="4082248"/>
                  </a:lnTo>
                  <a:lnTo>
                    <a:pt x="2628404" y="4072377"/>
                  </a:lnTo>
                  <a:close/>
                  <a:moveTo>
                    <a:pt x="2393104" y="4068339"/>
                  </a:moveTo>
                  <a:lnTo>
                    <a:pt x="2403015" y="4068339"/>
                  </a:lnTo>
                  <a:lnTo>
                    <a:pt x="2407034" y="4072377"/>
                  </a:lnTo>
                  <a:lnTo>
                    <a:pt x="2407034" y="4082248"/>
                  </a:lnTo>
                  <a:lnTo>
                    <a:pt x="2403015" y="4086287"/>
                  </a:lnTo>
                  <a:lnTo>
                    <a:pt x="2393104" y="4086287"/>
                  </a:lnTo>
                  <a:lnTo>
                    <a:pt x="2389087" y="4082248"/>
                  </a:lnTo>
                  <a:lnTo>
                    <a:pt x="2389087" y="4072377"/>
                  </a:lnTo>
                  <a:close/>
                  <a:moveTo>
                    <a:pt x="2157819" y="4068339"/>
                  </a:moveTo>
                  <a:lnTo>
                    <a:pt x="2167729" y="4068339"/>
                  </a:lnTo>
                  <a:lnTo>
                    <a:pt x="2171749" y="4072377"/>
                  </a:lnTo>
                  <a:lnTo>
                    <a:pt x="2171749" y="4082248"/>
                  </a:lnTo>
                  <a:lnTo>
                    <a:pt x="2167729" y="4086287"/>
                  </a:lnTo>
                  <a:lnTo>
                    <a:pt x="2157819" y="4086287"/>
                  </a:lnTo>
                  <a:lnTo>
                    <a:pt x="2153801" y="4082248"/>
                  </a:lnTo>
                  <a:lnTo>
                    <a:pt x="2153801" y="4072377"/>
                  </a:lnTo>
                  <a:close/>
                  <a:moveTo>
                    <a:pt x="1918511" y="4068339"/>
                  </a:moveTo>
                  <a:lnTo>
                    <a:pt x="1928421" y="4068339"/>
                  </a:lnTo>
                  <a:lnTo>
                    <a:pt x="1932440" y="4072377"/>
                  </a:lnTo>
                  <a:lnTo>
                    <a:pt x="1932440" y="4082248"/>
                  </a:lnTo>
                  <a:lnTo>
                    <a:pt x="1928421" y="4086287"/>
                  </a:lnTo>
                  <a:lnTo>
                    <a:pt x="1918511" y="4086287"/>
                  </a:lnTo>
                  <a:lnTo>
                    <a:pt x="1914492" y="4082248"/>
                  </a:lnTo>
                  <a:lnTo>
                    <a:pt x="1914492" y="4072377"/>
                  </a:lnTo>
                  <a:close/>
                  <a:moveTo>
                    <a:pt x="1679207" y="4068339"/>
                  </a:moveTo>
                  <a:lnTo>
                    <a:pt x="1689117" y="4068339"/>
                  </a:lnTo>
                  <a:lnTo>
                    <a:pt x="1693137" y="4072377"/>
                  </a:lnTo>
                  <a:lnTo>
                    <a:pt x="1693137" y="4082248"/>
                  </a:lnTo>
                  <a:lnTo>
                    <a:pt x="1689117" y="4086287"/>
                  </a:lnTo>
                  <a:lnTo>
                    <a:pt x="1679207" y="4086287"/>
                  </a:lnTo>
                  <a:lnTo>
                    <a:pt x="1675189" y="4082248"/>
                  </a:lnTo>
                  <a:lnTo>
                    <a:pt x="1675189" y="4072377"/>
                  </a:lnTo>
                  <a:close/>
                  <a:moveTo>
                    <a:pt x="1439891" y="4068339"/>
                  </a:moveTo>
                  <a:lnTo>
                    <a:pt x="1449802" y="4068339"/>
                  </a:lnTo>
                  <a:lnTo>
                    <a:pt x="1453820" y="4072377"/>
                  </a:lnTo>
                  <a:lnTo>
                    <a:pt x="1453820" y="4082248"/>
                  </a:lnTo>
                  <a:lnTo>
                    <a:pt x="1449802" y="4086287"/>
                  </a:lnTo>
                  <a:lnTo>
                    <a:pt x="1439891" y="4086287"/>
                  </a:lnTo>
                  <a:lnTo>
                    <a:pt x="1435873" y="4082248"/>
                  </a:lnTo>
                  <a:lnTo>
                    <a:pt x="1435873" y="4072377"/>
                  </a:lnTo>
                  <a:close/>
                  <a:moveTo>
                    <a:pt x="1200576" y="4068339"/>
                  </a:moveTo>
                  <a:lnTo>
                    <a:pt x="1210486" y="4068339"/>
                  </a:lnTo>
                  <a:lnTo>
                    <a:pt x="1214505" y="4072377"/>
                  </a:lnTo>
                  <a:lnTo>
                    <a:pt x="1214505" y="4082248"/>
                  </a:lnTo>
                  <a:lnTo>
                    <a:pt x="1210486" y="4086287"/>
                  </a:lnTo>
                  <a:lnTo>
                    <a:pt x="1200576" y="4086287"/>
                  </a:lnTo>
                  <a:lnTo>
                    <a:pt x="1196558" y="4082248"/>
                  </a:lnTo>
                  <a:lnTo>
                    <a:pt x="1196558" y="4072377"/>
                  </a:lnTo>
                  <a:close/>
                  <a:moveTo>
                    <a:pt x="961263" y="4068339"/>
                  </a:moveTo>
                  <a:lnTo>
                    <a:pt x="971174" y="4068339"/>
                  </a:lnTo>
                  <a:lnTo>
                    <a:pt x="975192" y="4072377"/>
                  </a:lnTo>
                  <a:lnTo>
                    <a:pt x="975192" y="4082248"/>
                  </a:lnTo>
                  <a:lnTo>
                    <a:pt x="971174" y="4086287"/>
                  </a:lnTo>
                  <a:lnTo>
                    <a:pt x="961263" y="4086287"/>
                  </a:lnTo>
                  <a:lnTo>
                    <a:pt x="957244" y="4082248"/>
                  </a:lnTo>
                  <a:lnTo>
                    <a:pt x="957244" y="4072377"/>
                  </a:lnTo>
                  <a:close/>
                  <a:moveTo>
                    <a:pt x="721965" y="4068339"/>
                  </a:moveTo>
                  <a:lnTo>
                    <a:pt x="731876" y="4068339"/>
                  </a:lnTo>
                  <a:lnTo>
                    <a:pt x="735894" y="4072377"/>
                  </a:lnTo>
                  <a:lnTo>
                    <a:pt x="735894" y="4082248"/>
                  </a:lnTo>
                  <a:lnTo>
                    <a:pt x="731876" y="4086287"/>
                  </a:lnTo>
                  <a:lnTo>
                    <a:pt x="721965" y="4086287"/>
                  </a:lnTo>
                  <a:lnTo>
                    <a:pt x="717946" y="4082248"/>
                  </a:lnTo>
                  <a:lnTo>
                    <a:pt x="717946" y="4072377"/>
                  </a:lnTo>
                  <a:close/>
                  <a:moveTo>
                    <a:pt x="482653" y="4068339"/>
                  </a:moveTo>
                  <a:lnTo>
                    <a:pt x="492563" y="4068339"/>
                  </a:lnTo>
                  <a:lnTo>
                    <a:pt x="496583" y="4072377"/>
                  </a:lnTo>
                  <a:lnTo>
                    <a:pt x="496583" y="4082248"/>
                  </a:lnTo>
                  <a:lnTo>
                    <a:pt x="492563" y="4086287"/>
                  </a:lnTo>
                  <a:lnTo>
                    <a:pt x="482653" y="4086287"/>
                  </a:lnTo>
                  <a:lnTo>
                    <a:pt x="478634" y="4082248"/>
                  </a:lnTo>
                  <a:lnTo>
                    <a:pt x="478634" y="4072377"/>
                  </a:lnTo>
                  <a:close/>
                  <a:moveTo>
                    <a:pt x="243339" y="4068339"/>
                  </a:moveTo>
                  <a:lnTo>
                    <a:pt x="253250" y="4068339"/>
                  </a:lnTo>
                  <a:lnTo>
                    <a:pt x="257269" y="4072377"/>
                  </a:lnTo>
                  <a:lnTo>
                    <a:pt x="257269" y="4082248"/>
                  </a:lnTo>
                  <a:lnTo>
                    <a:pt x="253250" y="4086287"/>
                  </a:lnTo>
                  <a:lnTo>
                    <a:pt x="243339" y="4086287"/>
                  </a:lnTo>
                  <a:lnTo>
                    <a:pt x="239320" y="4082248"/>
                  </a:lnTo>
                  <a:lnTo>
                    <a:pt x="239320" y="4072377"/>
                  </a:lnTo>
                  <a:close/>
                  <a:moveTo>
                    <a:pt x="4026" y="4068339"/>
                  </a:moveTo>
                  <a:lnTo>
                    <a:pt x="13936" y="4068339"/>
                  </a:lnTo>
                  <a:lnTo>
                    <a:pt x="17956" y="4072377"/>
                  </a:lnTo>
                  <a:lnTo>
                    <a:pt x="17956" y="4082248"/>
                  </a:lnTo>
                  <a:lnTo>
                    <a:pt x="13936" y="4086287"/>
                  </a:lnTo>
                  <a:lnTo>
                    <a:pt x="4026" y="4086287"/>
                  </a:lnTo>
                  <a:lnTo>
                    <a:pt x="7" y="4082248"/>
                  </a:lnTo>
                  <a:lnTo>
                    <a:pt x="7" y="4072377"/>
                  </a:lnTo>
                  <a:close/>
                  <a:moveTo>
                    <a:pt x="2157820" y="3829058"/>
                  </a:moveTo>
                  <a:lnTo>
                    <a:pt x="2167731" y="3829058"/>
                  </a:lnTo>
                  <a:lnTo>
                    <a:pt x="2171749" y="3833097"/>
                  </a:lnTo>
                  <a:lnTo>
                    <a:pt x="2171749" y="3842968"/>
                  </a:lnTo>
                  <a:lnTo>
                    <a:pt x="2167731" y="3847007"/>
                  </a:lnTo>
                  <a:lnTo>
                    <a:pt x="2157820" y="3847007"/>
                  </a:lnTo>
                  <a:lnTo>
                    <a:pt x="2153801" y="3842968"/>
                  </a:lnTo>
                  <a:lnTo>
                    <a:pt x="2153801" y="3833097"/>
                  </a:lnTo>
                  <a:close/>
                  <a:moveTo>
                    <a:pt x="1918511" y="3829058"/>
                  </a:moveTo>
                  <a:lnTo>
                    <a:pt x="1928421" y="3829058"/>
                  </a:lnTo>
                  <a:lnTo>
                    <a:pt x="1932440" y="3833097"/>
                  </a:lnTo>
                  <a:lnTo>
                    <a:pt x="1932440" y="3842968"/>
                  </a:lnTo>
                  <a:lnTo>
                    <a:pt x="1928421" y="3847007"/>
                  </a:lnTo>
                  <a:lnTo>
                    <a:pt x="1918511" y="3847007"/>
                  </a:lnTo>
                  <a:lnTo>
                    <a:pt x="1914493" y="3842968"/>
                  </a:lnTo>
                  <a:lnTo>
                    <a:pt x="1914493" y="3833097"/>
                  </a:lnTo>
                  <a:close/>
                  <a:moveTo>
                    <a:pt x="1679209" y="3829058"/>
                  </a:moveTo>
                  <a:lnTo>
                    <a:pt x="1689118" y="3829058"/>
                  </a:lnTo>
                  <a:lnTo>
                    <a:pt x="1693137" y="3833097"/>
                  </a:lnTo>
                  <a:lnTo>
                    <a:pt x="1693137" y="3842968"/>
                  </a:lnTo>
                  <a:lnTo>
                    <a:pt x="1689118" y="3847007"/>
                  </a:lnTo>
                  <a:lnTo>
                    <a:pt x="1679209" y="3847007"/>
                  </a:lnTo>
                  <a:lnTo>
                    <a:pt x="1675189" y="3842968"/>
                  </a:lnTo>
                  <a:lnTo>
                    <a:pt x="1675189" y="3833097"/>
                  </a:lnTo>
                  <a:close/>
                  <a:moveTo>
                    <a:pt x="1439892" y="3829058"/>
                  </a:moveTo>
                  <a:lnTo>
                    <a:pt x="1449802" y="3829058"/>
                  </a:lnTo>
                  <a:lnTo>
                    <a:pt x="1453820" y="3833097"/>
                  </a:lnTo>
                  <a:lnTo>
                    <a:pt x="1453820" y="3842968"/>
                  </a:lnTo>
                  <a:lnTo>
                    <a:pt x="1449802" y="3847007"/>
                  </a:lnTo>
                  <a:lnTo>
                    <a:pt x="1439892" y="3847007"/>
                  </a:lnTo>
                  <a:lnTo>
                    <a:pt x="1435874" y="3842968"/>
                  </a:lnTo>
                  <a:lnTo>
                    <a:pt x="1435874" y="3833097"/>
                  </a:lnTo>
                  <a:close/>
                  <a:moveTo>
                    <a:pt x="1200577" y="3829058"/>
                  </a:moveTo>
                  <a:lnTo>
                    <a:pt x="1210487" y="3829058"/>
                  </a:lnTo>
                  <a:lnTo>
                    <a:pt x="1214506" y="3833097"/>
                  </a:lnTo>
                  <a:lnTo>
                    <a:pt x="1214506" y="3842968"/>
                  </a:lnTo>
                  <a:lnTo>
                    <a:pt x="1210487" y="3847007"/>
                  </a:lnTo>
                  <a:lnTo>
                    <a:pt x="1200577" y="3847007"/>
                  </a:lnTo>
                  <a:lnTo>
                    <a:pt x="1196558" y="3842968"/>
                  </a:lnTo>
                  <a:lnTo>
                    <a:pt x="1196558" y="3833097"/>
                  </a:lnTo>
                  <a:close/>
                  <a:moveTo>
                    <a:pt x="961264" y="3829058"/>
                  </a:moveTo>
                  <a:lnTo>
                    <a:pt x="971174" y="3829058"/>
                  </a:lnTo>
                  <a:lnTo>
                    <a:pt x="975193" y="3833097"/>
                  </a:lnTo>
                  <a:lnTo>
                    <a:pt x="975193" y="3842968"/>
                  </a:lnTo>
                  <a:lnTo>
                    <a:pt x="971174" y="3847007"/>
                  </a:lnTo>
                  <a:lnTo>
                    <a:pt x="961264" y="3847007"/>
                  </a:lnTo>
                  <a:lnTo>
                    <a:pt x="957245" y="3842968"/>
                  </a:lnTo>
                  <a:lnTo>
                    <a:pt x="957245" y="3833097"/>
                  </a:lnTo>
                  <a:close/>
                  <a:moveTo>
                    <a:pt x="9572438" y="3829008"/>
                  </a:moveTo>
                  <a:lnTo>
                    <a:pt x="9582349" y="3829008"/>
                  </a:lnTo>
                  <a:lnTo>
                    <a:pt x="9586368" y="3833046"/>
                  </a:lnTo>
                  <a:lnTo>
                    <a:pt x="9586368" y="3842917"/>
                  </a:lnTo>
                  <a:lnTo>
                    <a:pt x="9582349" y="3846956"/>
                  </a:lnTo>
                  <a:lnTo>
                    <a:pt x="9572438" y="3846956"/>
                  </a:lnTo>
                  <a:lnTo>
                    <a:pt x="9568419" y="3842917"/>
                  </a:lnTo>
                  <a:lnTo>
                    <a:pt x="9568419" y="3833046"/>
                  </a:lnTo>
                  <a:close/>
                  <a:moveTo>
                    <a:pt x="9333125" y="3829008"/>
                  </a:moveTo>
                  <a:lnTo>
                    <a:pt x="9343036" y="3829008"/>
                  </a:lnTo>
                  <a:lnTo>
                    <a:pt x="9347055" y="3833046"/>
                  </a:lnTo>
                  <a:lnTo>
                    <a:pt x="9347055" y="3842917"/>
                  </a:lnTo>
                  <a:lnTo>
                    <a:pt x="9343036" y="3846956"/>
                  </a:lnTo>
                  <a:lnTo>
                    <a:pt x="9333125" y="3846956"/>
                  </a:lnTo>
                  <a:lnTo>
                    <a:pt x="9329106" y="3842917"/>
                  </a:lnTo>
                  <a:lnTo>
                    <a:pt x="9329106" y="3833046"/>
                  </a:lnTo>
                  <a:close/>
                  <a:moveTo>
                    <a:pt x="9093811" y="3829008"/>
                  </a:moveTo>
                  <a:lnTo>
                    <a:pt x="9103722" y="3829008"/>
                  </a:lnTo>
                  <a:lnTo>
                    <a:pt x="9107741" y="3833046"/>
                  </a:lnTo>
                  <a:lnTo>
                    <a:pt x="9107741" y="3842917"/>
                  </a:lnTo>
                  <a:lnTo>
                    <a:pt x="9103722" y="3846956"/>
                  </a:lnTo>
                  <a:lnTo>
                    <a:pt x="9093811" y="3846956"/>
                  </a:lnTo>
                  <a:lnTo>
                    <a:pt x="9089792" y="3842917"/>
                  </a:lnTo>
                  <a:lnTo>
                    <a:pt x="9089792" y="3833046"/>
                  </a:lnTo>
                  <a:close/>
                  <a:moveTo>
                    <a:pt x="8854496" y="3829008"/>
                  </a:moveTo>
                  <a:lnTo>
                    <a:pt x="8864407" y="3829008"/>
                  </a:lnTo>
                  <a:lnTo>
                    <a:pt x="8868426" y="3833046"/>
                  </a:lnTo>
                  <a:lnTo>
                    <a:pt x="8868426" y="3842917"/>
                  </a:lnTo>
                  <a:lnTo>
                    <a:pt x="8864407" y="3846956"/>
                  </a:lnTo>
                  <a:lnTo>
                    <a:pt x="8854496" y="3846956"/>
                  </a:lnTo>
                  <a:lnTo>
                    <a:pt x="8850477" y="3842917"/>
                  </a:lnTo>
                  <a:lnTo>
                    <a:pt x="8850477" y="3833046"/>
                  </a:lnTo>
                  <a:close/>
                  <a:moveTo>
                    <a:pt x="8615184" y="3829008"/>
                  </a:moveTo>
                  <a:lnTo>
                    <a:pt x="8625095" y="3829008"/>
                  </a:lnTo>
                  <a:lnTo>
                    <a:pt x="8629114" y="3833046"/>
                  </a:lnTo>
                  <a:lnTo>
                    <a:pt x="8629114" y="3842917"/>
                  </a:lnTo>
                  <a:lnTo>
                    <a:pt x="8625095" y="3846956"/>
                  </a:lnTo>
                  <a:lnTo>
                    <a:pt x="8615184" y="3846956"/>
                  </a:lnTo>
                  <a:lnTo>
                    <a:pt x="8611165" y="3842917"/>
                  </a:lnTo>
                  <a:lnTo>
                    <a:pt x="8611165" y="3833046"/>
                  </a:lnTo>
                  <a:close/>
                  <a:moveTo>
                    <a:pt x="8375869" y="3829008"/>
                  </a:moveTo>
                  <a:lnTo>
                    <a:pt x="8385779" y="3829008"/>
                  </a:lnTo>
                  <a:lnTo>
                    <a:pt x="8389799" y="3833046"/>
                  </a:lnTo>
                  <a:lnTo>
                    <a:pt x="8389799" y="3842917"/>
                  </a:lnTo>
                  <a:lnTo>
                    <a:pt x="8385779" y="3846956"/>
                  </a:lnTo>
                  <a:lnTo>
                    <a:pt x="8375869" y="3846956"/>
                  </a:lnTo>
                  <a:lnTo>
                    <a:pt x="8371850" y="3842917"/>
                  </a:lnTo>
                  <a:lnTo>
                    <a:pt x="8371850" y="3833046"/>
                  </a:lnTo>
                  <a:close/>
                  <a:moveTo>
                    <a:pt x="8136553" y="3829008"/>
                  </a:moveTo>
                  <a:lnTo>
                    <a:pt x="8146464" y="3829008"/>
                  </a:lnTo>
                  <a:lnTo>
                    <a:pt x="8150483" y="3833046"/>
                  </a:lnTo>
                  <a:lnTo>
                    <a:pt x="8150483" y="3842917"/>
                  </a:lnTo>
                  <a:lnTo>
                    <a:pt x="8146464" y="3846956"/>
                  </a:lnTo>
                  <a:lnTo>
                    <a:pt x="8136553" y="3846956"/>
                  </a:lnTo>
                  <a:lnTo>
                    <a:pt x="8132534" y="3842917"/>
                  </a:lnTo>
                  <a:lnTo>
                    <a:pt x="8132534" y="3833046"/>
                  </a:lnTo>
                  <a:close/>
                  <a:moveTo>
                    <a:pt x="7897241" y="3829008"/>
                  </a:moveTo>
                  <a:lnTo>
                    <a:pt x="7907151" y="3829008"/>
                  </a:lnTo>
                  <a:lnTo>
                    <a:pt x="7911170" y="3833046"/>
                  </a:lnTo>
                  <a:lnTo>
                    <a:pt x="7911170" y="3842917"/>
                  </a:lnTo>
                  <a:lnTo>
                    <a:pt x="7907151" y="3846956"/>
                  </a:lnTo>
                  <a:lnTo>
                    <a:pt x="7897241" y="3846956"/>
                  </a:lnTo>
                  <a:lnTo>
                    <a:pt x="7893222" y="3842917"/>
                  </a:lnTo>
                  <a:lnTo>
                    <a:pt x="7893222" y="3833046"/>
                  </a:lnTo>
                  <a:close/>
                  <a:moveTo>
                    <a:pt x="7657926" y="3829008"/>
                  </a:moveTo>
                  <a:lnTo>
                    <a:pt x="7667836" y="3829008"/>
                  </a:lnTo>
                  <a:lnTo>
                    <a:pt x="7671855" y="3833046"/>
                  </a:lnTo>
                  <a:lnTo>
                    <a:pt x="7671855" y="3842917"/>
                  </a:lnTo>
                  <a:lnTo>
                    <a:pt x="7667836" y="3846956"/>
                  </a:lnTo>
                  <a:lnTo>
                    <a:pt x="7657926" y="3846956"/>
                  </a:lnTo>
                  <a:lnTo>
                    <a:pt x="7653906" y="3842917"/>
                  </a:lnTo>
                  <a:lnTo>
                    <a:pt x="7653906" y="3833046"/>
                  </a:lnTo>
                  <a:close/>
                  <a:moveTo>
                    <a:pt x="7418611" y="3829008"/>
                  </a:moveTo>
                  <a:lnTo>
                    <a:pt x="7428521" y="3829008"/>
                  </a:lnTo>
                  <a:lnTo>
                    <a:pt x="7432540" y="3833046"/>
                  </a:lnTo>
                  <a:lnTo>
                    <a:pt x="7432540" y="3842917"/>
                  </a:lnTo>
                  <a:lnTo>
                    <a:pt x="7428521" y="3846956"/>
                  </a:lnTo>
                  <a:lnTo>
                    <a:pt x="7418611" y="3846956"/>
                  </a:lnTo>
                  <a:lnTo>
                    <a:pt x="7414592" y="3842917"/>
                  </a:lnTo>
                  <a:lnTo>
                    <a:pt x="7414592" y="3833046"/>
                  </a:lnTo>
                  <a:close/>
                  <a:moveTo>
                    <a:pt x="7179298" y="3829008"/>
                  </a:moveTo>
                  <a:lnTo>
                    <a:pt x="7189209" y="3829008"/>
                  </a:lnTo>
                  <a:lnTo>
                    <a:pt x="7193228" y="3833046"/>
                  </a:lnTo>
                  <a:lnTo>
                    <a:pt x="7193228" y="3842917"/>
                  </a:lnTo>
                  <a:lnTo>
                    <a:pt x="7189209" y="3846956"/>
                  </a:lnTo>
                  <a:lnTo>
                    <a:pt x="7179298" y="3846956"/>
                  </a:lnTo>
                  <a:lnTo>
                    <a:pt x="7175279" y="3842917"/>
                  </a:lnTo>
                  <a:lnTo>
                    <a:pt x="7175279" y="3833046"/>
                  </a:lnTo>
                  <a:close/>
                  <a:moveTo>
                    <a:pt x="6939983" y="3829008"/>
                  </a:moveTo>
                  <a:lnTo>
                    <a:pt x="6949894" y="3829008"/>
                  </a:lnTo>
                  <a:lnTo>
                    <a:pt x="6953913" y="3833046"/>
                  </a:lnTo>
                  <a:lnTo>
                    <a:pt x="6953913" y="3842917"/>
                  </a:lnTo>
                  <a:lnTo>
                    <a:pt x="6949894" y="3846956"/>
                  </a:lnTo>
                  <a:lnTo>
                    <a:pt x="6939983" y="3846956"/>
                  </a:lnTo>
                  <a:lnTo>
                    <a:pt x="6935964" y="3842917"/>
                  </a:lnTo>
                  <a:lnTo>
                    <a:pt x="6935964" y="3833046"/>
                  </a:lnTo>
                  <a:close/>
                  <a:moveTo>
                    <a:pt x="6700670" y="3829008"/>
                  </a:moveTo>
                  <a:lnTo>
                    <a:pt x="6710581" y="3829008"/>
                  </a:lnTo>
                  <a:lnTo>
                    <a:pt x="6714600" y="3833046"/>
                  </a:lnTo>
                  <a:lnTo>
                    <a:pt x="6714600" y="3842917"/>
                  </a:lnTo>
                  <a:lnTo>
                    <a:pt x="6710581" y="3846956"/>
                  </a:lnTo>
                  <a:lnTo>
                    <a:pt x="6700670" y="3846956"/>
                  </a:lnTo>
                  <a:lnTo>
                    <a:pt x="6696651" y="3842917"/>
                  </a:lnTo>
                  <a:lnTo>
                    <a:pt x="6696651" y="3833046"/>
                  </a:lnTo>
                  <a:close/>
                  <a:moveTo>
                    <a:pt x="6461356" y="3829008"/>
                  </a:moveTo>
                  <a:lnTo>
                    <a:pt x="6471266" y="3829008"/>
                  </a:lnTo>
                  <a:lnTo>
                    <a:pt x="6475285" y="3833046"/>
                  </a:lnTo>
                  <a:lnTo>
                    <a:pt x="6475285" y="3842917"/>
                  </a:lnTo>
                  <a:lnTo>
                    <a:pt x="6471266" y="3846956"/>
                  </a:lnTo>
                  <a:lnTo>
                    <a:pt x="6461356" y="3846956"/>
                  </a:lnTo>
                  <a:lnTo>
                    <a:pt x="6457337" y="3842917"/>
                  </a:lnTo>
                  <a:lnTo>
                    <a:pt x="6457337" y="3833046"/>
                  </a:lnTo>
                  <a:close/>
                  <a:moveTo>
                    <a:pt x="6222042" y="3829008"/>
                  </a:moveTo>
                  <a:lnTo>
                    <a:pt x="6231952" y="3829008"/>
                  </a:lnTo>
                  <a:lnTo>
                    <a:pt x="6235971" y="3833046"/>
                  </a:lnTo>
                  <a:lnTo>
                    <a:pt x="6235971" y="3842917"/>
                  </a:lnTo>
                  <a:lnTo>
                    <a:pt x="6231952" y="3846956"/>
                  </a:lnTo>
                  <a:lnTo>
                    <a:pt x="6222042" y="3846956"/>
                  </a:lnTo>
                  <a:lnTo>
                    <a:pt x="6218023" y="3842917"/>
                  </a:lnTo>
                  <a:lnTo>
                    <a:pt x="6218023" y="3833046"/>
                  </a:lnTo>
                  <a:close/>
                  <a:moveTo>
                    <a:pt x="5982729" y="3829008"/>
                  </a:moveTo>
                  <a:lnTo>
                    <a:pt x="5992639" y="3829008"/>
                  </a:lnTo>
                  <a:lnTo>
                    <a:pt x="5996658" y="3833046"/>
                  </a:lnTo>
                  <a:lnTo>
                    <a:pt x="5996658" y="3842917"/>
                  </a:lnTo>
                  <a:lnTo>
                    <a:pt x="5992639" y="3846956"/>
                  </a:lnTo>
                  <a:lnTo>
                    <a:pt x="5982729" y="3846956"/>
                  </a:lnTo>
                  <a:lnTo>
                    <a:pt x="5978710" y="3842917"/>
                  </a:lnTo>
                  <a:lnTo>
                    <a:pt x="5978710" y="3833046"/>
                  </a:lnTo>
                  <a:close/>
                  <a:moveTo>
                    <a:pt x="5743412" y="3829008"/>
                  </a:moveTo>
                  <a:lnTo>
                    <a:pt x="5753323" y="3829008"/>
                  </a:lnTo>
                  <a:lnTo>
                    <a:pt x="5757342" y="3833046"/>
                  </a:lnTo>
                  <a:lnTo>
                    <a:pt x="5757342" y="3842917"/>
                  </a:lnTo>
                  <a:lnTo>
                    <a:pt x="5753323" y="3846956"/>
                  </a:lnTo>
                  <a:lnTo>
                    <a:pt x="5743412" y="3846956"/>
                  </a:lnTo>
                  <a:lnTo>
                    <a:pt x="5739393" y="3842917"/>
                  </a:lnTo>
                  <a:lnTo>
                    <a:pt x="5739393" y="3833046"/>
                  </a:lnTo>
                  <a:close/>
                  <a:moveTo>
                    <a:pt x="5504099" y="3829008"/>
                  </a:moveTo>
                  <a:lnTo>
                    <a:pt x="5514010" y="3829008"/>
                  </a:lnTo>
                  <a:lnTo>
                    <a:pt x="5518029" y="3833046"/>
                  </a:lnTo>
                  <a:lnTo>
                    <a:pt x="5518029" y="3842917"/>
                  </a:lnTo>
                  <a:lnTo>
                    <a:pt x="5514010" y="3846956"/>
                  </a:lnTo>
                  <a:lnTo>
                    <a:pt x="5504099" y="3846956"/>
                  </a:lnTo>
                  <a:lnTo>
                    <a:pt x="5500080" y="3842917"/>
                  </a:lnTo>
                  <a:lnTo>
                    <a:pt x="5500080" y="3833046"/>
                  </a:lnTo>
                  <a:close/>
                  <a:moveTo>
                    <a:pt x="5264784" y="3829008"/>
                  </a:moveTo>
                  <a:lnTo>
                    <a:pt x="5274694" y="3829008"/>
                  </a:lnTo>
                  <a:lnTo>
                    <a:pt x="5278713" y="3833046"/>
                  </a:lnTo>
                  <a:lnTo>
                    <a:pt x="5278713" y="3842917"/>
                  </a:lnTo>
                  <a:lnTo>
                    <a:pt x="5274694" y="3846956"/>
                  </a:lnTo>
                  <a:lnTo>
                    <a:pt x="5264784" y="3846956"/>
                  </a:lnTo>
                  <a:lnTo>
                    <a:pt x="5260765" y="3842917"/>
                  </a:lnTo>
                  <a:lnTo>
                    <a:pt x="5260765" y="3833046"/>
                  </a:lnTo>
                  <a:close/>
                  <a:moveTo>
                    <a:pt x="5025470" y="3829008"/>
                  </a:moveTo>
                  <a:lnTo>
                    <a:pt x="5035381" y="3829008"/>
                  </a:lnTo>
                  <a:lnTo>
                    <a:pt x="5039400" y="3833046"/>
                  </a:lnTo>
                  <a:lnTo>
                    <a:pt x="5039400" y="3842917"/>
                  </a:lnTo>
                  <a:lnTo>
                    <a:pt x="5035381" y="3846956"/>
                  </a:lnTo>
                  <a:lnTo>
                    <a:pt x="5025470" y="3846956"/>
                  </a:lnTo>
                  <a:lnTo>
                    <a:pt x="5021451" y="3842917"/>
                  </a:lnTo>
                  <a:lnTo>
                    <a:pt x="5021451" y="3833046"/>
                  </a:lnTo>
                  <a:close/>
                  <a:moveTo>
                    <a:pt x="4786241" y="3829008"/>
                  </a:moveTo>
                  <a:lnTo>
                    <a:pt x="4796152" y="3829008"/>
                  </a:lnTo>
                  <a:lnTo>
                    <a:pt x="4800171" y="3833046"/>
                  </a:lnTo>
                  <a:lnTo>
                    <a:pt x="4800171" y="3842917"/>
                  </a:lnTo>
                  <a:lnTo>
                    <a:pt x="4796152" y="3846956"/>
                  </a:lnTo>
                  <a:lnTo>
                    <a:pt x="4786241" y="3846956"/>
                  </a:lnTo>
                  <a:lnTo>
                    <a:pt x="4782224" y="3842917"/>
                  </a:lnTo>
                  <a:lnTo>
                    <a:pt x="4782224" y="3833046"/>
                  </a:lnTo>
                  <a:close/>
                  <a:moveTo>
                    <a:pt x="4546929" y="3829008"/>
                  </a:moveTo>
                  <a:lnTo>
                    <a:pt x="4556840" y="3829008"/>
                  </a:lnTo>
                  <a:lnTo>
                    <a:pt x="4560859" y="3833046"/>
                  </a:lnTo>
                  <a:lnTo>
                    <a:pt x="4560859" y="3842917"/>
                  </a:lnTo>
                  <a:lnTo>
                    <a:pt x="4556840" y="3846956"/>
                  </a:lnTo>
                  <a:lnTo>
                    <a:pt x="4546929" y="3846956"/>
                  </a:lnTo>
                  <a:lnTo>
                    <a:pt x="4542910" y="3842917"/>
                  </a:lnTo>
                  <a:lnTo>
                    <a:pt x="4542910" y="3833046"/>
                  </a:lnTo>
                  <a:close/>
                  <a:moveTo>
                    <a:pt x="4307612" y="3829008"/>
                  </a:moveTo>
                  <a:lnTo>
                    <a:pt x="4317523" y="3829008"/>
                  </a:lnTo>
                  <a:lnTo>
                    <a:pt x="4321543" y="3833046"/>
                  </a:lnTo>
                  <a:lnTo>
                    <a:pt x="4321543" y="3842917"/>
                  </a:lnTo>
                  <a:lnTo>
                    <a:pt x="4317523" y="3846956"/>
                  </a:lnTo>
                  <a:lnTo>
                    <a:pt x="4307612" y="3846956"/>
                  </a:lnTo>
                  <a:lnTo>
                    <a:pt x="4303595" y="3842917"/>
                  </a:lnTo>
                  <a:lnTo>
                    <a:pt x="4303595" y="3833046"/>
                  </a:lnTo>
                  <a:close/>
                  <a:moveTo>
                    <a:pt x="4068297" y="3829008"/>
                  </a:moveTo>
                  <a:lnTo>
                    <a:pt x="4078210" y="3829008"/>
                  </a:lnTo>
                  <a:lnTo>
                    <a:pt x="4082229" y="3833046"/>
                  </a:lnTo>
                  <a:lnTo>
                    <a:pt x="4082229" y="3842917"/>
                  </a:lnTo>
                  <a:lnTo>
                    <a:pt x="4078210" y="3846956"/>
                  </a:lnTo>
                  <a:lnTo>
                    <a:pt x="4068297" y="3846956"/>
                  </a:lnTo>
                  <a:lnTo>
                    <a:pt x="4064278" y="3842917"/>
                  </a:lnTo>
                  <a:lnTo>
                    <a:pt x="4064278" y="3833046"/>
                  </a:lnTo>
                  <a:close/>
                  <a:moveTo>
                    <a:pt x="3828990" y="3829008"/>
                  </a:moveTo>
                  <a:lnTo>
                    <a:pt x="3838899" y="3829008"/>
                  </a:lnTo>
                  <a:lnTo>
                    <a:pt x="3842917" y="3833046"/>
                  </a:lnTo>
                  <a:lnTo>
                    <a:pt x="3842917" y="3842917"/>
                  </a:lnTo>
                  <a:lnTo>
                    <a:pt x="3838899" y="3846956"/>
                  </a:lnTo>
                  <a:lnTo>
                    <a:pt x="3828990" y="3846956"/>
                  </a:lnTo>
                  <a:lnTo>
                    <a:pt x="3824971" y="3842917"/>
                  </a:lnTo>
                  <a:lnTo>
                    <a:pt x="3824971" y="3833046"/>
                  </a:lnTo>
                  <a:close/>
                  <a:moveTo>
                    <a:pt x="3589676" y="3829008"/>
                  </a:moveTo>
                  <a:lnTo>
                    <a:pt x="3599585" y="3829008"/>
                  </a:lnTo>
                  <a:lnTo>
                    <a:pt x="3603604" y="3833046"/>
                  </a:lnTo>
                  <a:lnTo>
                    <a:pt x="3603604" y="3842917"/>
                  </a:lnTo>
                  <a:lnTo>
                    <a:pt x="3599585" y="3846956"/>
                  </a:lnTo>
                  <a:lnTo>
                    <a:pt x="3589676" y="3846956"/>
                  </a:lnTo>
                  <a:lnTo>
                    <a:pt x="3585657" y="3842917"/>
                  </a:lnTo>
                  <a:lnTo>
                    <a:pt x="3585657" y="3833046"/>
                  </a:lnTo>
                  <a:close/>
                  <a:moveTo>
                    <a:pt x="3350359" y="3829008"/>
                  </a:moveTo>
                  <a:lnTo>
                    <a:pt x="3360268" y="3829008"/>
                  </a:lnTo>
                  <a:lnTo>
                    <a:pt x="3364287" y="3833046"/>
                  </a:lnTo>
                  <a:lnTo>
                    <a:pt x="3364287" y="3842917"/>
                  </a:lnTo>
                  <a:lnTo>
                    <a:pt x="3360268" y="3846956"/>
                  </a:lnTo>
                  <a:lnTo>
                    <a:pt x="3350359" y="3846956"/>
                  </a:lnTo>
                  <a:lnTo>
                    <a:pt x="3346340" y="3842917"/>
                  </a:lnTo>
                  <a:lnTo>
                    <a:pt x="3346340" y="3833046"/>
                  </a:lnTo>
                  <a:close/>
                  <a:moveTo>
                    <a:pt x="3111048" y="3829008"/>
                  </a:moveTo>
                  <a:lnTo>
                    <a:pt x="3120959" y="3829008"/>
                  </a:lnTo>
                  <a:lnTo>
                    <a:pt x="3124977" y="3833046"/>
                  </a:lnTo>
                  <a:lnTo>
                    <a:pt x="3124977" y="3842917"/>
                  </a:lnTo>
                  <a:lnTo>
                    <a:pt x="3120959" y="3846956"/>
                  </a:lnTo>
                  <a:lnTo>
                    <a:pt x="3111048" y="3846956"/>
                  </a:lnTo>
                  <a:lnTo>
                    <a:pt x="3107029" y="3842917"/>
                  </a:lnTo>
                  <a:lnTo>
                    <a:pt x="3107029" y="3833046"/>
                  </a:lnTo>
                  <a:close/>
                  <a:moveTo>
                    <a:pt x="2871737" y="3829008"/>
                  </a:moveTo>
                  <a:lnTo>
                    <a:pt x="2881646" y="3829008"/>
                  </a:lnTo>
                  <a:lnTo>
                    <a:pt x="2885666" y="3833046"/>
                  </a:lnTo>
                  <a:lnTo>
                    <a:pt x="2885666" y="3842917"/>
                  </a:lnTo>
                  <a:lnTo>
                    <a:pt x="2881646" y="3846956"/>
                  </a:lnTo>
                  <a:lnTo>
                    <a:pt x="2871737" y="3846956"/>
                  </a:lnTo>
                  <a:lnTo>
                    <a:pt x="2867717" y="3842917"/>
                  </a:lnTo>
                  <a:lnTo>
                    <a:pt x="2867717" y="3833046"/>
                  </a:lnTo>
                  <a:close/>
                  <a:moveTo>
                    <a:pt x="2632423" y="3829008"/>
                  </a:moveTo>
                  <a:lnTo>
                    <a:pt x="2642334" y="3829008"/>
                  </a:lnTo>
                  <a:lnTo>
                    <a:pt x="2646352" y="3833046"/>
                  </a:lnTo>
                  <a:lnTo>
                    <a:pt x="2646352" y="3842917"/>
                  </a:lnTo>
                  <a:lnTo>
                    <a:pt x="2642334" y="3846956"/>
                  </a:lnTo>
                  <a:lnTo>
                    <a:pt x="2632423" y="3846956"/>
                  </a:lnTo>
                  <a:lnTo>
                    <a:pt x="2628404" y="3842917"/>
                  </a:lnTo>
                  <a:lnTo>
                    <a:pt x="2628404" y="3833046"/>
                  </a:lnTo>
                  <a:close/>
                  <a:moveTo>
                    <a:pt x="2393104" y="3829008"/>
                  </a:moveTo>
                  <a:lnTo>
                    <a:pt x="2403015" y="3829008"/>
                  </a:lnTo>
                  <a:lnTo>
                    <a:pt x="2407034" y="3833046"/>
                  </a:lnTo>
                  <a:lnTo>
                    <a:pt x="2407034" y="3842917"/>
                  </a:lnTo>
                  <a:lnTo>
                    <a:pt x="2403015" y="3846956"/>
                  </a:lnTo>
                  <a:lnTo>
                    <a:pt x="2393104" y="3846956"/>
                  </a:lnTo>
                  <a:lnTo>
                    <a:pt x="2389087" y="3842917"/>
                  </a:lnTo>
                  <a:lnTo>
                    <a:pt x="2389087" y="3833046"/>
                  </a:lnTo>
                  <a:close/>
                  <a:moveTo>
                    <a:pt x="721966" y="3829008"/>
                  </a:moveTo>
                  <a:lnTo>
                    <a:pt x="731876" y="3829008"/>
                  </a:lnTo>
                  <a:lnTo>
                    <a:pt x="735895" y="3833046"/>
                  </a:lnTo>
                  <a:lnTo>
                    <a:pt x="735895" y="3842917"/>
                  </a:lnTo>
                  <a:lnTo>
                    <a:pt x="731876" y="3846956"/>
                  </a:lnTo>
                  <a:lnTo>
                    <a:pt x="721966" y="3846956"/>
                  </a:lnTo>
                  <a:lnTo>
                    <a:pt x="717947" y="3842917"/>
                  </a:lnTo>
                  <a:lnTo>
                    <a:pt x="717947" y="3833046"/>
                  </a:lnTo>
                  <a:close/>
                  <a:moveTo>
                    <a:pt x="482654" y="3829008"/>
                  </a:moveTo>
                  <a:lnTo>
                    <a:pt x="492564" y="3829008"/>
                  </a:lnTo>
                  <a:lnTo>
                    <a:pt x="496583" y="3833046"/>
                  </a:lnTo>
                  <a:lnTo>
                    <a:pt x="496583" y="3842917"/>
                  </a:lnTo>
                  <a:lnTo>
                    <a:pt x="492564" y="3846956"/>
                  </a:lnTo>
                  <a:lnTo>
                    <a:pt x="482654" y="3846956"/>
                  </a:lnTo>
                  <a:lnTo>
                    <a:pt x="478635" y="3842917"/>
                  </a:lnTo>
                  <a:lnTo>
                    <a:pt x="478635" y="3833046"/>
                  </a:lnTo>
                  <a:close/>
                  <a:moveTo>
                    <a:pt x="243340" y="3829008"/>
                  </a:moveTo>
                  <a:lnTo>
                    <a:pt x="253250" y="3829008"/>
                  </a:lnTo>
                  <a:lnTo>
                    <a:pt x="257269" y="3833046"/>
                  </a:lnTo>
                  <a:lnTo>
                    <a:pt x="257269" y="3842917"/>
                  </a:lnTo>
                  <a:lnTo>
                    <a:pt x="253250" y="3846956"/>
                  </a:lnTo>
                  <a:lnTo>
                    <a:pt x="243340" y="3846956"/>
                  </a:lnTo>
                  <a:lnTo>
                    <a:pt x="239321" y="3842917"/>
                  </a:lnTo>
                  <a:lnTo>
                    <a:pt x="239321" y="3833046"/>
                  </a:lnTo>
                  <a:close/>
                  <a:moveTo>
                    <a:pt x="4027" y="3829008"/>
                  </a:moveTo>
                  <a:lnTo>
                    <a:pt x="13937" y="3829008"/>
                  </a:lnTo>
                  <a:lnTo>
                    <a:pt x="17956" y="3833046"/>
                  </a:lnTo>
                  <a:lnTo>
                    <a:pt x="17956" y="3842917"/>
                  </a:lnTo>
                  <a:lnTo>
                    <a:pt x="13937" y="3846956"/>
                  </a:lnTo>
                  <a:lnTo>
                    <a:pt x="4027" y="3846956"/>
                  </a:lnTo>
                  <a:lnTo>
                    <a:pt x="8" y="3842917"/>
                  </a:lnTo>
                  <a:lnTo>
                    <a:pt x="8" y="3833046"/>
                  </a:lnTo>
                  <a:close/>
                  <a:moveTo>
                    <a:pt x="2157820" y="3589728"/>
                  </a:moveTo>
                  <a:lnTo>
                    <a:pt x="2167731" y="3589728"/>
                  </a:lnTo>
                  <a:lnTo>
                    <a:pt x="2171749" y="3593767"/>
                  </a:lnTo>
                  <a:lnTo>
                    <a:pt x="2171749" y="3603637"/>
                  </a:lnTo>
                  <a:lnTo>
                    <a:pt x="2167731" y="3607676"/>
                  </a:lnTo>
                  <a:lnTo>
                    <a:pt x="2157820" y="3607676"/>
                  </a:lnTo>
                  <a:lnTo>
                    <a:pt x="2153801" y="3603637"/>
                  </a:lnTo>
                  <a:lnTo>
                    <a:pt x="2153801" y="3593767"/>
                  </a:lnTo>
                  <a:close/>
                  <a:moveTo>
                    <a:pt x="1918511" y="3589728"/>
                  </a:moveTo>
                  <a:lnTo>
                    <a:pt x="1928421" y="3589728"/>
                  </a:lnTo>
                  <a:lnTo>
                    <a:pt x="1932441" y="3593767"/>
                  </a:lnTo>
                  <a:lnTo>
                    <a:pt x="1932441" y="3603637"/>
                  </a:lnTo>
                  <a:lnTo>
                    <a:pt x="1928421" y="3607676"/>
                  </a:lnTo>
                  <a:lnTo>
                    <a:pt x="1918511" y="3607676"/>
                  </a:lnTo>
                  <a:lnTo>
                    <a:pt x="1914493" y="3603637"/>
                  </a:lnTo>
                  <a:lnTo>
                    <a:pt x="1914493" y="3593767"/>
                  </a:lnTo>
                  <a:close/>
                  <a:moveTo>
                    <a:pt x="1679209" y="3589728"/>
                  </a:moveTo>
                  <a:lnTo>
                    <a:pt x="1689118" y="3589728"/>
                  </a:lnTo>
                  <a:lnTo>
                    <a:pt x="1693138" y="3593767"/>
                  </a:lnTo>
                  <a:lnTo>
                    <a:pt x="1693138" y="3603637"/>
                  </a:lnTo>
                  <a:lnTo>
                    <a:pt x="1689118" y="3607676"/>
                  </a:lnTo>
                  <a:lnTo>
                    <a:pt x="1679209" y="3607676"/>
                  </a:lnTo>
                  <a:lnTo>
                    <a:pt x="1675190" y="3603637"/>
                  </a:lnTo>
                  <a:lnTo>
                    <a:pt x="1675190" y="3593767"/>
                  </a:lnTo>
                  <a:close/>
                  <a:moveTo>
                    <a:pt x="1439892" y="3589728"/>
                  </a:moveTo>
                  <a:lnTo>
                    <a:pt x="1449803" y="3589728"/>
                  </a:lnTo>
                  <a:lnTo>
                    <a:pt x="1453822" y="3593767"/>
                  </a:lnTo>
                  <a:lnTo>
                    <a:pt x="1453822" y="3603637"/>
                  </a:lnTo>
                  <a:lnTo>
                    <a:pt x="1449803" y="3607676"/>
                  </a:lnTo>
                  <a:lnTo>
                    <a:pt x="1439892" y="3607676"/>
                  </a:lnTo>
                  <a:lnTo>
                    <a:pt x="1435874" y="3603637"/>
                  </a:lnTo>
                  <a:lnTo>
                    <a:pt x="1435874" y="3593767"/>
                  </a:lnTo>
                  <a:close/>
                  <a:moveTo>
                    <a:pt x="1200577" y="3589728"/>
                  </a:moveTo>
                  <a:lnTo>
                    <a:pt x="1210488" y="3589728"/>
                  </a:lnTo>
                  <a:lnTo>
                    <a:pt x="1214506" y="3593767"/>
                  </a:lnTo>
                  <a:lnTo>
                    <a:pt x="1214506" y="3603637"/>
                  </a:lnTo>
                  <a:lnTo>
                    <a:pt x="1210488" y="3607676"/>
                  </a:lnTo>
                  <a:lnTo>
                    <a:pt x="1200577" y="3607676"/>
                  </a:lnTo>
                  <a:lnTo>
                    <a:pt x="1196559" y="3603637"/>
                  </a:lnTo>
                  <a:lnTo>
                    <a:pt x="1196559" y="3593767"/>
                  </a:lnTo>
                  <a:close/>
                  <a:moveTo>
                    <a:pt x="961265" y="3589728"/>
                  </a:moveTo>
                  <a:lnTo>
                    <a:pt x="971175" y="3589728"/>
                  </a:lnTo>
                  <a:lnTo>
                    <a:pt x="975193" y="3593767"/>
                  </a:lnTo>
                  <a:lnTo>
                    <a:pt x="975193" y="3603637"/>
                  </a:lnTo>
                  <a:lnTo>
                    <a:pt x="971175" y="3607676"/>
                  </a:lnTo>
                  <a:lnTo>
                    <a:pt x="961265" y="3607676"/>
                  </a:lnTo>
                  <a:lnTo>
                    <a:pt x="957246" y="3603637"/>
                  </a:lnTo>
                  <a:lnTo>
                    <a:pt x="957246" y="3593767"/>
                  </a:lnTo>
                  <a:close/>
                  <a:moveTo>
                    <a:pt x="9572438" y="3589677"/>
                  </a:moveTo>
                  <a:lnTo>
                    <a:pt x="9582349" y="3589677"/>
                  </a:lnTo>
                  <a:lnTo>
                    <a:pt x="9586368" y="3593716"/>
                  </a:lnTo>
                  <a:lnTo>
                    <a:pt x="9586368" y="3603586"/>
                  </a:lnTo>
                  <a:lnTo>
                    <a:pt x="9582349" y="3607625"/>
                  </a:lnTo>
                  <a:lnTo>
                    <a:pt x="9572438" y="3607625"/>
                  </a:lnTo>
                  <a:lnTo>
                    <a:pt x="9568419" y="3603586"/>
                  </a:lnTo>
                  <a:lnTo>
                    <a:pt x="9568419" y="3593716"/>
                  </a:lnTo>
                  <a:close/>
                  <a:moveTo>
                    <a:pt x="9333125" y="3589677"/>
                  </a:moveTo>
                  <a:lnTo>
                    <a:pt x="9343036" y="3589677"/>
                  </a:lnTo>
                  <a:lnTo>
                    <a:pt x="9347055" y="3593716"/>
                  </a:lnTo>
                  <a:lnTo>
                    <a:pt x="9347055" y="3603586"/>
                  </a:lnTo>
                  <a:lnTo>
                    <a:pt x="9343036" y="3607625"/>
                  </a:lnTo>
                  <a:lnTo>
                    <a:pt x="9333125" y="3607625"/>
                  </a:lnTo>
                  <a:lnTo>
                    <a:pt x="9329106" y="3603586"/>
                  </a:lnTo>
                  <a:lnTo>
                    <a:pt x="9329106" y="3593716"/>
                  </a:lnTo>
                  <a:close/>
                  <a:moveTo>
                    <a:pt x="9093811" y="3589677"/>
                  </a:moveTo>
                  <a:lnTo>
                    <a:pt x="9103722" y="3589677"/>
                  </a:lnTo>
                  <a:lnTo>
                    <a:pt x="9107741" y="3593716"/>
                  </a:lnTo>
                  <a:lnTo>
                    <a:pt x="9107741" y="3603586"/>
                  </a:lnTo>
                  <a:lnTo>
                    <a:pt x="9103722" y="3607625"/>
                  </a:lnTo>
                  <a:lnTo>
                    <a:pt x="9093811" y="3607625"/>
                  </a:lnTo>
                  <a:lnTo>
                    <a:pt x="9089792" y="3603586"/>
                  </a:lnTo>
                  <a:lnTo>
                    <a:pt x="9089792" y="3593716"/>
                  </a:lnTo>
                  <a:close/>
                  <a:moveTo>
                    <a:pt x="8854496" y="3589677"/>
                  </a:moveTo>
                  <a:lnTo>
                    <a:pt x="8864407" y="3589677"/>
                  </a:lnTo>
                  <a:lnTo>
                    <a:pt x="8868426" y="3593716"/>
                  </a:lnTo>
                  <a:lnTo>
                    <a:pt x="8868426" y="3603586"/>
                  </a:lnTo>
                  <a:lnTo>
                    <a:pt x="8864407" y="3607625"/>
                  </a:lnTo>
                  <a:lnTo>
                    <a:pt x="8854496" y="3607625"/>
                  </a:lnTo>
                  <a:lnTo>
                    <a:pt x="8850477" y="3603586"/>
                  </a:lnTo>
                  <a:lnTo>
                    <a:pt x="8850477" y="3593716"/>
                  </a:lnTo>
                  <a:close/>
                  <a:moveTo>
                    <a:pt x="8615184" y="3589677"/>
                  </a:moveTo>
                  <a:lnTo>
                    <a:pt x="8625095" y="3589677"/>
                  </a:lnTo>
                  <a:lnTo>
                    <a:pt x="8629114" y="3593716"/>
                  </a:lnTo>
                  <a:lnTo>
                    <a:pt x="8629114" y="3603586"/>
                  </a:lnTo>
                  <a:lnTo>
                    <a:pt x="8625095" y="3607625"/>
                  </a:lnTo>
                  <a:lnTo>
                    <a:pt x="8615184" y="3607625"/>
                  </a:lnTo>
                  <a:lnTo>
                    <a:pt x="8611165" y="3603586"/>
                  </a:lnTo>
                  <a:lnTo>
                    <a:pt x="8611165" y="3593716"/>
                  </a:lnTo>
                  <a:close/>
                  <a:moveTo>
                    <a:pt x="8375869" y="3589677"/>
                  </a:moveTo>
                  <a:lnTo>
                    <a:pt x="8385779" y="3589677"/>
                  </a:lnTo>
                  <a:lnTo>
                    <a:pt x="8389799" y="3593716"/>
                  </a:lnTo>
                  <a:lnTo>
                    <a:pt x="8389799" y="3603586"/>
                  </a:lnTo>
                  <a:lnTo>
                    <a:pt x="8385779" y="3607625"/>
                  </a:lnTo>
                  <a:lnTo>
                    <a:pt x="8375869" y="3607625"/>
                  </a:lnTo>
                  <a:lnTo>
                    <a:pt x="8371850" y="3603586"/>
                  </a:lnTo>
                  <a:lnTo>
                    <a:pt x="8371850" y="3593716"/>
                  </a:lnTo>
                  <a:close/>
                  <a:moveTo>
                    <a:pt x="8136553" y="3589677"/>
                  </a:moveTo>
                  <a:lnTo>
                    <a:pt x="8146464" y="3589677"/>
                  </a:lnTo>
                  <a:lnTo>
                    <a:pt x="8150483" y="3593716"/>
                  </a:lnTo>
                  <a:lnTo>
                    <a:pt x="8150483" y="3603586"/>
                  </a:lnTo>
                  <a:lnTo>
                    <a:pt x="8146464" y="3607625"/>
                  </a:lnTo>
                  <a:lnTo>
                    <a:pt x="8136553" y="3607625"/>
                  </a:lnTo>
                  <a:lnTo>
                    <a:pt x="8132534" y="3603586"/>
                  </a:lnTo>
                  <a:lnTo>
                    <a:pt x="8132534" y="3593716"/>
                  </a:lnTo>
                  <a:close/>
                  <a:moveTo>
                    <a:pt x="7897241" y="3589677"/>
                  </a:moveTo>
                  <a:lnTo>
                    <a:pt x="7907151" y="3589677"/>
                  </a:lnTo>
                  <a:lnTo>
                    <a:pt x="7911170" y="3593716"/>
                  </a:lnTo>
                  <a:lnTo>
                    <a:pt x="7911170" y="3603586"/>
                  </a:lnTo>
                  <a:lnTo>
                    <a:pt x="7907151" y="3607625"/>
                  </a:lnTo>
                  <a:lnTo>
                    <a:pt x="7897241" y="3607625"/>
                  </a:lnTo>
                  <a:lnTo>
                    <a:pt x="7893222" y="3603586"/>
                  </a:lnTo>
                  <a:lnTo>
                    <a:pt x="7893222" y="3593716"/>
                  </a:lnTo>
                  <a:close/>
                  <a:moveTo>
                    <a:pt x="7657926" y="3589677"/>
                  </a:moveTo>
                  <a:lnTo>
                    <a:pt x="7667836" y="3589677"/>
                  </a:lnTo>
                  <a:lnTo>
                    <a:pt x="7671855" y="3593716"/>
                  </a:lnTo>
                  <a:lnTo>
                    <a:pt x="7671855" y="3603586"/>
                  </a:lnTo>
                  <a:lnTo>
                    <a:pt x="7667836" y="3607625"/>
                  </a:lnTo>
                  <a:lnTo>
                    <a:pt x="7657926" y="3607625"/>
                  </a:lnTo>
                  <a:lnTo>
                    <a:pt x="7653906" y="3603586"/>
                  </a:lnTo>
                  <a:lnTo>
                    <a:pt x="7653906" y="3593716"/>
                  </a:lnTo>
                  <a:close/>
                  <a:moveTo>
                    <a:pt x="7418611" y="3589677"/>
                  </a:moveTo>
                  <a:lnTo>
                    <a:pt x="7428521" y="3589677"/>
                  </a:lnTo>
                  <a:lnTo>
                    <a:pt x="7432540" y="3593716"/>
                  </a:lnTo>
                  <a:lnTo>
                    <a:pt x="7432540" y="3603586"/>
                  </a:lnTo>
                  <a:lnTo>
                    <a:pt x="7428521" y="3607625"/>
                  </a:lnTo>
                  <a:lnTo>
                    <a:pt x="7418611" y="3607625"/>
                  </a:lnTo>
                  <a:lnTo>
                    <a:pt x="7414592" y="3603586"/>
                  </a:lnTo>
                  <a:lnTo>
                    <a:pt x="7414592" y="3593716"/>
                  </a:lnTo>
                  <a:close/>
                  <a:moveTo>
                    <a:pt x="7179298" y="3589677"/>
                  </a:moveTo>
                  <a:lnTo>
                    <a:pt x="7189209" y="3589677"/>
                  </a:lnTo>
                  <a:lnTo>
                    <a:pt x="7193228" y="3593716"/>
                  </a:lnTo>
                  <a:lnTo>
                    <a:pt x="7193228" y="3603586"/>
                  </a:lnTo>
                  <a:lnTo>
                    <a:pt x="7189209" y="3607625"/>
                  </a:lnTo>
                  <a:lnTo>
                    <a:pt x="7179298" y="3607625"/>
                  </a:lnTo>
                  <a:lnTo>
                    <a:pt x="7175279" y="3603586"/>
                  </a:lnTo>
                  <a:lnTo>
                    <a:pt x="7175279" y="3593716"/>
                  </a:lnTo>
                  <a:close/>
                  <a:moveTo>
                    <a:pt x="6939983" y="3589677"/>
                  </a:moveTo>
                  <a:lnTo>
                    <a:pt x="6949894" y="3589677"/>
                  </a:lnTo>
                  <a:lnTo>
                    <a:pt x="6953913" y="3593716"/>
                  </a:lnTo>
                  <a:lnTo>
                    <a:pt x="6953913" y="3603586"/>
                  </a:lnTo>
                  <a:lnTo>
                    <a:pt x="6949894" y="3607625"/>
                  </a:lnTo>
                  <a:lnTo>
                    <a:pt x="6939983" y="3607625"/>
                  </a:lnTo>
                  <a:lnTo>
                    <a:pt x="6935964" y="3603586"/>
                  </a:lnTo>
                  <a:lnTo>
                    <a:pt x="6935964" y="3593716"/>
                  </a:lnTo>
                  <a:close/>
                  <a:moveTo>
                    <a:pt x="6700670" y="3589677"/>
                  </a:moveTo>
                  <a:lnTo>
                    <a:pt x="6710581" y="3589677"/>
                  </a:lnTo>
                  <a:lnTo>
                    <a:pt x="6714600" y="3593716"/>
                  </a:lnTo>
                  <a:lnTo>
                    <a:pt x="6714600" y="3603586"/>
                  </a:lnTo>
                  <a:lnTo>
                    <a:pt x="6710581" y="3607625"/>
                  </a:lnTo>
                  <a:lnTo>
                    <a:pt x="6700670" y="3607625"/>
                  </a:lnTo>
                  <a:lnTo>
                    <a:pt x="6696651" y="3603586"/>
                  </a:lnTo>
                  <a:lnTo>
                    <a:pt x="6696651" y="3593716"/>
                  </a:lnTo>
                  <a:close/>
                  <a:moveTo>
                    <a:pt x="6461356" y="3589677"/>
                  </a:moveTo>
                  <a:lnTo>
                    <a:pt x="6471266" y="3589677"/>
                  </a:lnTo>
                  <a:lnTo>
                    <a:pt x="6475285" y="3593716"/>
                  </a:lnTo>
                  <a:lnTo>
                    <a:pt x="6475285" y="3603586"/>
                  </a:lnTo>
                  <a:lnTo>
                    <a:pt x="6471266" y="3607625"/>
                  </a:lnTo>
                  <a:lnTo>
                    <a:pt x="6461356" y="3607625"/>
                  </a:lnTo>
                  <a:lnTo>
                    <a:pt x="6457337" y="3603586"/>
                  </a:lnTo>
                  <a:lnTo>
                    <a:pt x="6457337" y="3593716"/>
                  </a:lnTo>
                  <a:close/>
                  <a:moveTo>
                    <a:pt x="6222042" y="3589677"/>
                  </a:moveTo>
                  <a:lnTo>
                    <a:pt x="6231952" y="3589677"/>
                  </a:lnTo>
                  <a:lnTo>
                    <a:pt x="6235971" y="3593716"/>
                  </a:lnTo>
                  <a:lnTo>
                    <a:pt x="6235971" y="3603586"/>
                  </a:lnTo>
                  <a:lnTo>
                    <a:pt x="6231952" y="3607625"/>
                  </a:lnTo>
                  <a:lnTo>
                    <a:pt x="6222042" y="3607625"/>
                  </a:lnTo>
                  <a:lnTo>
                    <a:pt x="6218023" y="3603586"/>
                  </a:lnTo>
                  <a:lnTo>
                    <a:pt x="6218023" y="3593716"/>
                  </a:lnTo>
                  <a:close/>
                  <a:moveTo>
                    <a:pt x="5982729" y="3589677"/>
                  </a:moveTo>
                  <a:lnTo>
                    <a:pt x="5992639" y="3589677"/>
                  </a:lnTo>
                  <a:lnTo>
                    <a:pt x="5996658" y="3593716"/>
                  </a:lnTo>
                  <a:lnTo>
                    <a:pt x="5996658" y="3603586"/>
                  </a:lnTo>
                  <a:lnTo>
                    <a:pt x="5992639" y="3607625"/>
                  </a:lnTo>
                  <a:lnTo>
                    <a:pt x="5982729" y="3607625"/>
                  </a:lnTo>
                  <a:lnTo>
                    <a:pt x="5978710" y="3603586"/>
                  </a:lnTo>
                  <a:lnTo>
                    <a:pt x="5978710" y="3593716"/>
                  </a:lnTo>
                  <a:close/>
                  <a:moveTo>
                    <a:pt x="5743412" y="3589677"/>
                  </a:moveTo>
                  <a:lnTo>
                    <a:pt x="5753323" y="3589677"/>
                  </a:lnTo>
                  <a:lnTo>
                    <a:pt x="5757342" y="3593716"/>
                  </a:lnTo>
                  <a:lnTo>
                    <a:pt x="5757342" y="3603586"/>
                  </a:lnTo>
                  <a:lnTo>
                    <a:pt x="5753323" y="3607625"/>
                  </a:lnTo>
                  <a:lnTo>
                    <a:pt x="5743412" y="3607625"/>
                  </a:lnTo>
                  <a:lnTo>
                    <a:pt x="5739393" y="3603586"/>
                  </a:lnTo>
                  <a:lnTo>
                    <a:pt x="5739393" y="3593716"/>
                  </a:lnTo>
                  <a:close/>
                  <a:moveTo>
                    <a:pt x="5504099" y="3589677"/>
                  </a:moveTo>
                  <a:lnTo>
                    <a:pt x="5514010" y="3589677"/>
                  </a:lnTo>
                  <a:lnTo>
                    <a:pt x="5518029" y="3593716"/>
                  </a:lnTo>
                  <a:lnTo>
                    <a:pt x="5518029" y="3603586"/>
                  </a:lnTo>
                  <a:lnTo>
                    <a:pt x="5514010" y="3607625"/>
                  </a:lnTo>
                  <a:lnTo>
                    <a:pt x="5504099" y="3607625"/>
                  </a:lnTo>
                  <a:lnTo>
                    <a:pt x="5500080" y="3603586"/>
                  </a:lnTo>
                  <a:lnTo>
                    <a:pt x="5500080" y="3593716"/>
                  </a:lnTo>
                  <a:close/>
                  <a:moveTo>
                    <a:pt x="5264784" y="3589677"/>
                  </a:moveTo>
                  <a:lnTo>
                    <a:pt x="5274694" y="3589677"/>
                  </a:lnTo>
                  <a:lnTo>
                    <a:pt x="5278713" y="3593716"/>
                  </a:lnTo>
                  <a:lnTo>
                    <a:pt x="5278713" y="3603586"/>
                  </a:lnTo>
                  <a:lnTo>
                    <a:pt x="5274694" y="3607625"/>
                  </a:lnTo>
                  <a:lnTo>
                    <a:pt x="5264784" y="3607625"/>
                  </a:lnTo>
                  <a:lnTo>
                    <a:pt x="5260765" y="3603586"/>
                  </a:lnTo>
                  <a:lnTo>
                    <a:pt x="5260765" y="3593716"/>
                  </a:lnTo>
                  <a:close/>
                  <a:moveTo>
                    <a:pt x="5025470" y="3589677"/>
                  </a:moveTo>
                  <a:lnTo>
                    <a:pt x="5035381" y="3589677"/>
                  </a:lnTo>
                  <a:lnTo>
                    <a:pt x="5039400" y="3593716"/>
                  </a:lnTo>
                  <a:lnTo>
                    <a:pt x="5039400" y="3603586"/>
                  </a:lnTo>
                  <a:lnTo>
                    <a:pt x="5035381" y="3607625"/>
                  </a:lnTo>
                  <a:lnTo>
                    <a:pt x="5025470" y="3607625"/>
                  </a:lnTo>
                  <a:lnTo>
                    <a:pt x="5021451" y="3603586"/>
                  </a:lnTo>
                  <a:lnTo>
                    <a:pt x="5021451" y="3593716"/>
                  </a:lnTo>
                  <a:close/>
                  <a:moveTo>
                    <a:pt x="4786241" y="3589677"/>
                  </a:moveTo>
                  <a:lnTo>
                    <a:pt x="4796152" y="3589677"/>
                  </a:lnTo>
                  <a:lnTo>
                    <a:pt x="4800171" y="3593716"/>
                  </a:lnTo>
                  <a:lnTo>
                    <a:pt x="4800171" y="3603586"/>
                  </a:lnTo>
                  <a:lnTo>
                    <a:pt x="4796152" y="3607625"/>
                  </a:lnTo>
                  <a:lnTo>
                    <a:pt x="4786241" y="3607625"/>
                  </a:lnTo>
                  <a:lnTo>
                    <a:pt x="4782224" y="3603586"/>
                  </a:lnTo>
                  <a:lnTo>
                    <a:pt x="4782224" y="3593716"/>
                  </a:lnTo>
                  <a:close/>
                  <a:moveTo>
                    <a:pt x="4546929" y="3589677"/>
                  </a:moveTo>
                  <a:lnTo>
                    <a:pt x="4556840" y="3589677"/>
                  </a:lnTo>
                  <a:lnTo>
                    <a:pt x="4560859" y="3593716"/>
                  </a:lnTo>
                  <a:lnTo>
                    <a:pt x="4560859" y="3603586"/>
                  </a:lnTo>
                  <a:lnTo>
                    <a:pt x="4556840" y="3607625"/>
                  </a:lnTo>
                  <a:lnTo>
                    <a:pt x="4546929" y="3607625"/>
                  </a:lnTo>
                  <a:lnTo>
                    <a:pt x="4542910" y="3603586"/>
                  </a:lnTo>
                  <a:lnTo>
                    <a:pt x="4542910" y="3593716"/>
                  </a:lnTo>
                  <a:close/>
                  <a:moveTo>
                    <a:pt x="4307612" y="3589677"/>
                  </a:moveTo>
                  <a:lnTo>
                    <a:pt x="4317523" y="3589677"/>
                  </a:lnTo>
                  <a:lnTo>
                    <a:pt x="4321543" y="3593716"/>
                  </a:lnTo>
                  <a:lnTo>
                    <a:pt x="4321543" y="3603586"/>
                  </a:lnTo>
                  <a:lnTo>
                    <a:pt x="4317523" y="3607625"/>
                  </a:lnTo>
                  <a:lnTo>
                    <a:pt x="4307612" y="3607625"/>
                  </a:lnTo>
                  <a:lnTo>
                    <a:pt x="4303595" y="3603586"/>
                  </a:lnTo>
                  <a:lnTo>
                    <a:pt x="4303595" y="3593716"/>
                  </a:lnTo>
                  <a:close/>
                  <a:moveTo>
                    <a:pt x="4068297" y="3589677"/>
                  </a:moveTo>
                  <a:lnTo>
                    <a:pt x="4078210" y="3589677"/>
                  </a:lnTo>
                  <a:lnTo>
                    <a:pt x="4082229" y="3593716"/>
                  </a:lnTo>
                  <a:lnTo>
                    <a:pt x="4082229" y="3603586"/>
                  </a:lnTo>
                  <a:lnTo>
                    <a:pt x="4078210" y="3607625"/>
                  </a:lnTo>
                  <a:lnTo>
                    <a:pt x="4068297" y="3607625"/>
                  </a:lnTo>
                  <a:lnTo>
                    <a:pt x="4064278" y="3603586"/>
                  </a:lnTo>
                  <a:lnTo>
                    <a:pt x="4064278" y="3593716"/>
                  </a:lnTo>
                  <a:close/>
                  <a:moveTo>
                    <a:pt x="3828990" y="3589677"/>
                  </a:moveTo>
                  <a:lnTo>
                    <a:pt x="3838899" y="3589677"/>
                  </a:lnTo>
                  <a:lnTo>
                    <a:pt x="3842917" y="3593716"/>
                  </a:lnTo>
                  <a:lnTo>
                    <a:pt x="3842917" y="3603586"/>
                  </a:lnTo>
                  <a:lnTo>
                    <a:pt x="3838899" y="3607625"/>
                  </a:lnTo>
                  <a:lnTo>
                    <a:pt x="3828990" y="3607625"/>
                  </a:lnTo>
                  <a:lnTo>
                    <a:pt x="3824971" y="3603586"/>
                  </a:lnTo>
                  <a:lnTo>
                    <a:pt x="3824971" y="3593716"/>
                  </a:lnTo>
                  <a:close/>
                  <a:moveTo>
                    <a:pt x="3589676" y="3589677"/>
                  </a:moveTo>
                  <a:lnTo>
                    <a:pt x="3599585" y="3589677"/>
                  </a:lnTo>
                  <a:lnTo>
                    <a:pt x="3603604" y="3593716"/>
                  </a:lnTo>
                  <a:lnTo>
                    <a:pt x="3603604" y="3603586"/>
                  </a:lnTo>
                  <a:lnTo>
                    <a:pt x="3599585" y="3607625"/>
                  </a:lnTo>
                  <a:lnTo>
                    <a:pt x="3589676" y="3607625"/>
                  </a:lnTo>
                  <a:lnTo>
                    <a:pt x="3585657" y="3603586"/>
                  </a:lnTo>
                  <a:lnTo>
                    <a:pt x="3585657" y="3593716"/>
                  </a:lnTo>
                  <a:close/>
                  <a:moveTo>
                    <a:pt x="3350359" y="3589677"/>
                  </a:moveTo>
                  <a:lnTo>
                    <a:pt x="3360268" y="3589677"/>
                  </a:lnTo>
                  <a:lnTo>
                    <a:pt x="3364287" y="3593716"/>
                  </a:lnTo>
                  <a:lnTo>
                    <a:pt x="3364287" y="3603586"/>
                  </a:lnTo>
                  <a:lnTo>
                    <a:pt x="3360268" y="3607625"/>
                  </a:lnTo>
                  <a:lnTo>
                    <a:pt x="3350359" y="3607625"/>
                  </a:lnTo>
                  <a:lnTo>
                    <a:pt x="3346340" y="3603586"/>
                  </a:lnTo>
                  <a:lnTo>
                    <a:pt x="3346340" y="3593716"/>
                  </a:lnTo>
                  <a:close/>
                  <a:moveTo>
                    <a:pt x="3111048" y="3589677"/>
                  </a:moveTo>
                  <a:lnTo>
                    <a:pt x="3120959" y="3589677"/>
                  </a:lnTo>
                  <a:lnTo>
                    <a:pt x="3124977" y="3593716"/>
                  </a:lnTo>
                  <a:lnTo>
                    <a:pt x="3124977" y="3603586"/>
                  </a:lnTo>
                  <a:lnTo>
                    <a:pt x="3120959" y="3607625"/>
                  </a:lnTo>
                  <a:lnTo>
                    <a:pt x="3111048" y="3607625"/>
                  </a:lnTo>
                  <a:lnTo>
                    <a:pt x="3107029" y="3603586"/>
                  </a:lnTo>
                  <a:lnTo>
                    <a:pt x="3107029" y="3593716"/>
                  </a:lnTo>
                  <a:close/>
                  <a:moveTo>
                    <a:pt x="2871737" y="3589677"/>
                  </a:moveTo>
                  <a:lnTo>
                    <a:pt x="2881646" y="3589677"/>
                  </a:lnTo>
                  <a:lnTo>
                    <a:pt x="2885666" y="3593716"/>
                  </a:lnTo>
                  <a:lnTo>
                    <a:pt x="2885666" y="3603586"/>
                  </a:lnTo>
                  <a:lnTo>
                    <a:pt x="2881646" y="3607625"/>
                  </a:lnTo>
                  <a:lnTo>
                    <a:pt x="2871737" y="3607625"/>
                  </a:lnTo>
                  <a:lnTo>
                    <a:pt x="2867717" y="3603586"/>
                  </a:lnTo>
                  <a:lnTo>
                    <a:pt x="2867717" y="3593716"/>
                  </a:lnTo>
                  <a:close/>
                  <a:moveTo>
                    <a:pt x="2632423" y="3589677"/>
                  </a:moveTo>
                  <a:lnTo>
                    <a:pt x="2642334" y="3589677"/>
                  </a:lnTo>
                  <a:lnTo>
                    <a:pt x="2646352" y="3593716"/>
                  </a:lnTo>
                  <a:lnTo>
                    <a:pt x="2646352" y="3603586"/>
                  </a:lnTo>
                  <a:lnTo>
                    <a:pt x="2642334" y="3607625"/>
                  </a:lnTo>
                  <a:lnTo>
                    <a:pt x="2632423" y="3607625"/>
                  </a:lnTo>
                  <a:lnTo>
                    <a:pt x="2628404" y="3603586"/>
                  </a:lnTo>
                  <a:lnTo>
                    <a:pt x="2628404" y="3593716"/>
                  </a:lnTo>
                  <a:close/>
                  <a:moveTo>
                    <a:pt x="2393104" y="3589677"/>
                  </a:moveTo>
                  <a:lnTo>
                    <a:pt x="2403015" y="3589677"/>
                  </a:lnTo>
                  <a:lnTo>
                    <a:pt x="2407034" y="3593716"/>
                  </a:lnTo>
                  <a:lnTo>
                    <a:pt x="2407034" y="3603586"/>
                  </a:lnTo>
                  <a:lnTo>
                    <a:pt x="2403015" y="3607625"/>
                  </a:lnTo>
                  <a:lnTo>
                    <a:pt x="2393104" y="3607625"/>
                  </a:lnTo>
                  <a:lnTo>
                    <a:pt x="2389087" y="3603586"/>
                  </a:lnTo>
                  <a:lnTo>
                    <a:pt x="2389087" y="3593716"/>
                  </a:lnTo>
                  <a:close/>
                  <a:moveTo>
                    <a:pt x="721966" y="3589677"/>
                  </a:moveTo>
                  <a:lnTo>
                    <a:pt x="731877" y="3589677"/>
                  </a:lnTo>
                  <a:lnTo>
                    <a:pt x="735896" y="3593716"/>
                  </a:lnTo>
                  <a:lnTo>
                    <a:pt x="735896" y="3603586"/>
                  </a:lnTo>
                  <a:lnTo>
                    <a:pt x="731877" y="3607625"/>
                  </a:lnTo>
                  <a:lnTo>
                    <a:pt x="721966" y="3607625"/>
                  </a:lnTo>
                  <a:lnTo>
                    <a:pt x="717948" y="3603586"/>
                  </a:lnTo>
                  <a:lnTo>
                    <a:pt x="717948" y="3593716"/>
                  </a:lnTo>
                  <a:close/>
                  <a:moveTo>
                    <a:pt x="482654" y="3589677"/>
                  </a:moveTo>
                  <a:lnTo>
                    <a:pt x="492565" y="3589677"/>
                  </a:lnTo>
                  <a:lnTo>
                    <a:pt x="496584" y="3593716"/>
                  </a:lnTo>
                  <a:lnTo>
                    <a:pt x="496584" y="3603586"/>
                  </a:lnTo>
                  <a:lnTo>
                    <a:pt x="492565" y="3607625"/>
                  </a:lnTo>
                  <a:lnTo>
                    <a:pt x="482654" y="3607625"/>
                  </a:lnTo>
                  <a:lnTo>
                    <a:pt x="478635" y="3603586"/>
                  </a:lnTo>
                  <a:lnTo>
                    <a:pt x="478635" y="3593716"/>
                  </a:lnTo>
                  <a:close/>
                  <a:moveTo>
                    <a:pt x="243341" y="3589677"/>
                  </a:moveTo>
                  <a:lnTo>
                    <a:pt x="253251" y="3589677"/>
                  </a:lnTo>
                  <a:lnTo>
                    <a:pt x="257270" y="3593716"/>
                  </a:lnTo>
                  <a:lnTo>
                    <a:pt x="257270" y="3603586"/>
                  </a:lnTo>
                  <a:lnTo>
                    <a:pt x="253251" y="3607625"/>
                  </a:lnTo>
                  <a:lnTo>
                    <a:pt x="243341" y="3607625"/>
                  </a:lnTo>
                  <a:lnTo>
                    <a:pt x="239321" y="3603586"/>
                  </a:lnTo>
                  <a:lnTo>
                    <a:pt x="239321" y="3593716"/>
                  </a:lnTo>
                  <a:close/>
                  <a:moveTo>
                    <a:pt x="4027" y="3589677"/>
                  </a:moveTo>
                  <a:lnTo>
                    <a:pt x="13938" y="3589677"/>
                  </a:lnTo>
                  <a:lnTo>
                    <a:pt x="17957" y="3593716"/>
                  </a:lnTo>
                  <a:lnTo>
                    <a:pt x="17957" y="3603586"/>
                  </a:lnTo>
                  <a:lnTo>
                    <a:pt x="13938" y="3607625"/>
                  </a:lnTo>
                  <a:lnTo>
                    <a:pt x="4027" y="3607625"/>
                  </a:lnTo>
                  <a:lnTo>
                    <a:pt x="8" y="3603586"/>
                  </a:lnTo>
                  <a:lnTo>
                    <a:pt x="8" y="3593716"/>
                  </a:lnTo>
                  <a:close/>
                  <a:moveTo>
                    <a:pt x="9572438" y="3350398"/>
                  </a:moveTo>
                  <a:lnTo>
                    <a:pt x="9582349" y="3350398"/>
                  </a:lnTo>
                  <a:lnTo>
                    <a:pt x="9586368" y="3354436"/>
                  </a:lnTo>
                  <a:lnTo>
                    <a:pt x="9586368" y="3364306"/>
                  </a:lnTo>
                  <a:lnTo>
                    <a:pt x="9582349" y="3368345"/>
                  </a:lnTo>
                  <a:lnTo>
                    <a:pt x="9572438" y="3368345"/>
                  </a:lnTo>
                  <a:lnTo>
                    <a:pt x="9568419" y="3364306"/>
                  </a:lnTo>
                  <a:lnTo>
                    <a:pt x="9568419" y="3354436"/>
                  </a:lnTo>
                  <a:close/>
                  <a:moveTo>
                    <a:pt x="9333125" y="3350398"/>
                  </a:moveTo>
                  <a:lnTo>
                    <a:pt x="9343036" y="3350398"/>
                  </a:lnTo>
                  <a:lnTo>
                    <a:pt x="9347055" y="3354436"/>
                  </a:lnTo>
                  <a:lnTo>
                    <a:pt x="9347055" y="3364306"/>
                  </a:lnTo>
                  <a:lnTo>
                    <a:pt x="9343036" y="3368345"/>
                  </a:lnTo>
                  <a:lnTo>
                    <a:pt x="9333125" y="3368345"/>
                  </a:lnTo>
                  <a:lnTo>
                    <a:pt x="9329106" y="3364306"/>
                  </a:lnTo>
                  <a:lnTo>
                    <a:pt x="9329106" y="3354436"/>
                  </a:lnTo>
                  <a:close/>
                  <a:moveTo>
                    <a:pt x="9093811" y="3350398"/>
                  </a:moveTo>
                  <a:lnTo>
                    <a:pt x="9103722" y="3350398"/>
                  </a:lnTo>
                  <a:lnTo>
                    <a:pt x="9107741" y="3354436"/>
                  </a:lnTo>
                  <a:lnTo>
                    <a:pt x="9107741" y="3364306"/>
                  </a:lnTo>
                  <a:lnTo>
                    <a:pt x="9103722" y="3368345"/>
                  </a:lnTo>
                  <a:lnTo>
                    <a:pt x="9093811" y="3368345"/>
                  </a:lnTo>
                  <a:lnTo>
                    <a:pt x="9089792" y="3364306"/>
                  </a:lnTo>
                  <a:lnTo>
                    <a:pt x="9089792" y="3354436"/>
                  </a:lnTo>
                  <a:close/>
                  <a:moveTo>
                    <a:pt x="8854496" y="3350398"/>
                  </a:moveTo>
                  <a:lnTo>
                    <a:pt x="8864407" y="3350398"/>
                  </a:lnTo>
                  <a:lnTo>
                    <a:pt x="8868426" y="3354436"/>
                  </a:lnTo>
                  <a:lnTo>
                    <a:pt x="8868426" y="3364306"/>
                  </a:lnTo>
                  <a:lnTo>
                    <a:pt x="8864407" y="3368345"/>
                  </a:lnTo>
                  <a:lnTo>
                    <a:pt x="8854496" y="3368345"/>
                  </a:lnTo>
                  <a:lnTo>
                    <a:pt x="8850477" y="3364306"/>
                  </a:lnTo>
                  <a:lnTo>
                    <a:pt x="8850477" y="3354436"/>
                  </a:lnTo>
                  <a:close/>
                  <a:moveTo>
                    <a:pt x="8615184" y="3350398"/>
                  </a:moveTo>
                  <a:lnTo>
                    <a:pt x="8625095" y="3350398"/>
                  </a:lnTo>
                  <a:lnTo>
                    <a:pt x="8629114" y="3354436"/>
                  </a:lnTo>
                  <a:lnTo>
                    <a:pt x="8629114" y="3364306"/>
                  </a:lnTo>
                  <a:lnTo>
                    <a:pt x="8625095" y="3368345"/>
                  </a:lnTo>
                  <a:lnTo>
                    <a:pt x="8615184" y="3368345"/>
                  </a:lnTo>
                  <a:lnTo>
                    <a:pt x="8611165" y="3364306"/>
                  </a:lnTo>
                  <a:lnTo>
                    <a:pt x="8611165" y="3354436"/>
                  </a:lnTo>
                  <a:close/>
                  <a:moveTo>
                    <a:pt x="8375869" y="3350398"/>
                  </a:moveTo>
                  <a:lnTo>
                    <a:pt x="8385779" y="3350398"/>
                  </a:lnTo>
                  <a:lnTo>
                    <a:pt x="8389799" y="3354436"/>
                  </a:lnTo>
                  <a:lnTo>
                    <a:pt x="8389799" y="3364306"/>
                  </a:lnTo>
                  <a:lnTo>
                    <a:pt x="8385779" y="3368345"/>
                  </a:lnTo>
                  <a:lnTo>
                    <a:pt x="8375869" y="3368345"/>
                  </a:lnTo>
                  <a:lnTo>
                    <a:pt x="8371850" y="3364306"/>
                  </a:lnTo>
                  <a:lnTo>
                    <a:pt x="8371850" y="3354436"/>
                  </a:lnTo>
                  <a:close/>
                  <a:moveTo>
                    <a:pt x="8136553" y="3350398"/>
                  </a:moveTo>
                  <a:lnTo>
                    <a:pt x="8146464" y="3350398"/>
                  </a:lnTo>
                  <a:lnTo>
                    <a:pt x="8150483" y="3354436"/>
                  </a:lnTo>
                  <a:lnTo>
                    <a:pt x="8150483" y="3364306"/>
                  </a:lnTo>
                  <a:lnTo>
                    <a:pt x="8146464" y="3368345"/>
                  </a:lnTo>
                  <a:lnTo>
                    <a:pt x="8136553" y="3368345"/>
                  </a:lnTo>
                  <a:lnTo>
                    <a:pt x="8132534" y="3364306"/>
                  </a:lnTo>
                  <a:lnTo>
                    <a:pt x="8132534" y="3354436"/>
                  </a:lnTo>
                  <a:close/>
                  <a:moveTo>
                    <a:pt x="7897241" y="3350398"/>
                  </a:moveTo>
                  <a:lnTo>
                    <a:pt x="7907151" y="3350398"/>
                  </a:lnTo>
                  <a:lnTo>
                    <a:pt x="7911170" y="3354436"/>
                  </a:lnTo>
                  <a:lnTo>
                    <a:pt x="7911170" y="3364306"/>
                  </a:lnTo>
                  <a:lnTo>
                    <a:pt x="7907151" y="3368345"/>
                  </a:lnTo>
                  <a:lnTo>
                    <a:pt x="7897241" y="3368345"/>
                  </a:lnTo>
                  <a:lnTo>
                    <a:pt x="7893222" y="3364306"/>
                  </a:lnTo>
                  <a:lnTo>
                    <a:pt x="7893222" y="3354436"/>
                  </a:lnTo>
                  <a:close/>
                  <a:moveTo>
                    <a:pt x="7657926" y="3350398"/>
                  </a:moveTo>
                  <a:lnTo>
                    <a:pt x="7667836" y="3350398"/>
                  </a:lnTo>
                  <a:lnTo>
                    <a:pt x="7671855" y="3354436"/>
                  </a:lnTo>
                  <a:lnTo>
                    <a:pt x="7671855" y="3364306"/>
                  </a:lnTo>
                  <a:lnTo>
                    <a:pt x="7667836" y="3368345"/>
                  </a:lnTo>
                  <a:lnTo>
                    <a:pt x="7657926" y="3368345"/>
                  </a:lnTo>
                  <a:lnTo>
                    <a:pt x="7653906" y="3364306"/>
                  </a:lnTo>
                  <a:lnTo>
                    <a:pt x="7653906" y="3354436"/>
                  </a:lnTo>
                  <a:close/>
                  <a:moveTo>
                    <a:pt x="7418611" y="3350398"/>
                  </a:moveTo>
                  <a:lnTo>
                    <a:pt x="7428521" y="3350398"/>
                  </a:lnTo>
                  <a:lnTo>
                    <a:pt x="7432540" y="3354436"/>
                  </a:lnTo>
                  <a:lnTo>
                    <a:pt x="7432540" y="3364306"/>
                  </a:lnTo>
                  <a:lnTo>
                    <a:pt x="7428521" y="3368345"/>
                  </a:lnTo>
                  <a:lnTo>
                    <a:pt x="7418611" y="3368345"/>
                  </a:lnTo>
                  <a:lnTo>
                    <a:pt x="7414592" y="3364306"/>
                  </a:lnTo>
                  <a:lnTo>
                    <a:pt x="7414592" y="3354436"/>
                  </a:lnTo>
                  <a:close/>
                  <a:moveTo>
                    <a:pt x="7179298" y="3350398"/>
                  </a:moveTo>
                  <a:lnTo>
                    <a:pt x="7189209" y="3350398"/>
                  </a:lnTo>
                  <a:lnTo>
                    <a:pt x="7193228" y="3354436"/>
                  </a:lnTo>
                  <a:lnTo>
                    <a:pt x="7193228" y="3364306"/>
                  </a:lnTo>
                  <a:lnTo>
                    <a:pt x="7189209" y="3368345"/>
                  </a:lnTo>
                  <a:lnTo>
                    <a:pt x="7179298" y="3368345"/>
                  </a:lnTo>
                  <a:lnTo>
                    <a:pt x="7175279" y="3364306"/>
                  </a:lnTo>
                  <a:lnTo>
                    <a:pt x="7175279" y="3354436"/>
                  </a:lnTo>
                  <a:close/>
                  <a:moveTo>
                    <a:pt x="6939983" y="3350398"/>
                  </a:moveTo>
                  <a:lnTo>
                    <a:pt x="6949894" y="3350398"/>
                  </a:lnTo>
                  <a:lnTo>
                    <a:pt x="6953913" y="3354436"/>
                  </a:lnTo>
                  <a:lnTo>
                    <a:pt x="6953913" y="3364306"/>
                  </a:lnTo>
                  <a:lnTo>
                    <a:pt x="6949894" y="3368345"/>
                  </a:lnTo>
                  <a:lnTo>
                    <a:pt x="6939983" y="3368345"/>
                  </a:lnTo>
                  <a:lnTo>
                    <a:pt x="6935964" y="3364306"/>
                  </a:lnTo>
                  <a:lnTo>
                    <a:pt x="6935964" y="3354436"/>
                  </a:lnTo>
                  <a:close/>
                  <a:moveTo>
                    <a:pt x="6700670" y="3350398"/>
                  </a:moveTo>
                  <a:lnTo>
                    <a:pt x="6710581" y="3350398"/>
                  </a:lnTo>
                  <a:lnTo>
                    <a:pt x="6714600" y="3354436"/>
                  </a:lnTo>
                  <a:lnTo>
                    <a:pt x="6714600" y="3364306"/>
                  </a:lnTo>
                  <a:lnTo>
                    <a:pt x="6710581" y="3368345"/>
                  </a:lnTo>
                  <a:lnTo>
                    <a:pt x="6700670" y="3368345"/>
                  </a:lnTo>
                  <a:lnTo>
                    <a:pt x="6696651" y="3364306"/>
                  </a:lnTo>
                  <a:lnTo>
                    <a:pt x="6696651" y="3354436"/>
                  </a:lnTo>
                  <a:close/>
                  <a:moveTo>
                    <a:pt x="6461356" y="3350398"/>
                  </a:moveTo>
                  <a:lnTo>
                    <a:pt x="6471266" y="3350398"/>
                  </a:lnTo>
                  <a:lnTo>
                    <a:pt x="6475285" y="3354436"/>
                  </a:lnTo>
                  <a:lnTo>
                    <a:pt x="6475285" y="3364306"/>
                  </a:lnTo>
                  <a:lnTo>
                    <a:pt x="6471266" y="3368345"/>
                  </a:lnTo>
                  <a:lnTo>
                    <a:pt x="6461356" y="3368345"/>
                  </a:lnTo>
                  <a:lnTo>
                    <a:pt x="6457337" y="3364306"/>
                  </a:lnTo>
                  <a:lnTo>
                    <a:pt x="6457337" y="3354436"/>
                  </a:lnTo>
                  <a:close/>
                  <a:moveTo>
                    <a:pt x="6222042" y="3350398"/>
                  </a:moveTo>
                  <a:lnTo>
                    <a:pt x="6231952" y="3350398"/>
                  </a:lnTo>
                  <a:lnTo>
                    <a:pt x="6235971" y="3354436"/>
                  </a:lnTo>
                  <a:lnTo>
                    <a:pt x="6235971" y="3364306"/>
                  </a:lnTo>
                  <a:lnTo>
                    <a:pt x="6231952" y="3368345"/>
                  </a:lnTo>
                  <a:lnTo>
                    <a:pt x="6222042" y="3368345"/>
                  </a:lnTo>
                  <a:lnTo>
                    <a:pt x="6218023" y="3364306"/>
                  </a:lnTo>
                  <a:lnTo>
                    <a:pt x="6218023" y="3354436"/>
                  </a:lnTo>
                  <a:close/>
                  <a:moveTo>
                    <a:pt x="5982729" y="3350398"/>
                  </a:moveTo>
                  <a:lnTo>
                    <a:pt x="5992639" y="3350398"/>
                  </a:lnTo>
                  <a:lnTo>
                    <a:pt x="5996658" y="3354436"/>
                  </a:lnTo>
                  <a:lnTo>
                    <a:pt x="5996658" y="3364306"/>
                  </a:lnTo>
                  <a:lnTo>
                    <a:pt x="5992639" y="3368345"/>
                  </a:lnTo>
                  <a:lnTo>
                    <a:pt x="5982729" y="3368345"/>
                  </a:lnTo>
                  <a:lnTo>
                    <a:pt x="5978710" y="3364306"/>
                  </a:lnTo>
                  <a:lnTo>
                    <a:pt x="5978710" y="3354436"/>
                  </a:lnTo>
                  <a:close/>
                  <a:moveTo>
                    <a:pt x="5743412" y="3350398"/>
                  </a:moveTo>
                  <a:lnTo>
                    <a:pt x="5753323" y="3350398"/>
                  </a:lnTo>
                  <a:lnTo>
                    <a:pt x="5757342" y="3354436"/>
                  </a:lnTo>
                  <a:lnTo>
                    <a:pt x="5757342" y="3364306"/>
                  </a:lnTo>
                  <a:lnTo>
                    <a:pt x="5753323" y="3368345"/>
                  </a:lnTo>
                  <a:lnTo>
                    <a:pt x="5743412" y="3368345"/>
                  </a:lnTo>
                  <a:lnTo>
                    <a:pt x="5739393" y="3364306"/>
                  </a:lnTo>
                  <a:lnTo>
                    <a:pt x="5739393" y="3354436"/>
                  </a:lnTo>
                  <a:close/>
                  <a:moveTo>
                    <a:pt x="5504099" y="3350398"/>
                  </a:moveTo>
                  <a:lnTo>
                    <a:pt x="5514010" y="3350398"/>
                  </a:lnTo>
                  <a:lnTo>
                    <a:pt x="5518029" y="3354436"/>
                  </a:lnTo>
                  <a:lnTo>
                    <a:pt x="5518029" y="3364306"/>
                  </a:lnTo>
                  <a:lnTo>
                    <a:pt x="5514010" y="3368345"/>
                  </a:lnTo>
                  <a:lnTo>
                    <a:pt x="5504099" y="3368345"/>
                  </a:lnTo>
                  <a:lnTo>
                    <a:pt x="5500080" y="3364306"/>
                  </a:lnTo>
                  <a:lnTo>
                    <a:pt x="5500080" y="3354436"/>
                  </a:lnTo>
                  <a:close/>
                  <a:moveTo>
                    <a:pt x="5264784" y="3350398"/>
                  </a:moveTo>
                  <a:lnTo>
                    <a:pt x="5274694" y="3350398"/>
                  </a:lnTo>
                  <a:lnTo>
                    <a:pt x="5278713" y="3354436"/>
                  </a:lnTo>
                  <a:lnTo>
                    <a:pt x="5278713" y="3364306"/>
                  </a:lnTo>
                  <a:lnTo>
                    <a:pt x="5274694" y="3368345"/>
                  </a:lnTo>
                  <a:lnTo>
                    <a:pt x="5264784" y="3368345"/>
                  </a:lnTo>
                  <a:lnTo>
                    <a:pt x="5260765" y="3364306"/>
                  </a:lnTo>
                  <a:lnTo>
                    <a:pt x="5260765" y="3354436"/>
                  </a:lnTo>
                  <a:close/>
                  <a:moveTo>
                    <a:pt x="5025470" y="3350398"/>
                  </a:moveTo>
                  <a:lnTo>
                    <a:pt x="5035381" y="3350398"/>
                  </a:lnTo>
                  <a:lnTo>
                    <a:pt x="5039400" y="3354436"/>
                  </a:lnTo>
                  <a:lnTo>
                    <a:pt x="5039400" y="3364306"/>
                  </a:lnTo>
                  <a:lnTo>
                    <a:pt x="5035381" y="3368345"/>
                  </a:lnTo>
                  <a:lnTo>
                    <a:pt x="5025470" y="3368345"/>
                  </a:lnTo>
                  <a:lnTo>
                    <a:pt x="5021451" y="3364306"/>
                  </a:lnTo>
                  <a:lnTo>
                    <a:pt x="5021451" y="3354436"/>
                  </a:lnTo>
                  <a:close/>
                  <a:moveTo>
                    <a:pt x="4786241" y="3350398"/>
                  </a:moveTo>
                  <a:lnTo>
                    <a:pt x="4796152" y="3350398"/>
                  </a:lnTo>
                  <a:lnTo>
                    <a:pt x="4800171" y="3354436"/>
                  </a:lnTo>
                  <a:lnTo>
                    <a:pt x="4800171" y="3364306"/>
                  </a:lnTo>
                  <a:lnTo>
                    <a:pt x="4796152" y="3368345"/>
                  </a:lnTo>
                  <a:lnTo>
                    <a:pt x="4786241" y="3368345"/>
                  </a:lnTo>
                  <a:lnTo>
                    <a:pt x="4782224" y="3364306"/>
                  </a:lnTo>
                  <a:lnTo>
                    <a:pt x="4782224" y="3354436"/>
                  </a:lnTo>
                  <a:close/>
                  <a:moveTo>
                    <a:pt x="4546929" y="3350398"/>
                  </a:moveTo>
                  <a:lnTo>
                    <a:pt x="4556840" y="3350398"/>
                  </a:lnTo>
                  <a:lnTo>
                    <a:pt x="4560859" y="3354436"/>
                  </a:lnTo>
                  <a:lnTo>
                    <a:pt x="4560859" y="3364306"/>
                  </a:lnTo>
                  <a:lnTo>
                    <a:pt x="4556840" y="3368345"/>
                  </a:lnTo>
                  <a:lnTo>
                    <a:pt x="4546929" y="3368345"/>
                  </a:lnTo>
                  <a:lnTo>
                    <a:pt x="4542910" y="3364306"/>
                  </a:lnTo>
                  <a:lnTo>
                    <a:pt x="4542910" y="3354436"/>
                  </a:lnTo>
                  <a:close/>
                  <a:moveTo>
                    <a:pt x="4307612" y="3350398"/>
                  </a:moveTo>
                  <a:lnTo>
                    <a:pt x="4317523" y="3350398"/>
                  </a:lnTo>
                  <a:lnTo>
                    <a:pt x="4321543" y="3354436"/>
                  </a:lnTo>
                  <a:lnTo>
                    <a:pt x="4321543" y="3364306"/>
                  </a:lnTo>
                  <a:lnTo>
                    <a:pt x="4317523" y="3368345"/>
                  </a:lnTo>
                  <a:lnTo>
                    <a:pt x="4307612" y="3368345"/>
                  </a:lnTo>
                  <a:lnTo>
                    <a:pt x="4303595" y="3364306"/>
                  </a:lnTo>
                  <a:lnTo>
                    <a:pt x="4303595" y="3354436"/>
                  </a:lnTo>
                  <a:close/>
                  <a:moveTo>
                    <a:pt x="4068297" y="3350398"/>
                  </a:moveTo>
                  <a:lnTo>
                    <a:pt x="4078210" y="3350398"/>
                  </a:lnTo>
                  <a:lnTo>
                    <a:pt x="4082229" y="3354436"/>
                  </a:lnTo>
                  <a:lnTo>
                    <a:pt x="4082229" y="3364306"/>
                  </a:lnTo>
                  <a:lnTo>
                    <a:pt x="4078210" y="3368345"/>
                  </a:lnTo>
                  <a:lnTo>
                    <a:pt x="4068297" y="3368345"/>
                  </a:lnTo>
                  <a:lnTo>
                    <a:pt x="4064278" y="3364306"/>
                  </a:lnTo>
                  <a:lnTo>
                    <a:pt x="4064278" y="3354436"/>
                  </a:lnTo>
                  <a:close/>
                  <a:moveTo>
                    <a:pt x="3828990" y="3350398"/>
                  </a:moveTo>
                  <a:lnTo>
                    <a:pt x="3838899" y="3350398"/>
                  </a:lnTo>
                  <a:lnTo>
                    <a:pt x="3842917" y="3354436"/>
                  </a:lnTo>
                  <a:lnTo>
                    <a:pt x="3842917" y="3364306"/>
                  </a:lnTo>
                  <a:lnTo>
                    <a:pt x="3838899" y="3368345"/>
                  </a:lnTo>
                  <a:lnTo>
                    <a:pt x="3828990" y="3368345"/>
                  </a:lnTo>
                  <a:lnTo>
                    <a:pt x="3824971" y="3364306"/>
                  </a:lnTo>
                  <a:lnTo>
                    <a:pt x="3824971" y="3354436"/>
                  </a:lnTo>
                  <a:close/>
                  <a:moveTo>
                    <a:pt x="3589676" y="3350398"/>
                  </a:moveTo>
                  <a:lnTo>
                    <a:pt x="3599585" y="3350398"/>
                  </a:lnTo>
                  <a:lnTo>
                    <a:pt x="3603604" y="3354436"/>
                  </a:lnTo>
                  <a:lnTo>
                    <a:pt x="3603604" y="3364306"/>
                  </a:lnTo>
                  <a:lnTo>
                    <a:pt x="3599585" y="3368345"/>
                  </a:lnTo>
                  <a:lnTo>
                    <a:pt x="3589676" y="3368345"/>
                  </a:lnTo>
                  <a:lnTo>
                    <a:pt x="3585657" y="3364306"/>
                  </a:lnTo>
                  <a:lnTo>
                    <a:pt x="3585657" y="3354436"/>
                  </a:lnTo>
                  <a:close/>
                  <a:moveTo>
                    <a:pt x="3350359" y="3350398"/>
                  </a:moveTo>
                  <a:lnTo>
                    <a:pt x="3360268" y="3350398"/>
                  </a:lnTo>
                  <a:lnTo>
                    <a:pt x="3364287" y="3354436"/>
                  </a:lnTo>
                  <a:lnTo>
                    <a:pt x="3364287" y="3364306"/>
                  </a:lnTo>
                  <a:lnTo>
                    <a:pt x="3360268" y="3368345"/>
                  </a:lnTo>
                  <a:lnTo>
                    <a:pt x="3350359" y="3368345"/>
                  </a:lnTo>
                  <a:lnTo>
                    <a:pt x="3346340" y="3364306"/>
                  </a:lnTo>
                  <a:lnTo>
                    <a:pt x="3346340" y="3354436"/>
                  </a:lnTo>
                  <a:close/>
                  <a:moveTo>
                    <a:pt x="3111048" y="3350398"/>
                  </a:moveTo>
                  <a:lnTo>
                    <a:pt x="3120959" y="3350398"/>
                  </a:lnTo>
                  <a:lnTo>
                    <a:pt x="3124977" y="3354436"/>
                  </a:lnTo>
                  <a:lnTo>
                    <a:pt x="3124977" y="3364306"/>
                  </a:lnTo>
                  <a:lnTo>
                    <a:pt x="3120959" y="3368345"/>
                  </a:lnTo>
                  <a:lnTo>
                    <a:pt x="3111048" y="3368345"/>
                  </a:lnTo>
                  <a:lnTo>
                    <a:pt x="3107029" y="3364306"/>
                  </a:lnTo>
                  <a:lnTo>
                    <a:pt x="3107029" y="3354436"/>
                  </a:lnTo>
                  <a:close/>
                  <a:moveTo>
                    <a:pt x="2871737" y="3350398"/>
                  </a:moveTo>
                  <a:lnTo>
                    <a:pt x="2881646" y="3350398"/>
                  </a:lnTo>
                  <a:lnTo>
                    <a:pt x="2885666" y="3354436"/>
                  </a:lnTo>
                  <a:lnTo>
                    <a:pt x="2885666" y="3364306"/>
                  </a:lnTo>
                  <a:lnTo>
                    <a:pt x="2881646" y="3368345"/>
                  </a:lnTo>
                  <a:lnTo>
                    <a:pt x="2871737" y="3368345"/>
                  </a:lnTo>
                  <a:lnTo>
                    <a:pt x="2867717" y="3364306"/>
                  </a:lnTo>
                  <a:lnTo>
                    <a:pt x="2867717" y="3354436"/>
                  </a:lnTo>
                  <a:close/>
                  <a:moveTo>
                    <a:pt x="2632423" y="3350398"/>
                  </a:moveTo>
                  <a:lnTo>
                    <a:pt x="2642334" y="3350398"/>
                  </a:lnTo>
                  <a:lnTo>
                    <a:pt x="2646352" y="3354436"/>
                  </a:lnTo>
                  <a:lnTo>
                    <a:pt x="2646352" y="3364306"/>
                  </a:lnTo>
                  <a:lnTo>
                    <a:pt x="2642334" y="3368345"/>
                  </a:lnTo>
                  <a:lnTo>
                    <a:pt x="2632423" y="3368345"/>
                  </a:lnTo>
                  <a:lnTo>
                    <a:pt x="2628404" y="3364306"/>
                  </a:lnTo>
                  <a:lnTo>
                    <a:pt x="2628404" y="3354436"/>
                  </a:lnTo>
                  <a:close/>
                  <a:moveTo>
                    <a:pt x="2393104" y="3350398"/>
                  </a:moveTo>
                  <a:lnTo>
                    <a:pt x="2403015" y="3350398"/>
                  </a:lnTo>
                  <a:lnTo>
                    <a:pt x="2407034" y="3354436"/>
                  </a:lnTo>
                  <a:lnTo>
                    <a:pt x="2407034" y="3364306"/>
                  </a:lnTo>
                  <a:lnTo>
                    <a:pt x="2403015" y="3368345"/>
                  </a:lnTo>
                  <a:lnTo>
                    <a:pt x="2393104" y="3368345"/>
                  </a:lnTo>
                  <a:lnTo>
                    <a:pt x="2389087" y="3364306"/>
                  </a:lnTo>
                  <a:lnTo>
                    <a:pt x="2389087" y="3354436"/>
                  </a:lnTo>
                  <a:close/>
                  <a:moveTo>
                    <a:pt x="2157820" y="3350398"/>
                  </a:moveTo>
                  <a:lnTo>
                    <a:pt x="2167731" y="3350398"/>
                  </a:lnTo>
                  <a:lnTo>
                    <a:pt x="2171749" y="3354436"/>
                  </a:lnTo>
                  <a:lnTo>
                    <a:pt x="2171749" y="3364306"/>
                  </a:lnTo>
                  <a:lnTo>
                    <a:pt x="2167731" y="3368345"/>
                  </a:lnTo>
                  <a:lnTo>
                    <a:pt x="2157820" y="3368345"/>
                  </a:lnTo>
                  <a:lnTo>
                    <a:pt x="2153802" y="3364306"/>
                  </a:lnTo>
                  <a:lnTo>
                    <a:pt x="2153802" y="3354436"/>
                  </a:lnTo>
                  <a:close/>
                  <a:moveTo>
                    <a:pt x="1918511" y="3350398"/>
                  </a:moveTo>
                  <a:lnTo>
                    <a:pt x="1928422" y="3350398"/>
                  </a:lnTo>
                  <a:lnTo>
                    <a:pt x="1932441" y="3354436"/>
                  </a:lnTo>
                  <a:lnTo>
                    <a:pt x="1932441" y="3364306"/>
                  </a:lnTo>
                  <a:lnTo>
                    <a:pt x="1928422" y="3368345"/>
                  </a:lnTo>
                  <a:lnTo>
                    <a:pt x="1918511" y="3368345"/>
                  </a:lnTo>
                  <a:lnTo>
                    <a:pt x="1914493" y="3364306"/>
                  </a:lnTo>
                  <a:lnTo>
                    <a:pt x="1914493" y="3354436"/>
                  </a:lnTo>
                  <a:close/>
                  <a:moveTo>
                    <a:pt x="1679210" y="3350398"/>
                  </a:moveTo>
                  <a:lnTo>
                    <a:pt x="1689120" y="3350398"/>
                  </a:lnTo>
                  <a:lnTo>
                    <a:pt x="1693138" y="3354436"/>
                  </a:lnTo>
                  <a:lnTo>
                    <a:pt x="1693138" y="3364306"/>
                  </a:lnTo>
                  <a:lnTo>
                    <a:pt x="1689120" y="3368345"/>
                  </a:lnTo>
                  <a:lnTo>
                    <a:pt x="1679210" y="3368345"/>
                  </a:lnTo>
                  <a:lnTo>
                    <a:pt x="1675191" y="3364306"/>
                  </a:lnTo>
                  <a:lnTo>
                    <a:pt x="1675191" y="3354436"/>
                  </a:lnTo>
                  <a:close/>
                  <a:moveTo>
                    <a:pt x="1439893" y="3350398"/>
                  </a:moveTo>
                  <a:lnTo>
                    <a:pt x="1449803" y="3350398"/>
                  </a:lnTo>
                  <a:lnTo>
                    <a:pt x="1453823" y="3354436"/>
                  </a:lnTo>
                  <a:lnTo>
                    <a:pt x="1453823" y="3364306"/>
                  </a:lnTo>
                  <a:lnTo>
                    <a:pt x="1449803" y="3368345"/>
                  </a:lnTo>
                  <a:lnTo>
                    <a:pt x="1439893" y="3368345"/>
                  </a:lnTo>
                  <a:lnTo>
                    <a:pt x="1435875" y="3364306"/>
                  </a:lnTo>
                  <a:lnTo>
                    <a:pt x="1435875" y="3354436"/>
                  </a:lnTo>
                  <a:close/>
                  <a:moveTo>
                    <a:pt x="1200578" y="3350398"/>
                  </a:moveTo>
                  <a:lnTo>
                    <a:pt x="1210488" y="3350398"/>
                  </a:lnTo>
                  <a:lnTo>
                    <a:pt x="1214507" y="3354436"/>
                  </a:lnTo>
                  <a:lnTo>
                    <a:pt x="1214507" y="3364306"/>
                  </a:lnTo>
                  <a:lnTo>
                    <a:pt x="1210488" y="3368345"/>
                  </a:lnTo>
                  <a:lnTo>
                    <a:pt x="1200578" y="3368345"/>
                  </a:lnTo>
                  <a:lnTo>
                    <a:pt x="1196559" y="3364306"/>
                  </a:lnTo>
                  <a:lnTo>
                    <a:pt x="1196559" y="3354436"/>
                  </a:lnTo>
                  <a:close/>
                  <a:moveTo>
                    <a:pt x="961265" y="3350398"/>
                  </a:moveTo>
                  <a:lnTo>
                    <a:pt x="971176" y="3350398"/>
                  </a:lnTo>
                  <a:lnTo>
                    <a:pt x="975194" y="3354436"/>
                  </a:lnTo>
                  <a:lnTo>
                    <a:pt x="975194" y="3364306"/>
                  </a:lnTo>
                  <a:lnTo>
                    <a:pt x="971176" y="3368345"/>
                  </a:lnTo>
                  <a:lnTo>
                    <a:pt x="961265" y="3368345"/>
                  </a:lnTo>
                  <a:lnTo>
                    <a:pt x="957246" y="3364306"/>
                  </a:lnTo>
                  <a:lnTo>
                    <a:pt x="957246" y="3354436"/>
                  </a:lnTo>
                  <a:close/>
                  <a:moveTo>
                    <a:pt x="721967" y="3350398"/>
                  </a:moveTo>
                  <a:lnTo>
                    <a:pt x="731877" y="3350398"/>
                  </a:lnTo>
                  <a:lnTo>
                    <a:pt x="735896" y="3354436"/>
                  </a:lnTo>
                  <a:lnTo>
                    <a:pt x="735896" y="3364306"/>
                  </a:lnTo>
                  <a:lnTo>
                    <a:pt x="731877" y="3368345"/>
                  </a:lnTo>
                  <a:lnTo>
                    <a:pt x="721967" y="3368345"/>
                  </a:lnTo>
                  <a:lnTo>
                    <a:pt x="717949" y="3364306"/>
                  </a:lnTo>
                  <a:lnTo>
                    <a:pt x="717949" y="3354436"/>
                  </a:lnTo>
                  <a:close/>
                  <a:moveTo>
                    <a:pt x="482655" y="3350398"/>
                  </a:moveTo>
                  <a:lnTo>
                    <a:pt x="492565" y="3350398"/>
                  </a:lnTo>
                  <a:lnTo>
                    <a:pt x="496584" y="3354436"/>
                  </a:lnTo>
                  <a:lnTo>
                    <a:pt x="496584" y="3364306"/>
                  </a:lnTo>
                  <a:lnTo>
                    <a:pt x="492565" y="3368345"/>
                  </a:lnTo>
                  <a:lnTo>
                    <a:pt x="482655" y="3368345"/>
                  </a:lnTo>
                  <a:lnTo>
                    <a:pt x="478636" y="3364306"/>
                  </a:lnTo>
                  <a:lnTo>
                    <a:pt x="478636" y="3354436"/>
                  </a:lnTo>
                  <a:close/>
                  <a:moveTo>
                    <a:pt x="243341" y="3350398"/>
                  </a:moveTo>
                  <a:lnTo>
                    <a:pt x="253252" y="3350398"/>
                  </a:lnTo>
                  <a:lnTo>
                    <a:pt x="257271" y="3354436"/>
                  </a:lnTo>
                  <a:lnTo>
                    <a:pt x="257271" y="3364306"/>
                  </a:lnTo>
                  <a:lnTo>
                    <a:pt x="253252" y="3368345"/>
                  </a:lnTo>
                  <a:lnTo>
                    <a:pt x="243341" y="3368345"/>
                  </a:lnTo>
                  <a:lnTo>
                    <a:pt x="239322" y="3364306"/>
                  </a:lnTo>
                  <a:lnTo>
                    <a:pt x="239322" y="3354436"/>
                  </a:lnTo>
                  <a:close/>
                  <a:moveTo>
                    <a:pt x="4029" y="3350398"/>
                  </a:moveTo>
                  <a:lnTo>
                    <a:pt x="13938" y="3350398"/>
                  </a:lnTo>
                  <a:lnTo>
                    <a:pt x="17957" y="3354436"/>
                  </a:lnTo>
                  <a:lnTo>
                    <a:pt x="17957" y="3364306"/>
                  </a:lnTo>
                  <a:lnTo>
                    <a:pt x="13938" y="3368345"/>
                  </a:lnTo>
                  <a:lnTo>
                    <a:pt x="4029" y="3368345"/>
                  </a:lnTo>
                  <a:lnTo>
                    <a:pt x="9" y="3364306"/>
                  </a:lnTo>
                  <a:lnTo>
                    <a:pt x="9" y="3354436"/>
                  </a:lnTo>
                  <a:close/>
                  <a:moveTo>
                    <a:pt x="2157820" y="3111118"/>
                  </a:moveTo>
                  <a:lnTo>
                    <a:pt x="2167731" y="3111118"/>
                  </a:lnTo>
                  <a:lnTo>
                    <a:pt x="2171750" y="3115157"/>
                  </a:lnTo>
                  <a:lnTo>
                    <a:pt x="2171750" y="3125027"/>
                  </a:lnTo>
                  <a:lnTo>
                    <a:pt x="2167731" y="3129066"/>
                  </a:lnTo>
                  <a:lnTo>
                    <a:pt x="2157820" y="3129066"/>
                  </a:lnTo>
                  <a:lnTo>
                    <a:pt x="2153802" y="3125027"/>
                  </a:lnTo>
                  <a:lnTo>
                    <a:pt x="2153802" y="3115157"/>
                  </a:lnTo>
                  <a:close/>
                  <a:moveTo>
                    <a:pt x="1918513" y="3111118"/>
                  </a:moveTo>
                  <a:lnTo>
                    <a:pt x="1928422" y="3111118"/>
                  </a:lnTo>
                  <a:lnTo>
                    <a:pt x="1932441" y="3115157"/>
                  </a:lnTo>
                  <a:lnTo>
                    <a:pt x="1932441" y="3125027"/>
                  </a:lnTo>
                  <a:lnTo>
                    <a:pt x="1928422" y="3129066"/>
                  </a:lnTo>
                  <a:lnTo>
                    <a:pt x="1918513" y="3129066"/>
                  </a:lnTo>
                  <a:lnTo>
                    <a:pt x="1914493" y="3125027"/>
                  </a:lnTo>
                  <a:lnTo>
                    <a:pt x="1914493" y="3115157"/>
                  </a:lnTo>
                  <a:close/>
                  <a:moveTo>
                    <a:pt x="1679211" y="3111118"/>
                  </a:moveTo>
                  <a:lnTo>
                    <a:pt x="1689121" y="3111118"/>
                  </a:lnTo>
                  <a:lnTo>
                    <a:pt x="1693139" y="3115157"/>
                  </a:lnTo>
                  <a:lnTo>
                    <a:pt x="1693139" y="3125027"/>
                  </a:lnTo>
                  <a:lnTo>
                    <a:pt x="1689121" y="3129066"/>
                  </a:lnTo>
                  <a:lnTo>
                    <a:pt x="1679211" y="3129066"/>
                  </a:lnTo>
                  <a:lnTo>
                    <a:pt x="1675191" y="3125027"/>
                  </a:lnTo>
                  <a:lnTo>
                    <a:pt x="1675191" y="3115157"/>
                  </a:lnTo>
                  <a:close/>
                  <a:moveTo>
                    <a:pt x="1439895" y="3111118"/>
                  </a:moveTo>
                  <a:lnTo>
                    <a:pt x="1449805" y="3111118"/>
                  </a:lnTo>
                  <a:lnTo>
                    <a:pt x="1453823" y="3115157"/>
                  </a:lnTo>
                  <a:lnTo>
                    <a:pt x="1453823" y="3125027"/>
                  </a:lnTo>
                  <a:lnTo>
                    <a:pt x="1449805" y="3129066"/>
                  </a:lnTo>
                  <a:lnTo>
                    <a:pt x="1439895" y="3129066"/>
                  </a:lnTo>
                  <a:lnTo>
                    <a:pt x="1435875" y="3125027"/>
                  </a:lnTo>
                  <a:lnTo>
                    <a:pt x="1435875" y="3115157"/>
                  </a:lnTo>
                  <a:close/>
                  <a:moveTo>
                    <a:pt x="1200578" y="3111118"/>
                  </a:moveTo>
                  <a:lnTo>
                    <a:pt x="1210489" y="3111118"/>
                  </a:lnTo>
                  <a:lnTo>
                    <a:pt x="1214507" y="3115157"/>
                  </a:lnTo>
                  <a:lnTo>
                    <a:pt x="1214507" y="3125027"/>
                  </a:lnTo>
                  <a:lnTo>
                    <a:pt x="1210489" y="3129066"/>
                  </a:lnTo>
                  <a:lnTo>
                    <a:pt x="1200578" y="3129066"/>
                  </a:lnTo>
                  <a:lnTo>
                    <a:pt x="1196560" y="3125027"/>
                  </a:lnTo>
                  <a:lnTo>
                    <a:pt x="1196560" y="3115157"/>
                  </a:lnTo>
                  <a:close/>
                  <a:moveTo>
                    <a:pt x="961266" y="3111118"/>
                  </a:moveTo>
                  <a:lnTo>
                    <a:pt x="971176" y="3111118"/>
                  </a:lnTo>
                  <a:lnTo>
                    <a:pt x="975195" y="3115157"/>
                  </a:lnTo>
                  <a:lnTo>
                    <a:pt x="975195" y="3125027"/>
                  </a:lnTo>
                  <a:lnTo>
                    <a:pt x="971176" y="3129066"/>
                  </a:lnTo>
                  <a:lnTo>
                    <a:pt x="961266" y="3129066"/>
                  </a:lnTo>
                  <a:lnTo>
                    <a:pt x="957247" y="3125027"/>
                  </a:lnTo>
                  <a:lnTo>
                    <a:pt x="957247" y="3115157"/>
                  </a:lnTo>
                  <a:close/>
                  <a:moveTo>
                    <a:pt x="9572438" y="3111067"/>
                  </a:moveTo>
                  <a:lnTo>
                    <a:pt x="9582349" y="3111067"/>
                  </a:lnTo>
                  <a:lnTo>
                    <a:pt x="9586368" y="3115105"/>
                  </a:lnTo>
                  <a:lnTo>
                    <a:pt x="9586368" y="3124976"/>
                  </a:lnTo>
                  <a:lnTo>
                    <a:pt x="9582349" y="3129015"/>
                  </a:lnTo>
                  <a:lnTo>
                    <a:pt x="9572438" y="3129015"/>
                  </a:lnTo>
                  <a:lnTo>
                    <a:pt x="9568419" y="3124976"/>
                  </a:lnTo>
                  <a:lnTo>
                    <a:pt x="9568419" y="3115105"/>
                  </a:lnTo>
                  <a:close/>
                  <a:moveTo>
                    <a:pt x="9333125" y="3111067"/>
                  </a:moveTo>
                  <a:lnTo>
                    <a:pt x="9343036" y="3111067"/>
                  </a:lnTo>
                  <a:lnTo>
                    <a:pt x="9347055" y="3115105"/>
                  </a:lnTo>
                  <a:lnTo>
                    <a:pt x="9347055" y="3124976"/>
                  </a:lnTo>
                  <a:lnTo>
                    <a:pt x="9343036" y="3129015"/>
                  </a:lnTo>
                  <a:lnTo>
                    <a:pt x="9333125" y="3129015"/>
                  </a:lnTo>
                  <a:lnTo>
                    <a:pt x="9329106" y="3124976"/>
                  </a:lnTo>
                  <a:lnTo>
                    <a:pt x="9329106" y="3115105"/>
                  </a:lnTo>
                  <a:close/>
                  <a:moveTo>
                    <a:pt x="9093811" y="3111067"/>
                  </a:moveTo>
                  <a:lnTo>
                    <a:pt x="9103722" y="3111067"/>
                  </a:lnTo>
                  <a:lnTo>
                    <a:pt x="9107741" y="3115105"/>
                  </a:lnTo>
                  <a:lnTo>
                    <a:pt x="9107741" y="3124976"/>
                  </a:lnTo>
                  <a:lnTo>
                    <a:pt x="9103722" y="3129015"/>
                  </a:lnTo>
                  <a:lnTo>
                    <a:pt x="9093811" y="3129015"/>
                  </a:lnTo>
                  <a:lnTo>
                    <a:pt x="9089792" y="3124976"/>
                  </a:lnTo>
                  <a:lnTo>
                    <a:pt x="9089792" y="3115105"/>
                  </a:lnTo>
                  <a:close/>
                  <a:moveTo>
                    <a:pt x="8854496" y="3111067"/>
                  </a:moveTo>
                  <a:lnTo>
                    <a:pt x="8864407" y="3111067"/>
                  </a:lnTo>
                  <a:lnTo>
                    <a:pt x="8868426" y="3115105"/>
                  </a:lnTo>
                  <a:lnTo>
                    <a:pt x="8868426" y="3124976"/>
                  </a:lnTo>
                  <a:lnTo>
                    <a:pt x="8864407" y="3129015"/>
                  </a:lnTo>
                  <a:lnTo>
                    <a:pt x="8854496" y="3129015"/>
                  </a:lnTo>
                  <a:lnTo>
                    <a:pt x="8850477" y="3124976"/>
                  </a:lnTo>
                  <a:lnTo>
                    <a:pt x="8850477" y="3115105"/>
                  </a:lnTo>
                  <a:close/>
                  <a:moveTo>
                    <a:pt x="8615184" y="3111067"/>
                  </a:moveTo>
                  <a:lnTo>
                    <a:pt x="8625095" y="3111067"/>
                  </a:lnTo>
                  <a:lnTo>
                    <a:pt x="8629114" y="3115105"/>
                  </a:lnTo>
                  <a:lnTo>
                    <a:pt x="8629114" y="3124976"/>
                  </a:lnTo>
                  <a:lnTo>
                    <a:pt x="8625095" y="3129015"/>
                  </a:lnTo>
                  <a:lnTo>
                    <a:pt x="8615184" y="3129015"/>
                  </a:lnTo>
                  <a:lnTo>
                    <a:pt x="8611165" y="3124976"/>
                  </a:lnTo>
                  <a:lnTo>
                    <a:pt x="8611165" y="3115105"/>
                  </a:lnTo>
                  <a:close/>
                  <a:moveTo>
                    <a:pt x="8375869" y="3111067"/>
                  </a:moveTo>
                  <a:lnTo>
                    <a:pt x="8385779" y="3111067"/>
                  </a:lnTo>
                  <a:lnTo>
                    <a:pt x="8389799" y="3115105"/>
                  </a:lnTo>
                  <a:lnTo>
                    <a:pt x="8389799" y="3124976"/>
                  </a:lnTo>
                  <a:lnTo>
                    <a:pt x="8385779" y="3129015"/>
                  </a:lnTo>
                  <a:lnTo>
                    <a:pt x="8375869" y="3129015"/>
                  </a:lnTo>
                  <a:lnTo>
                    <a:pt x="8371850" y="3124976"/>
                  </a:lnTo>
                  <a:lnTo>
                    <a:pt x="8371850" y="3115105"/>
                  </a:lnTo>
                  <a:close/>
                  <a:moveTo>
                    <a:pt x="8136553" y="3111067"/>
                  </a:moveTo>
                  <a:lnTo>
                    <a:pt x="8146464" y="3111067"/>
                  </a:lnTo>
                  <a:lnTo>
                    <a:pt x="8150483" y="3115105"/>
                  </a:lnTo>
                  <a:lnTo>
                    <a:pt x="8150483" y="3124976"/>
                  </a:lnTo>
                  <a:lnTo>
                    <a:pt x="8146464" y="3129015"/>
                  </a:lnTo>
                  <a:lnTo>
                    <a:pt x="8136553" y="3129015"/>
                  </a:lnTo>
                  <a:lnTo>
                    <a:pt x="8132534" y="3124976"/>
                  </a:lnTo>
                  <a:lnTo>
                    <a:pt x="8132534" y="3115105"/>
                  </a:lnTo>
                  <a:close/>
                  <a:moveTo>
                    <a:pt x="7897241" y="3111067"/>
                  </a:moveTo>
                  <a:lnTo>
                    <a:pt x="7907151" y="3111067"/>
                  </a:lnTo>
                  <a:lnTo>
                    <a:pt x="7911170" y="3115105"/>
                  </a:lnTo>
                  <a:lnTo>
                    <a:pt x="7911170" y="3124976"/>
                  </a:lnTo>
                  <a:lnTo>
                    <a:pt x="7907151" y="3129015"/>
                  </a:lnTo>
                  <a:lnTo>
                    <a:pt x="7897241" y="3129015"/>
                  </a:lnTo>
                  <a:lnTo>
                    <a:pt x="7893222" y="3124976"/>
                  </a:lnTo>
                  <a:lnTo>
                    <a:pt x="7893222" y="3115105"/>
                  </a:lnTo>
                  <a:close/>
                  <a:moveTo>
                    <a:pt x="7657926" y="3111067"/>
                  </a:moveTo>
                  <a:lnTo>
                    <a:pt x="7667836" y="3111067"/>
                  </a:lnTo>
                  <a:lnTo>
                    <a:pt x="7671855" y="3115105"/>
                  </a:lnTo>
                  <a:lnTo>
                    <a:pt x="7671855" y="3124976"/>
                  </a:lnTo>
                  <a:lnTo>
                    <a:pt x="7667836" y="3129015"/>
                  </a:lnTo>
                  <a:lnTo>
                    <a:pt x="7657926" y="3129015"/>
                  </a:lnTo>
                  <a:lnTo>
                    <a:pt x="7653906" y="3124976"/>
                  </a:lnTo>
                  <a:lnTo>
                    <a:pt x="7653906" y="3115105"/>
                  </a:lnTo>
                  <a:close/>
                  <a:moveTo>
                    <a:pt x="7418611" y="3111067"/>
                  </a:moveTo>
                  <a:lnTo>
                    <a:pt x="7428521" y="3111067"/>
                  </a:lnTo>
                  <a:lnTo>
                    <a:pt x="7432540" y="3115105"/>
                  </a:lnTo>
                  <a:lnTo>
                    <a:pt x="7432540" y="3124976"/>
                  </a:lnTo>
                  <a:lnTo>
                    <a:pt x="7428521" y="3129015"/>
                  </a:lnTo>
                  <a:lnTo>
                    <a:pt x="7418611" y="3129015"/>
                  </a:lnTo>
                  <a:lnTo>
                    <a:pt x="7414592" y="3124976"/>
                  </a:lnTo>
                  <a:lnTo>
                    <a:pt x="7414592" y="3115105"/>
                  </a:lnTo>
                  <a:close/>
                  <a:moveTo>
                    <a:pt x="7179298" y="3111067"/>
                  </a:moveTo>
                  <a:lnTo>
                    <a:pt x="7189209" y="3111067"/>
                  </a:lnTo>
                  <a:lnTo>
                    <a:pt x="7193228" y="3115105"/>
                  </a:lnTo>
                  <a:lnTo>
                    <a:pt x="7193228" y="3124976"/>
                  </a:lnTo>
                  <a:lnTo>
                    <a:pt x="7189209" y="3129015"/>
                  </a:lnTo>
                  <a:lnTo>
                    <a:pt x="7179298" y="3129015"/>
                  </a:lnTo>
                  <a:lnTo>
                    <a:pt x="7175279" y="3124976"/>
                  </a:lnTo>
                  <a:lnTo>
                    <a:pt x="7175279" y="3115105"/>
                  </a:lnTo>
                  <a:close/>
                  <a:moveTo>
                    <a:pt x="6939983" y="3111067"/>
                  </a:moveTo>
                  <a:lnTo>
                    <a:pt x="6949894" y="3111067"/>
                  </a:lnTo>
                  <a:lnTo>
                    <a:pt x="6953913" y="3115105"/>
                  </a:lnTo>
                  <a:lnTo>
                    <a:pt x="6953913" y="3124976"/>
                  </a:lnTo>
                  <a:lnTo>
                    <a:pt x="6949894" y="3129015"/>
                  </a:lnTo>
                  <a:lnTo>
                    <a:pt x="6939983" y="3129015"/>
                  </a:lnTo>
                  <a:lnTo>
                    <a:pt x="6935964" y="3124976"/>
                  </a:lnTo>
                  <a:lnTo>
                    <a:pt x="6935964" y="3115105"/>
                  </a:lnTo>
                  <a:close/>
                  <a:moveTo>
                    <a:pt x="6700670" y="3111067"/>
                  </a:moveTo>
                  <a:lnTo>
                    <a:pt x="6710581" y="3111067"/>
                  </a:lnTo>
                  <a:lnTo>
                    <a:pt x="6714600" y="3115105"/>
                  </a:lnTo>
                  <a:lnTo>
                    <a:pt x="6714600" y="3124976"/>
                  </a:lnTo>
                  <a:lnTo>
                    <a:pt x="6710581" y="3129015"/>
                  </a:lnTo>
                  <a:lnTo>
                    <a:pt x="6700670" y="3129015"/>
                  </a:lnTo>
                  <a:lnTo>
                    <a:pt x="6696651" y="3124976"/>
                  </a:lnTo>
                  <a:lnTo>
                    <a:pt x="6696651" y="3115105"/>
                  </a:lnTo>
                  <a:close/>
                  <a:moveTo>
                    <a:pt x="6461356" y="3111067"/>
                  </a:moveTo>
                  <a:lnTo>
                    <a:pt x="6471266" y="3111067"/>
                  </a:lnTo>
                  <a:lnTo>
                    <a:pt x="6475285" y="3115105"/>
                  </a:lnTo>
                  <a:lnTo>
                    <a:pt x="6475285" y="3124976"/>
                  </a:lnTo>
                  <a:lnTo>
                    <a:pt x="6471266" y="3129015"/>
                  </a:lnTo>
                  <a:lnTo>
                    <a:pt x="6461356" y="3129015"/>
                  </a:lnTo>
                  <a:lnTo>
                    <a:pt x="6457337" y="3124976"/>
                  </a:lnTo>
                  <a:lnTo>
                    <a:pt x="6457337" y="3115105"/>
                  </a:lnTo>
                  <a:close/>
                  <a:moveTo>
                    <a:pt x="6222042" y="3111067"/>
                  </a:moveTo>
                  <a:lnTo>
                    <a:pt x="6231952" y="3111067"/>
                  </a:lnTo>
                  <a:lnTo>
                    <a:pt x="6235971" y="3115105"/>
                  </a:lnTo>
                  <a:lnTo>
                    <a:pt x="6235971" y="3124976"/>
                  </a:lnTo>
                  <a:lnTo>
                    <a:pt x="6231952" y="3129015"/>
                  </a:lnTo>
                  <a:lnTo>
                    <a:pt x="6222042" y="3129015"/>
                  </a:lnTo>
                  <a:lnTo>
                    <a:pt x="6218023" y="3124976"/>
                  </a:lnTo>
                  <a:lnTo>
                    <a:pt x="6218023" y="3115105"/>
                  </a:lnTo>
                  <a:close/>
                  <a:moveTo>
                    <a:pt x="5982729" y="3111067"/>
                  </a:moveTo>
                  <a:lnTo>
                    <a:pt x="5992639" y="3111067"/>
                  </a:lnTo>
                  <a:lnTo>
                    <a:pt x="5996658" y="3115105"/>
                  </a:lnTo>
                  <a:lnTo>
                    <a:pt x="5996658" y="3124976"/>
                  </a:lnTo>
                  <a:lnTo>
                    <a:pt x="5992639" y="3129015"/>
                  </a:lnTo>
                  <a:lnTo>
                    <a:pt x="5982729" y="3129015"/>
                  </a:lnTo>
                  <a:lnTo>
                    <a:pt x="5978710" y="3124976"/>
                  </a:lnTo>
                  <a:lnTo>
                    <a:pt x="5978710" y="3115105"/>
                  </a:lnTo>
                  <a:close/>
                  <a:moveTo>
                    <a:pt x="5743412" y="3111067"/>
                  </a:moveTo>
                  <a:lnTo>
                    <a:pt x="5753323" y="3111067"/>
                  </a:lnTo>
                  <a:lnTo>
                    <a:pt x="5757342" y="3115105"/>
                  </a:lnTo>
                  <a:lnTo>
                    <a:pt x="5757342" y="3124976"/>
                  </a:lnTo>
                  <a:lnTo>
                    <a:pt x="5753323" y="3129015"/>
                  </a:lnTo>
                  <a:lnTo>
                    <a:pt x="5743412" y="3129015"/>
                  </a:lnTo>
                  <a:lnTo>
                    <a:pt x="5739393" y="3124976"/>
                  </a:lnTo>
                  <a:lnTo>
                    <a:pt x="5739393" y="3115105"/>
                  </a:lnTo>
                  <a:close/>
                  <a:moveTo>
                    <a:pt x="5504099" y="3111067"/>
                  </a:moveTo>
                  <a:lnTo>
                    <a:pt x="5514010" y="3111067"/>
                  </a:lnTo>
                  <a:lnTo>
                    <a:pt x="5518029" y="3115105"/>
                  </a:lnTo>
                  <a:lnTo>
                    <a:pt x="5518029" y="3124976"/>
                  </a:lnTo>
                  <a:lnTo>
                    <a:pt x="5514010" y="3129015"/>
                  </a:lnTo>
                  <a:lnTo>
                    <a:pt x="5504099" y="3129015"/>
                  </a:lnTo>
                  <a:lnTo>
                    <a:pt x="5500080" y="3124976"/>
                  </a:lnTo>
                  <a:lnTo>
                    <a:pt x="5500080" y="3115105"/>
                  </a:lnTo>
                  <a:close/>
                  <a:moveTo>
                    <a:pt x="5264784" y="3111067"/>
                  </a:moveTo>
                  <a:lnTo>
                    <a:pt x="5274694" y="3111067"/>
                  </a:lnTo>
                  <a:lnTo>
                    <a:pt x="5278713" y="3115105"/>
                  </a:lnTo>
                  <a:lnTo>
                    <a:pt x="5278713" y="3124976"/>
                  </a:lnTo>
                  <a:lnTo>
                    <a:pt x="5274694" y="3129015"/>
                  </a:lnTo>
                  <a:lnTo>
                    <a:pt x="5264784" y="3129015"/>
                  </a:lnTo>
                  <a:lnTo>
                    <a:pt x="5260765" y="3124976"/>
                  </a:lnTo>
                  <a:lnTo>
                    <a:pt x="5260765" y="3115105"/>
                  </a:lnTo>
                  <a:close/>
                  <a:moveTo>
                    <a:pt x="5025470" y="3111067"/>
                  </a:moveTo>
                  <a:lnTo>
                    <a:pt x="5035381" y="3111067"/>
                  </a:lnTo>
                  <a:lnTo>
                    <a:pt x="5039400" y="3115105"/>
                  </a:lnTo>
                  <a:lnTo>
                    <a:pt x="5039400" y="3124976"/>
                  </a:lnTo>
                  <a:lnTo>
                    <a:pt x="5035381" y="3129015"/>
                  </a:lnTo>
                  <a:lnTo>
                    <a:pt x="5025470" y="3129015"/>
                  </a:lnTo>
                  <a:lnTo>
                    <a:pt x="5021451" y="3124976"/>
                  </a:lnTo>
                  <a:lnTo>
                    <a:pt x="5021451" y="3115105"/>
                  </a:lnTo>
                  <a:close/>
                  <a:moveTo>
                    <a:pt x="4786241" y="3111067"/>
                  </a:moveTo>
                  <a:lnTo>
                    <a:pt x="4796152" y="3111067"/>
                  </a:lnTo>
                  <a:lnTo>
                    <a:pt x="4800171" y="3115105"/>
                  </a:lnTo>
                  <a:lnTo>
                    <a:pt x="4800171" y="3124976"/>
                  </a:lnTo>
                  <a:lnTo>
                    <a:pt x="4796152" y="3129015"/>
                  </a:lnTo>
                  <a:lnTo>
                    <a:pt x="4786241" y="3129015"/>
                  </a:lnTo>
                  <a:lnTo>
                    <a:pt x="4782224" y="3124976"/>
                  </a:lnTo>
                  <a:lnTo>
                    <a:pt x="4782224" y="3115105"/>
                  </a:lnTo>
                  <a:close/>
                  <a:moveTo>
                    <a:pt x="4546929" y="3111067"/>
                  </a:moveTo>
                  <a:lnTo>
                    <a:pt x="4556840" y="3111067"/>
                  </a:lnTo>
                  <a:lnTo>
                    <a:pt x="4560859" y="3115105"/>
                  </a:lnTo>
                  <a:lnTo>
                    <a:pt x="4560859" y="3124976"/>
                  </a:lnTo>
                  <a:lnTo>
                    <a:pt x="4556840" y="3129015"/>
                  </a:lnTo>
                  <a:lnTo>
                    <a:pt x="4546929" y="3129015"/>
                  </a:lnTo>
                  <a:lnTo>
                    <a:pt x="4542910" y="3124976"/>
                  </a:lnTo>
                  <a:lnTo>
                    <a:pt x="4542910" y="3115105"/>
                  </a:lnTo>
                  <a:close/>
                  <a:moveTo>
                    <a:pt x="4307612" y="3111067"/>
                  </a:moveTo>
                  <a:lnTo>
                    <a:pt x="4317523" y="3111067"/>
                  </a:lnTo>
                  <a:lnTo>
                    <a:pt x="4321543" y="3115105"/>
                  </a:lnTo>
                  <a:lnTo>
                    <a:pt x="4321543" y="3124976"/>
                  </a:lnTo>
                  <a:lnTo>
                    <a:pt x="4317523" y="3129015"/>
                  </a:lnTo>
                  <a:lnTo>
                    <a:pt x="4307612" y="3129015"/>
                  </a:lnTo>
                  <a:lnTo>
                    <a:pt x="4303595" y="3124976"/>
                  </a:lnTo>
                  <a:lnTo>
                    <a:pt x="4303595" y="3115105"/>
                  </a:lnTo>
                  <a:close/>
                  <a:moveTo>
                    <a:pt x="4068297" y="3111067"/>
                  </a:moveTo>
                  <a:lnTo>
                    <a:pt x="4078210" y="3111067"/>
                  </a:lnTo>
                  <a:lnTo>
                    <a:pt x="4082229" y="3115105"/>
                  </a:lnTo>
                  <a:lnTo>
                    <a:pt x="4082229" y="3124976"/>
                  </a:lnTo>
                  <a:lnTo>
                    <a:pt x="4078210" y="3129015"/>
                  </a:lnTo>
                  <a:lnTo>
                    <a:pt x="4068297" y="3129015"/>
                  </a:lnTo>
                  <a:lnTo>
                    <a:pt x="4064278" y="3124976"/>
                  </a:lnTo>
                  <a:lnTo>
                    <a:pt x="4064278" y="3115105"/>
                  </a:lnTo>
                  <a:close/>
                  <a:moveTo>
                    <a:pt x="3828990" y="3111067"/>
                  </a:moveTo>
                  <a:lnTo>
                    <a:pt x="3838899" y="3111067"/>
                  </a:lnTo>
                  <a:lnTo>
                    <a:pt x="3842917" y="3115105"/>
                  </a:lnTo>
                  <a:lnTo>
                    <a:pt x="3842917" y="3124976"/>
                  </a:lnTo>
                  <a:lnTo>
                    <a:pt x="3838899" y="3129015"/>
                  </a:lnTo>
                  <a:lnTo>
                    <a:pt x="3828990" y="3129015"/>
                  </a:lnTo>
                  <a:lnTo>
                    <a:pt x="3824971" y="3124976"/>
                  </a:lnTo>
                  <a:lnTo>
                    <a:pt x="3824971" y="3115105"/>
                  </a:lnTo>
                  <a:close/>
                  <a:moveTo>
                    <a:pt x="3589676" y="3111067"/>
                  </a:moveTo>
                  <a:lnTo>
                    <a:pt x="3599585" y="3111067"/>
                  </a:lnTo>
                  <a:lnTo>
                    <a:pt x="3603604" y="3115105"/>
                  </a:lnTo>
                  <a:lnTo>
                    <a:pt x="3603604" y="3124976"/>
                  </a:lnTo>
                  <a:lnTo>
                    <a:pt x="3599585" y="3129015"/>
                  </a:lnTo>
                  <a:lnTo>
                    <a:pt x="3589676" y="3129015"/>
                  </a:lnTo>
                  <a:lnTo>
                    <a:pt x="3585657" y="3124976"/>
                  </a:lnTo>
                  <a:lnTo>
                    <a:pt x="3585657" y="3115105"/>
                  </a:lnTo>
                  <a:close/>
                  <a:moveTo>
                    <a:pt x="3350359" y="3111067"/>
                  </a:moveTo>
                  <a:lnTo>
                    <a:pt x="3360268" y="3111067"/>
                  </a:lnTo>
                  <a:lnTo>
                    <a:pt x="3364287" y="3115105"/>
                  </a:lnTo>
                  <a:lnTo>
                    <a:pt x="3364287" y="3124976"/>
                  </a:lnTo>
                  <a:lnTo>
                    <a:pt x="3360268" y="3129015"/>
                  </a:lnTo>
                  <a:lnTo>
                    <a:pt x="3350359" y="3129015"/>
                  </a:lnTo>
                  <a:lnTo>
                    <a:pt x="3346340" y="3124976"/>
                  </a:lnTo>
                  <a:lnTo>
                    <a:pt x="3346340" y="3115105"/>
                  </a:lnTo>
                  <a:close/>
                  <a:moveTo>
                    <a:pt x="3111048" y="3111067"/>
                  </a:moveTo>
                  <a:lnTo>
                    <a:pt x="3120959" y="3111067"/>
                  </a:lnTo>
                  <a:lnTo>
                    <a:pt x="3124977" y="3115105"/>
                  </a:lnTo>
                  <a:lnTo>
                    <a:pt x="3124977" y="3124976"/>
                  </a:lnTo>
                  <a:lnTo>
                    <a:pt x="3120959" y="3129015"/>
                  </a:lnTo>
                  <a:lnTo>
                    <a:pt x="3111048" y="3129015"/>
                  </a:lnTo>
                  <a:lnTo>
                    <a:pt x="3107029" y="3124976"/>
                  </a:lnTo>
                  <a:lnTo>
                    <a:pt x="3107029" y="3115105"/>
                  </a:lnTo>
                  <a:close/>
                  <a:moveTo>
                    <a:pt x="2871737" y="3111067"/>
                  </a:moveTo>
                  <a:lnTo>
                    <a:pt x="2881646" y="3111067"/>
                  </a:lnTo>
                  <a:lnTo>
                    <a:pt x="2885666" y="3115105"/>
                  </a:lnTo>
                  <a:lnTo>
                    <a:pt x="2885666" y="3124976"/>
                  </a:lnTo>
                  <a:lnTo>
                    <a:pt x="2881646" y="3129015"/>
                  </a:lnTo>
                  <a:lnTo>
                    <a:pt x="2871737" y="3129015"/>
                  </a:lnTo>
                  <a:lnTo>
                    <a:pt x="2867717" y="3124976"/>
                  </a:lnTo>
                  <a:lnTo>
                    <a:pt x="2867717" y="3115105"/>
                  </a:lnTo>
                  <a:close/>
                  <a:moveTo>
                    <a:pt x="2632423" y="3111067"/>
                  </a:moveTo>
                  <a:lnTo>
                    <a:pt x="2642334" y="3111067"/>
                  </a:lnTo>
                  <a:lnTo>
                    <a:pt x="2646352" y="3115105"/>
                  </a:lnTo>
                  <a:lnTo>
                    <a:pt x="2646352" y="3124976"/>
                  </a:lnTo>
                  <a:lnTo>
                    <a:pt x="2642334" y="3129015"/>
                  </a:lnTo>
                  <a:lnTo>
                    <a:pt x="2632423" y="3129015"/>
                  </a:lnTo>
                  <a:lnTo>
                    <a:pt x="2628404" y="3124976"/>
                  </a:lnTo>
                  <a:lnTo>
                    <a:pt x="2628404" y="3115105"/>
                  </a:lnTo>
                  <a:close/>
                  <a:moveTo>
                    <a:pt x="2393104" y="3111067"/>
                  </a:moveTo>
                  <a:lnTo>
                    <a:pt x="2403015" y="3111067"/>
                  </a:lnTo>
                  <a:lnTo>
                    <a:pt x="2407034" y="3115105"/>
                  </a:lnTo>
                  <a:lnTo>
                    <a:pt x="2407034" y="3124976"/>
                  </a:lnTo>
                  <a:lnTo>
                    <a:pt x="2403015" y="3129015"/>
                  </a:lnTo>
                  <a:lnTo>
                    <a:pt x="2393104" y="3129015"/>
                  </a:lnTo>
                  <a:lnTo>
                    <a:pt x="2389087" y="3124976"/>
                  </a:lnTo>
                  <a:lnTo>
                    <a:pt x="2389087" y="3115105"/>
                  </a:lnTo>
                  <a:close/>
                  <a:moveTo>
                    <a:pt x="721968" y="3111067"/>
                  </a:moveTo>
                  <a:lnTo>
                    <a:pt x="731878" y="3111067"/>
                  </a:lnTo>
                  <a:lnTo>
                    <a:pt x="735897" y="3115105"/>
                  </a:lnTo>
                  <a:lnTo>
                    <a:pt x="735897" y="3124976"/>
                  </a:lnTo>
                  <a:lnTo>
                    <a:pt x="731878" y="3129015"/>
                  </a:lnTo>
                  <a:lnTo>
                    <a:pt x="721968" y="3129015"/>
                  </a:lnTo>
                  <a:lnTo>
                    <a:pt x="717949" y="3124976"/>
                  </a:lnTo>
                  <a:lnTo>
                    <a:pt x="717949" y="3115105"/>
                  </a:lnTo>
                  <a:close/>
                  <a:moveTo>
                    <a:pt x="482656" y="3111067"/>
                  </a:moveTo>
                  <a:lnTo>
                    <a:pt x="492566" y="3111067"/>
                  </a:lnTo>
                  <a:lnTo>
                    <a:pt x="496585" y="3115105"/>
                  </a:lnTo>
                  <a:lnTo>
                    <a:pt x="496585" y="3124976"/>
                  </a:lnTo>
                  <a:lnTo>
                    <a:pt x="492566" y="3129015"/>
                  </a:lnTo>
                  <a:lnTo>
                    <a:pt x="482656" y="3129015"/>
                  </a:lnTo>
                  <a:lnTo>
                    <a:pt x="478637" y="3124976"/>
                  </a:lnTo>
                  <a:lnTo>
                    <a:pt x="478637" y="3115105"/>
                  </a:lnTo>
                  <a:close/>
                  <a:moveTo>
                    <a:pt x="243342" y="3111067"/>
                  </a:moveTo>
                  <a:lnTo>
                    <a:pt x="253252" y="3111067"/>
                  </a:lnTo>
                  <a:lnTo>
                    <a:pt x="257271" y="3115105"/>
                  </a:lnTo>
                  <a:lnTo>
                    <a:pt x="257271" y="3124976"/>
                  </a:lnTo>
                  <a:lnTo>
                    <a:pt x="253252" y="3129015"/>
                  </a:lnTo>
                  <a:lnTo>
                    <a:pt x="243342" y="3129015"/>
                  </a:lnTo>
                  <a:lnTo>
                    <a:pt x="239323" y="3124976"/>
                  </a:lnTo>
                  <a:lnTo>
                    <a:pt x="239323" y="3115105"/>
                  </a:lnTo>
                  <a:close/>
                  <a:moveTo>
                    <a:pt x="4029" y="3111067"/>
                  </a:moveTo>
                  <a:lnTo>
                    <a:pt x="13939" y="3111067"/>
                  </a:lnTo>
                  <a:lnTo>
                    <a:pt x="17959" y="3115105"/>
                  </a:lnTo>
                  <a:lnTo>
                    <a:pt x="17959" y="3124976"/>
                  </a:lnTo>
                  <a:lnTo>
                    <a:pt x="13939" y="3129015"/>
                  </a:lnTo>
                  <a:lnTo>
                    <a:pt x="4029" y="3129015"/>
                  </a:lnTo>
                  <a:lnTo>
                    <a:pt x="10" y="3124976"/>
                  </a:lnTo>
                  <a:lnTo>
                    <a:pt x="10" y="3115105"/>
                  </a:lnTo>
                  <a:close/>
                  <a:moveTo>
                    <a:pt x="2157820" y="2871788"/>
                  </a:moveTo>
                  <a:lnTo>
                    <a:pt x="2167732" y="2871788"/>
                  </a:lnTo>
                  <a:lnTo>
                    <a:pt x="2171750" y="2875826"/>
                  </a:lnTo>
                  <a:lnTo>
                    <a:pt x="2171750" y="2885696"/>
                  </a:lnTo>
                  <a:lnTo>
                    <a:pt x="2167732" y="2889735"/>
                  </a:lnTo>
                  <a:lnTo>
                    <a:pt x="2157820" y="2889735"/>
                  </a:lnTo>
                  <a:lnTo>
                    <a:pt x="2153802" y="2885696"/>
                  </a:lnTo>
                  <a:lnTo>
                    <a:pt x="2153802" y="2875826"/>
                  </a:lnTo>
                  <a:close/>
                  <a:moveTo>
                    <a:pt x="1918513" y="2871788"/>
                  </a:moveTo>
                  <a:lnTo>
                    <a:pt x="1928422" y="2871788"/>
                  </a:lnTo>
                  <a:lnTo>
                    <a:pt x="1932441" y="2875826"/>
                  </a:lnTo>
                  <a:lnTo>
                    <a:pt x="1932441" y="2885696"/>
                  </a:lnTo>
                  <a:lnTo>
                    <a:pt x="1928422" y="2889735"/>
                  </a:lnTo>
                  <a:lnTo>
                    <a:pt x="1918513" y="2889735"/>
                  </a:lnTo>
                  <a:lnTo>
                    <a:pt x="1914493" y="2885696"/>
                  </a:lnTo>
                  <a:lnTo>
                    <a:pt x="1914493" y="2875826"/>
                  </a:lnTo>
                  <a:close/>
                  <a:moveTo>
                    <a:pt x="1679211" y="2871788"/>
                  </a:moveTo>
                  <a:lnTo>
                    <a:pt x="1689121" y="2871788"/>
                  </a:lnTo>
                  <a:lnTo>
                    <a:pt x="1693141" y="2875826"/>
                  </a:lnTo>
                  <a:lnTo>
                    <a:pt x="1693141" y="2885696"/>
                  </a:lnTo>
                  <a:lnTo>
                    <a:pt x="1689121" y="2889735"/>
                  </a:lnTo>
                  <a:lnTo>
                    <a:pt x="1679211" y="2889735"/>
                  </a:lnTo>
                  <a:lnTo>
                    <a:pt x="1675193" y="2885696"/>
                  </a:lnTo>
                  <a:lnTo>
                    <a:pt x="1675193" y="2875826"/>
                  </a:lnTo>
                  <a:close/>
                  <a:moveTo>
                    <a:pt x="1439895" y="2871788"/>
                  </a:moveTo>
                  <a:lnTo>
                    <a:pt x="1449805" y="2871788"/>
                  </a:lnTo>
                  <a:lnTo>
                    <a:pt x="1453824" y="2875826"/>
                  </a:lnTo>
                  <a:lnTo>
                    <a:pt x="1453824" y="2885696"/>
                  </a:lnTo>
                  <a:lnTo>
                    <a:pt x="1449805" y="2889735"/>
                  </a:lnTo>
                  <a:lnTo>
                    <a:pt x="1439895" y="2889735"/>
                  </a:lnTo>
                  <a:lnTo>
                    <a:pt x="1435876" y="2885696"/>
                  </a:lnTo>
                  <a:lnTo>
                    <a:pt x="1435876" y="2875826"/>
                  </a:lnTo>
                  <a:close/>
                  <a:moveTo>
                    <a:pt x="1200579" y="2871788"/>
                  </a:moveTo>
                  <a:lnTo>
                    <a:pt x="1210489" y="2871788"/>
                  </a:lnTo>
                  <a:lnTo>
                    <a:pt x="1214509" y="2875826"/>
                  </a:lnTo>
                  <a:lnTo>
                    <a:pt x="1214509" y="2885696"/>
                  </a:lnTo>
                  <a:lnTo>
                    <a:pt x="1210489" y="2889735"/>
                  </a:lnTo>
                  <a:lnTo>
                    <a:pt x="1200579" y="2889735"/>
                  </a:lnTo>
                  <a:lnTo>
                    <a:pt x="1196560" y="2885696"/>
                  </a:lnTo>
                  <a:lnTo>
                    <a:pt x="1196560" y="2875826"/>
                  </a:lnTo>
                  <a:close/>
                  <a:moveTo>
                    <a:pt x="961267" y="2871788"/>
                  </a:moveTo>
                  <a:lnTo>
                    <a:pt x="971177" y="2871788"/>
                  </a:lnTo>
                  <a:lnTo>
                    <a:pt x="975195" y="2875826"/>
                  </a:lnTo>
                  <a:lnTo>
                    <a:pt x="975195" y="2885696"/>
                  </a:lnTo>
                  <a:lnTo>
                    <a:pt x="971177" y="2889735"/>
                  </a:lnTo>
                  <a:lnTo>
                    <a:pt x="961267" y="2889735"/>
                  </a:lnTo>
                  <a:lnTo>
                    <a:pt x="957247" y="2885696"/>
                  </a:lnTo>
                  <a:lnTo>
                    <a:pt x="957247" y="2875826"/>
                  </a:lnTo>
                  <a:close/>
                  <a:moveTo>
                    <a:pt x="9572438" y="2871736"/>
                  </a:moveTo>
                  <a:lnTo>
                    <a:pt x="9582349" y="2871736"/>
                  </a:lnTo>
                  <a:lnTo>
                    <a:pt x="9586368" y="2875775"/>
                  </a:lnTo>
                  <a:lnTo>
                    <a:pt x="9586368" y="2885645"/>
                  </a:lnTo>
                  <a:lnTo>
                    <a:pt x="9582349" y="2889684"/>
                  </a:lnTo>
                  <a:lnTo>
                    <a:pt x="9572438" y="2889684"/>
                  </a:lnTo>
                  <a:lnTo>
                    <a:pt x="9568419" y="2885645"/>
                  </a:lnTo>
                  <a:lnTo>
                    <a:pt x="9568419" y="2875775"/>
                  </a:lnTo>
                  <a:close/>
                  <a:moveTo>
                    <a:pt x="9333125" y="2871736"/>
                  </a:moveTo>
                  <a:lnTo>
                    <a:pt x="9343036" y="2871736"/>
                  </a:lnTo>
                  <a:lnTo>
                    <a:pt x="9347055" y="2875775"/>
                  </a:lnTo>
                  <a:lnTo>
                    <a:pt x="9347055" y="2885645"/>
                  </a:lnTo>
                  <a:lnTo>
                    <a:pt x="9343036" y="2889684"/>
                  </a:lnTo>
                  <a:lnTo>
                    <a:pt x="9333125" y="2889684"/>
                  </a:lnTo>
                  <a:lnTo>
                    <a:pt x="9329106" y="2885645"/>
                  </a:lnTo>
                  <a:lnTo>
                    <a:pt x="9329106" y="2875775"/>
                  </a:lnTo>
                  <a:close/>
                  <a:moveTo>
                    <a:pt x="9093811" y="2871736"/>
                  </a:moveTo>
                  <a:lnTo>
                    <a:pt x="9103722" y="2871736"/>
                  </a:lnTo>
                  <a:lnTo>
                    <a:pt x="9107741" y="2875775"/>
                  </a:lnTo>
                  <a:lnTo>
                    <a:pt x="9107741" y="2885645"/>
                  </a:lnTo>
                  <a:lnTo>
                    <a:pt x="9103722" y="2889684"/>
                  </a:lnTo>
                  <a:lnTo>
                    <a:pt x="9093811" y="2889684"/>
                  </a:lnTo>
                  <a:lnTo>
                    <a:pt x="9089792" y="2885645"/>
                  </a:lnTo>
                  <a:lnTo>
                    <a:pt x="9089792" y="2875775"/>
                  </a:lnTo>
                  <a:close/>
                  <a:moveTo>
                    <a:pt x="8854496" y="2871736"/>
                  </a:moveTo>
                  <a:lnTo>
                    <a:pt x="8864407" y="2871736"/>
                  </a:lnTo>
                  <a:lnTo>
                    <a:pt x="8868426" y="2875775"/>
                  </a:lnTo>
                  <a:lnTo>
                    <a:pt x="8868426" y="2885645"/>
                  </a:lnTo>
                  <a:lnTo>
                    <a:pt x="8864407" y="2889684"/>
                  </a:lnTo>
                  <a:lnTo>
                    <a:pt x="8854496" y="2889684"/>
                  </a:lnTo>
                  <a:lnTo>
                    <a:pt x="8850477" y="2885645"/>
                  </a:lnTo>
                  <a:lnTo>
                    <a:pt x="8850477" y="2875775"/>
                  </a:lnTo>
                  <a:close/>
                  <a:moveTo>
                    <a:pt x="8615184" y="2871736"/>
                  </a:moveTo>
                  <a:lnTo>
                    <a:pt x="8625095" y="2871736"/>
                  </a:lnTo>
                  <a:lnTo>
                    <a:pt x="8629114" y="2875775"/>
                  </a:lnTo>
                  <a:lnTo>
                    <a:pt x="8629114" y="2885645"/>
                  </a:lnTo>
                  <a:lnTo>
                    <a:pt x="8625095" y="2889684"/>
                  </a:lnTo>
                  <a:lnTo>
                    <a:pt x="8615184" y="2889684"/>
                  </a:lnTo>
                  <a:lnTo>
                    <a:pt x="8611165" y="2885645"/>
                  </a:lnTo>
                  <a:lnTo>
                    <a:pt x="8611165" y="2875775"/>
                  </a:lnTo>
                  <a:close/>
                  <a:moveTo>
                    <a:pt x="8375869" y="2871736"/>
                  </a:moveTo>
                  <a:lnTo>
                    <a:pt x="8385779" y="2871736"/>
                  </a:lnTo>
                  <a:lnTo>
                    <a:pt x="8389799" y="2875775"/>
                  </a:lnTo>
                  <a:lnTo>
                    <a:pt x="8389799" y="2885645"/>
                  </a:lnTo>
                  <a:lnTo>
                    <a:pt x="8385779" y="2889684"/>
                  </a:lnTo>
                  <a:lnTo>
                    <a:pt x="8375869" y="2889684"/>
                  </a:lnTo>
                  <a:lnTo>
                    <a:pt x="8371850" y="2885645"/>
                  </a:lnTo>
                  <a:lnTo>
                    <a:pt x="8371850" y="2875775"/>
                  </a:lnTo>
                  <a:close/>
                  <a:moveTo>
                    <a:pt x="8136553" y="2871736"/>
                  </a:moveTo>
                  <a:lnTo>
                    <a:pt x="8146464" y="2871736"/>
                  </a:lnTo>
                  <a:lnTo>
                    <a:pt x="8150483" y="2875775"/>
                  </a:lnTo>
                  <a:lnTo>
                    <a:pt x="8150483" y="2885645"/>
                  </a:lnTo>
                  <a:lnTo>
                    <a:pt x="8146464" y="2889684"/>
                  </a:lnTo>
                  <a:lnTo>
                    <a:pt x="8136553" y="2889684"/>
                  </a:lnTo>
                  <a:lnTo>
                    <a:pt x="8132534" y="2885645"/>
                  </a:lnTo>
                  <a:lnTo>
                    <a:pt x="8132534" y="2875775"/>
                  </a:lnTo>
                  <a:close/>
                  <a:moveTo>
                    <a:pt x="7897241" y="2871736"/>
                  </a:moveTo>
                  <a:lnTo>
                    <a:pt x="7907151" y="2871736"/>
                  </a:lnTo>
                  <a:lnTo>
                    <a:pt x="7911170" y="2875775"/>
                  </a:lnTo>
                  <a:lnTo>
                    <a:pt x="7911170" y="2885645"/>
                  </a:lnTo>
                  <a:lnTo>
                    <a:pt x="7907151" y="2889684"/>
                  </a:lnTo>
                  <a:lnTo>
                    <a:pt x="7897241" y="2889684"/>
                  </a:lnTo>
                  <a:lnTo>
                    <a:pt x="7893222" y="2885645"/>
                  </a:lnTo>
                  <a:lnTo>
                    <a:pt x="7893222" y="2875775"/>
                  </a:lnTo>
                  <a:close/>
                  <a:moveTo>
                    <a:pt x="7657926" y="2871736"/>
                  </a:moveTo>
                  <a:lnTo>
                    <a:pt x="7667836" y="2871736"/>
                  </a:lnTo>
                  <a:lnTo>
                    <a:pt x="7671855" y="2875775"/>
                  </a:lnTo>
                  <a:lnTo>
                    <a:pt x="7671855" y="2885645"/>
                  </a:lnTo>
                  <a:lnTo>
                    <a:pt x="7667836" y="2889684"/>
                  </a:lnTo>
                  <a:lnTo>
                    <a:pt x="7657926" y="2889684"/>
                  </a:lnTo>
                  <a:lnTo>
                    <a:pt x="7653906" y="2885645"/>
                  </a:lnTo>
                  <a:lnTo>
                    <a:pt x="7653906" y="2875775"/>
                  </a:lnTo>
                  <a:close/>
                  <a:moveTo>
                    <a:pt x="7418611" y="2871736"/>
                  </a:moveTo>
                  <a:lnTo>
                    <a:pt x="7428521" y="2871736"/>
                  </a:lnTo>
                  <a:lnTo>
                    <a:pt x="7432540" y="2875775"/>
                  </a:lnTo>
                  <a:lnTo>
                    <a:pt x="7432540" y="2885645"/>
                  </a:lnTo>
                  <a:lnTo>
                    <a:pt x="7428521" y="2889684"/>
                  </a:lnTo>
                  <a:lnTo>
                    <a:pt x="7418611" y="2889684"/>
                  </a:lnTo>
                  <a:lnTo>
                    <a:pt x="7414592" y="2885645"/>
                  </a:lnTo>
                  <a:lnTo>
                    <a:pt x="7414592" y="2875775"/>
                  </a:lnTo>
                  <a:close/>
                  <a:moveTo>
                    <a:pt x="7179298" y="2871736"/>
                  </a:moveTo>
                  <a:lnTo>
                    <a:pt x="7189209" y="2871736"/>
                  </a:lnTo>
                  <a:lnTo>
                    <a:pt x="7193228" y="2875775"/>
                  </a:lnTo>
                  <a:lnTo>
                    <a:pt x="7193228" y="2885645"/>
                  </a:lnTo>
                  <a:lnTo>
                    <a:pt x="7189209" y="2889684"/>
                  </a:lnTo>
                  <a:lnTo>
                    <a:pt x="7179298" y="2889684"/>
                  </a:lnTo>
                  <a:lnTo>
                    <a:pt x="7175279" y="2885645"/>
                  </a:lnTo>
                  <a:lnTo>
                    <a:pt x="7175279" y="2875775"/>
                  </a:lnTo>
                  <a:close/>
                  <a:moveTo>
                    <a:pt x="6939983" y="2871736"/>
                  </a:moveTo>
                  <a:lnTo>
                    <a:pt x="6949894" y="2871736"/>
                  </a:lnTo>
                  <a:lnTo>
                    <a:pt x="6953913" y="2875775"/>
                  </a:lnTo>
                  <a:lnTo>
                    <a:pt x="6953913" y="2885645"/>
                  </a:lnTo>
                  <a:lnTo>
                    <a:pt x="6949894" y="2889684"/>
                  </a:lnTo>
                  <a:lnTo>
                    <a:pt x="6939983" y="2889684"/>
                  </a:lnTo>
                  <a:lnTo>
                    <a:pt x="6935964" y="2885645"/>
                  </a:lnTo>
                  <a:lnTo>
                    <a:pt x="6935964" y="2875775"/>
                  </a:lnTo>
                  <a:close/>
                  <a:moveTo>
                    <a:pt x="6700670" y="2871736"/>
                  </a:moveTo>
                  <a:lnTo>
                    <a:pt x="6710581" y="2871736"/>
                  </a:lnTo>
                  <a:lnTo>
                    <a:pt x="6714600" y="2875775"/>
                  </a:lnTo>
                  <a:lnTo>
                    <a:pt x="6714600" y="2885645"/>
                  </a:lnTo>
                  <a:lnTo>
                    <a:pt x="6710581" y="2889684"/>
                  </a:lnTo>
                  <a:lnTo>
                    <a:pt x="6700670" y="2889684"/>
                  </a:lnTo>
                  <a:lnTo>
                    <a:pt x="6696651" y="2885645"/>
                  </a:lnTo>
                  <a:lnTo>
                    <a:pt x="6696651" y="2875775"/>
                  </a:lnTo>
                  <a:close/>
                  <a:moveTo>
                    <a:pt x="6461356" y="2871736"/>
                  </a:moveTo>
                  <a:lnTo>
                    <a:pt x="6471266" y="2871736"/>
                  </a:lnTo>
                  <a:lnTo>
                    <a:pt x="6475285" y="2875775"/>
                  </a:lnTo>
                  <a:lnTo>
                    <a:pt x="6475285" y="2885645"/>
                  </a:lnTo>
                  <a:lnTo>
                    <a:pt x="6471266" y="2889684"/>
                  </a:lnTo>
                  <a:lnTo>
                    <a:pt x="6461356" y="2889684"/>
                  </a:lnTo>
                  <a:lnTo>
                    <a:pt x="6457337" y="2885645"/>
                  </a:lnTo>
                  <a:lnTo>
                    <a:pt x="6457337" y="2875775"/>
                  </a:lnTo>
                  <a:close/>
                  <a:moveTo>
                    <a:pt x="6222042" y="2871736"/>
                  </a:moveTo>
                  <a:lnTo>
                    <a:pt x="6231952" y="2871736"/>
                  </a:lnTo>
                  <a:lnTo>
                    <a:pt x="6235971" y="2875775"/>
                  </a:lnTo>
                  <a:lnTo>
                    <a:pt x="6235971" y="2885645"/>
                  </a:lnTo>
                  <a:lnTo>
                    <a:pt x="6231952" y="2889684"/>
                  </a:lnTo>
                  <a:lnTo>
                    <a:pt x="6222042" y="2889684"/>
                  </a:lnTo>
                  <a:lnTo>
                    <a:pt x="6218023" y="2885645"/>
                  </a:lnTo>
                  <a:lnTo>
                    <a:pt x="6218023" y="2875775"/>
                  </a:lnTo>
                  <a:close/>
                  <a:moveTo>
                    <a:pt x="5982729" y="2871736"/>
                  </a:moveTo>
                  <a:lnTo>
                    <a:pt x="5992639" y="2871736"/>
                  </a:lnTo>
                  <a:lnTo>
                    <a:pt x="5996658" y="2875775"/>
                  </a:lnTo>
                  <a:lnTo>
                    <a:pt x="5996658" y="2885645"/>
                  </a:lnTo>
                  <a:lnTo>
                    <a:pt x="5992639" y="2889684"/>
                  </a:lnTo>
                  <a:lnTo>
                    <a:pt x="5982729" y="2889684"/>
                  </a:lnTo>
                  <a:lnTo>
                    <a:pt x="5978710" y="2885645"/>
                  </a:lnTo>
                  <a:lnTo>
                    <a:pt x="5978710" y="2875775"/>
                  </a:lnTo>
                  <a:close/>
                  <a:moveTo>
                    <a:pt x="5743412" y="2871736"/>
                  </a:moveTo>
                  <a:lnTo>
                    <a:pt x="5753323" y="2871736"/>
                  </a:lnTo>
                  <a:lnTo>
                    <a:pt x="5757342" y="2875775"/>
                  </a:lnTo>
                  <a:lnTo>
                    <a:pt x="5757342" y="2885645"/>
                  </a:lnTo>
                  <a:lnTo>
                    <a:pt x="5753323" y="2889684"/>
                  </a:lnTo>
                  <a:lnTo>
                    <a:pt x="5743412" y="2889684"/>
                  </a:lnTo>
                  <a:lnTo>
                    <a:pt x="5739393" y="2885645"/>
                  </a:lnTo>
                  <a:lnTo>
                    <a:pt x="5739393" y="2875775"/>
                  </a:lnTo>
                  <a:close/>
                  <a:moveTo>
                    <a:pt x="5504099" y="2871736"/>
                  </a:moveTo>
                  <a:lnTo>
                    <a:pt x="5514010" y="2871736"/>
                  </a:lnTo>
                  <a:lnTo>
                    <a:pt x="5518029" y="2875775"/>
                  </a:lnTo>
                  <a:lnTo>
                    <a:pt x="5518029" y="2885645"/>
                  </a:lnTo>
                  <a:lnTo>
                    <a:pt x="5514010" y="2889684"/>
                  </a:lnTo>
                  <a:lnTo>
                    <a:pt x="5504099" y="2889684"/>
                  </a:lnTo>
                  <a:lnTo>
                    <a:pt x="5500080" y="2885645"/>
                  </a:lnTo>
                  <a:lnTo>
                    <a:pt x="5500080" y="2875775"/>
                  </a:lnTo>
                  <a:close/>
                  <a:moveTo>
                    <a:pt x="5264784" y="2871736"/>
                  </a:moveTo>
                  <a:lnTo>
                    <a:pt x="5274694" y="2871736"/>
                  </a:lnTo>
                  <a:lnTo>
                    <a:pt x="5278713" y="2875775"/>
                  </a:lnTo>
                  <a:lnTo>
                    <a:pt x="5278713" y="2885645"/>
                  </a:lnTo>
                  <a:lnTo>
                    <a:pt x="5274694" y="2889684"/>
                  </a:lnTo>
                  <a:lnTo>
                    <a:pt x="5264784" y="2889684"/>
                  </a:lnTo>
                  <a:lnTo>
                    <a:pt x="5260765" y="2885645"/>
                  </a:lnTo>
                  <a:lnTo>
                    <a:pt x="5260765" y="2875775"/>
                  </a:lnTo>
                  <a:close/>
                  <a:moveTo>
                    <a:pt x="5025470" y="2871736"/>
                  </a:moveTo>
                  <a:lnTo>
                    <a:pt x="5035381" y="2871736"/>
                  </a:lnTo>
                  <a:lnTo>
                    <a:pt x="5039400" y="2875775"/>
                  </a:lnTo>
                  <a:lnTo>
                    <a:pt x="5039400" y="2885645"/>
                  </a:lnTo>
                  <a:lnTo>
                    <a:pt x="5035381" y="2889684"/>
                  </a:lnTo>
                  <a:lnTo>
                    <a:pt x="5025470" y="2889684"/>
                  </a:lnTo>
                  <a:lnTo>
                    <a:pt x="5021451" y="2885645"/>
                  </a:lnTo>
                  <a:lnTo>
                    <a:pt x="5021451" y="2875775"/>
                  </a:lnTo>
                  <a:close/>
                  <a:moveTo>
                    <a:pt x="4786241" y="2871736"/>
                  </a:moveTo>
                  <a:lnTo>
                    <a:pt x="4796152" y="2871736"/>
                  </a:lnTo>
                  <a:lnTo>
                    <a:pt x="4800171" y="2875775"/>
                  </a:lnTo>
                  <a:lnTo>
                    <a:pt x="4800171" y="2885645"/>
                  </a:lnTo>
                  <a:lnTo>
                    <a:pt x="4796152" y="2889684"/>
                  </a:lnTo>
                  <a:lnTo>
                    <a:pt x="4786241" y="2889684"/>
                  </a:lnTo>
                  <a:lnTo>
                    <a:pt x="4782224" y="2885645"/>
                  </a:lnTo>
                  <a:lnTo>
                    <a:pt x="4782224" y="2875775"/>
                  </a:lnTo>
                  <a:close/>
                  <a:moveTo>
                    <a:pt x="4546929" y="2871736"/>
                  </a:moveTo>
                  <a:lnTo>
                    <a:pt x="4556840" y="2871736"/>
                  </a:lnTo>
                  <a:lnTo>
                    <a:pt x="4560859" y="2875775"/>
                  </a:lnTo>
                  <a:lnTo>
                    <a:pt x="4560859" y="2885645"/>
                  </a:lnTo>
                  <a:lnTo>
                    <a:pt x="4556840" y="2889684"/>
                  </a:lnTo>
                  <a:lnTo>
                    <a:pt x="4546929" y="2889684"/>
                  </a:lnTo>
                  <a:lnTo>
                    <a:pt x="4542910" y="2885645"/>
                  </a:lnTo>
                  <a:lnTo>
                    <a:pt x="4542910" y="2875775"/>
                  </a:lnTo>
                  <a:close/>
                  <a:moveTo>
                    <a:pt x="4307612" y="2871736"/>
                  </a:moveTo>
                  <a:lnTo>
                    <a:pt x="4317523" y="2871736"/>
                  </a:lnTo>
                  <a:lnTo>
                    <a:pt x="4321543" y="2875775"/>
                  </a:lnTo>
                  <a:lnTo>
                    <a:pt x="4321543" y="2885645"/>
                  </a:lnTo>
                  <a:lnTo>
                    <a:pt x="4317523" y="2889684"/>
                  </a:lnTo>
                  <a:lnTo>
                    <a:pt x="4307612" y="2889684"/>
                  </a:lnTo>
                  <a:lnTo>
                    <a:pt x="4303595" y="2885645"/>
                  </a:lnTo>
                  <a:lnTo>
                    <a:pt x="4303595" y="2875775"/>
                  </a:lnTo>
                  <a:close/>
                  <a:moveTo>
                    <a:pt x="4068297" y="2871736"/>
                  </a:moveTo>
                  <a:lnTo>
                    <a:pt x="4078210" y="2871736"/>
                  </a:lnTo>
                  <a:lnTo>
                    <a:pt x="4082229" y="2875775"/>
                  </a:lnTo>
                  <a:lnTo>
                    <a:pt x="4082229" y="2885645"/>
                  </a:lnTo>
                  <a:lnTo>
                    <a:pt x="4078210" y="2889684"/>
                  </a:lnTo>
                  <a:lnTo>
                    <a:pt x="4068297" y="2889684"/>
                  </a:lnTo>
                  <a:lnTo>
                    <a:pt x="4064278" y="2885645"/>
                  </a:lnTo>
                  <a:lnTo>
                    <a:pt x="4064278" y="2875775"/>
                  </a:lnTo>
                  <a:close/>
                  <a:moveTo>
                    <a:pt x="3828990" y="2871736"/>
                  </a:moveTo>
                  <a:lnTo>
                    <a:pt x="3838899" y="2871736"/>
                  </a:lnTo>
                  <a:lnTo>
                    <a:pt x="3842917" y="2875775"/>
                  </a:lnTo>
                  <a:lnTo>
                    <a:pt x="3842917" y="2885645"/>
                  </a:lnTo>
                  <a:lnTo>
                    <a:pt x="3838899" y="2889684"/>
                  </a:lnTo>
                  <a:lnTo>
                    <a:pt x="3828990" y="2889684"/>
                  </a:lnTo>
                  <a:lnTo>
                    <a:pt x="3824971" y="2885645"/>
                  </a:lnTo>
                  <a:lnTo>
                    <a:pt x="3824971" y="2875775"/>
                  </a:lnTo>
                  <a:close/>
                  <a:moveTo>
                    <a:pt x="3589676" y="2871736"/>
                  </a:moveTo>
                  <a:lnTo>
                    <a:pt x="3599585" y="2871736"/>
                  </a:lnTo>
                  <a:lnTo>
                    <a:pt x="3603604" y="2875775"/>
                  </a:lnTo>
                  <a:lnTo>
                    <a:pt x="3603604" y="2885645"/>
                  </a:lnTo>
                  <a:lnTo>
                    <a:pt x="3599585" y="2889684"/>
                  </a:lnTo>
                  <a:lnTo>
                    <a:pt x="3589676" y="2889684"/>
                  </a:lnTo>
                  <a:lnTo>
                    <a:pt x="3585657" y="2885645"/>
                  </a:lnTo>
                  <a:lnTo>
                    <a:pt x="3585657" y="2875775"/>
                  </a:lnTo>
                  <a:close/>
                  <a:moveTo>
                    <a:pt x="3350359" y="2871736"/>
                  </a:moveTo>
                  <a:lnTo>
                    <a:pt x="3360268" y="2871736"/>
                  </a:lnTo>
                  <a:lnTo>
                    <a:pt x="3364287" y="2875775"/>
                  </a:lnTo>
                  <a:lnTo>
                    <a:pt x="3364287" y="2885645"/>
                  </a:lnTo>
                  <a:lnTo>
                    <a:pt x="3360268" y="2889684"/>
                  </a:lnTo>
                  <a:lnTo>
                    <a:pt x="3350359" y="2889684"/>
                  </a:lnTo>
                  <a:lnTo>
                    <a:pt x="3346340" y="2885645"/>
                  </a:lnTo>
                  <a:lnTo>
                    <a:pt x="3346340" y="2875775"/>
                  </a:lnTo>
                  <a:close/>
                  <a:moveTo>
                    <a:pt x="3111048" y="2871736"/>
                  </a:moveTo>
                  <a:lnTo>
                    <a:pt x="3120959" y="2871736"/>
                  </a:lnTo>
                  <a:lnTo>
                    <a:pt x="3124977" y="2875775"/>
                  </a:lnTo>
                  <a:lnTo>
                    <a:pt x="3124977" y="2885645"/>
                  </a:lnTo>
                  <a:lnTo>
                    <a:pt x="3120959" y="2889684"/>
                  </a:lnTo>
                  <a:lnTo>
                    <a:pt x="3111048" y="2889684"/>
                  </a:lnTo>
                  <a:lnTo>
                    <a:pt x="3107029" y="2885645"/>
                  </a:lnTo>
                  <a:lnTo>
                    <a:pt x="3107029" y="2875775"/>
                  </a:lnTo>
                  <a:close/>
                  <a:moveTo>
                    <a:pt x="2871737" y="2871736"/>
                  </a:moveTo>
                  <a:lnTo>
                    <a:pt x="2881646" y="2871736"/>
                  </a:lnTo>
                  <a:lnTo>
                    <a:pt x="2885666" y="2875775"/>
                  </a:lnTo>
                  <a:lnTo>
                    <a:pt x="2885666" y="2885645"/>
                  </a:lnTo>
                  <a:lnTo>
                    <a:pt x="2881646" y="2889684"/>
                  </a:lnTo>
                  <a:lnTo>
                    <a:pt x="2871737" y="2889684"/>
                  </a:lnTo>
                  <a:lnTo>
                    <a:pt x="2867717" y="2885645"/>
                  </a:lnTo>
                  <a:lnTo>
                    <a:pt x="2867717" y="2875775"/>
                  </a:lnTo>
                  <a:close/>
                  <a:moveTo>
                    <a:pt x="2632423" y="2871736"/>
                  </a:moveTo>
                  <a:lnTo>
                    <a:pt x="2642334" y="2871736"/>
                  </a:lnTo>
                  <a:lnTo>
                    <a:pt x="2646352" y="2875775"/>
                  </a:lnTo>
                  <a:lnTo>
                    <a:pt x="2646352" y="2885645"/>
                  </a:lnTo>
                  <a:lnTo>
                    <a:pt x="2642334" y="2889684"/>
                  </a:lnTo>
                  <a:lnTo>
                    <a:pt x="2632423" y="2889684"/>
                  </a:lnTo>
                  <a:lnTo>
                    <a:pt x="2628404" y="2885645"/>
                  </a:lnTo>
                  <a:lnTo>
                    <a:pt x="2628404" y="2875775"/>
                  </a:lnTo>
                  <a:close/>
                  <a:moveTo>
                    <a:pt x="2393104" y="2871736"/>
                  </a:moveTo>
                  <a:lnTo>
                    <a:pt x="2403015" y="2871736"/>
                  </a:lnTo>
                  <a:lnTo>
                    <a:pt x="2407034" y="2875775"/>
                  </a:lnTo>
                  <a:lnTo>
                    <a:pt x="2407034" y="2885645"/>
                  </a:lnTo>
                  <a:lnTo>
                    <a:pt x="2403015" y="2889684"/>
                  </a:lnTo>
                  <a:lnTo>
                    <a:pt x="2393104" y="2889684"/>
                  </a:lnTo>
                  <a:lnTo>
                    <a:pt x="2389087" y="2885645"/>
                  </a:lnTo>
                  <a:lnTo>
                    <a:pt x="2389087" y="2875775"/>
                  </a:lnTo>
                  <a:close/>
                  <a:moveTo>
                    <a:pt x="721969" y="2871736"/>
                  </a:moveTo>
                  <a:lnTo>
                    <a:pt x="731879" y="2871736"/>
                  </a:lnTo>
                  <a:lnTo>
                    <a:pt x="735898" y="2875775"/>
                  </a:lnTo>
                  <a:lnTo>
                    <a:pt x="735898" y="2885645"/>
                  </a:lnTo>
                  <a:lnTo>
                    <a:pt x="731879" y="2889684"/>
                  </a:lnTo>
                  <a:lnTo>
                    <a:pt x="721969" y="2889684"/>
                  </a:lnTo>
                  <a:lnTo>
                    <a:pt x="717950" y="2885645"/>
                  </a:lnTo>
                  <a:lnTo>
                    <a:pt x="717950" y="2875775"/>
                  </a:lnTo>
                  <a:close/>
                  <a:moveTo>
                    <a:pt x="482656" y="2871736"/>
                  </a:moveTo>
                  <a:lnTo>
                    <a:pt x="492567" y="2871736"/>
                  </a:lnTo>
                  <a:lnTo>
                    <a:pt x="496586" y="2875775"/>
                  </a:lnTo>
                  <a:lnTo>
                    <a:pt x="496586" y="2885645"/>
                  </a:lnTo>
                  <a:lnTo>
                    <a:pt x="492567" y="2889684"/>
                  </a:lnTo>
                  <a:lnTo>
                    <a:pt x="482656" y="2889684"/>
                  </a:lnTo>
                  <a:lnTo>
                    <a:pt x="478637" y="2885645"/>
                  </a:lnTo>
                  <a:lnTo>
                    <a:pt x="478637" y="2875775"/>
                  </a:lnTo>
                  <a:close/>
                  <a:moveTo>
                    <a:pt x="243343" y="2871736"/>
                  </a:moveTo>
                  <a:lnTo>
                    <a:pt x="253253" y="2871736"/>
                  </a:lnTo>
                  <a:lnTo>
                    <a:pt x="257272" y="2875775"/>
                  </a:lnTo>
                  <a:lnTo>
                    <a:pt x="257272" y="2885645"/>
                  </a:lnTo>
                  <a:lnTo>
                    <a:pt x="253253" y="2889684"/>
                  </a:lnTo>
                  <a:lnTo>
                    <a:pt x="243343" y="2889684"/>
                  </a:lnTo>
                  <a:lnTo>
                    <a:pt x="239324" y="2885645"/>
                  </a:lnTo>
                  <a:lnTo>
                    <a:pt x="239324" y="2875775"/>
                  </a:lnTo>
                  <a:close/>
                  <a:moveTo>
                    <a:pt x="4030" y="2871736"/>
                  </a:moveTo>
                  <a:lnTo>
                    <a:pt x="13940" y="2871736"/>
                  </a:lnTo>
                  <a:lnTo>
                    <a:pt x="17959" y="2875775"/>
                  </a:lnTo>
                  <a:lnTo>
                    <a:pt x="17959" y="2885645"/>
                  </a:lnTo>
                  <a:lnTo>
                    <a:pt x="13940" y="2889684"/>
                  </a:lnTo>
                  <a:lnTo>
                    <a:pt x="4030" y="2889684"/>
                  </a:lnTo>
                  <a:lnTo>
                    <a:pt x="11" y="2885645"/>
                  </a:lnTo>
                  <a:lnTo>
                    <a:pt x="11" y="2875775"/>
                  </a:lnTo>
                  <a:close/>
                  <a:moveTo>
                    <a:pt x="9572438" y="2632457"/>
                  </a:moveTo>
                  <a:lnTo>
                    <a:pt x="9582349" y="2632457"/>
                  </a:lnTo>
                  <a:lnTo>
                    <a:pt x="9586368" y="2636496"/>
                  </a:lnTo>
                  <a:lnTo>
                    <a:pt x="9586368" y="2646366"/>
                  </a:lnTo>
                  <a:lnTo>
                    <a:pt x="9582349" y="2650405"/>
                  </a:lnTo>
                  <a:lnTo>
                    <a:pt x="9572438" y="2650405"/>
                  </a:lnTo>
                  <a:lnTo>
                    <a:pt x="9568419" y="2646366"/>
                  </a:lnTo>
                  <a:lnTo>
                    <a:pt x="9568419" y="2636496"/>
                  </a:lnTo>
                  <a:close/>
                  <a:moveTo>
                    <a:pt x="9333125" y="2632457"/>
                  </a:moveTo>
                  <a:lnTo>
                    <a:pt x="9343036" y="2632457"/>
                  </a:lnTo>
                  <a:lnTo>
                    <a:pt x="9347055" y="2636496"/>
                  </a:lnTo>
                  <a:lnTo>
                    <a:pt x="9347055" y="2646366"/>
                  </a:lnTo>
                  <a:lnTo>
                    <a:pt x="9343036" y="2650405"/>
                  </a:lnTo>
                  <a:lnTo>
                    <a:pt x="9333125" y="2650405"/>
                  </a:lnTo>
                  <a:lnTo>
                    <a:pt x="9329106" y="2646366"/>
                  </a:lnTo>
                  <a:lnTo>
                    <a:pt x="9329106" y="2636496"/>
                  </a:lnTo>
                  <a:close/>
                  <a:moveTo>
                    <a:pt x="9093811" y="2632457"/>
                  </a:moveTo>
                  <a:lnTo>
                    <a:pt x="9103722" y="2632457"/>
                  </a:lnTo>
                  <a:lnTo>
                    <a:pt x="9107741" y="2636496"/>
                  </a:lnTo>
                  <a:lnTo>
                    <a:pt x="9107741" y="2646366"/>
                  </a:lnTo>
                  <a:lnTo>
                    <a:pt x="9103722" y="2650405"/>
                  </a:lnTo>
                  <a:lnTo>
                    <a:pt x="9093811" y="2650405"/>
                  </a:lnTo>
                  <a:lnTo>
                    <a:pt x="9089792" y="2646366"/>
                  </a:lnTo>
                  <a:lnTo>
                    <a:pt x="9089792" y="2636496"/>
                  </a:lnTo>
                  <a:close/>
                  <a:moveTo>
                    <a:pt x="8854496" y="2632457"/>
                  </a:moveTo>
                  <a:lnTo>
                    <a:pt x="8864407" y="2632457"/>
                  </a:lnTo>
                  <a:lnTo>
                    <a:pt x="8868426" y="2636496"/>
                  </a:lnTo>
                  <a:lnTo>
                    <a:pt x="8868426" y="2646366"/>
                  </a:lnTo>
                  <a:lnTo>
                    <a:pt x="8864407" y="2650405"/>
                  </a:lnTo>
                  <a:lnTo>
                    <a:pt x="8854496" y="2650405"/>
                  </a:lnTo>
                  <a:lnTo>
                    <a:pt x="8850477" y="2646366"/>
                  </a:lnTo>
                  <a:lnTo>
                    <a:pt x="8850477" y="2636496"/>
                  </a:lnTo>
                  <a:close/>
                  <a:moveTo>
                    <a:pt x="8615184" y="2632457"/>
                  </a:moveTo>
                  <a:lnTo>
                    <a:pt x="8625095" y="2632457"/>
                  </a:lnTo>
                  <a:lnTo>
                    <a:pt x="8629114" y="2636496"/>
                  </a:lnTo>
                  <a:lnTo>
                    <a:pt x="8629114" y="2646366"/>
                  </a:lnTo>
                  <a:lnTo>
                    <a:pt x="8625095" y="2650405"/>
                  </a:lnTo>
                  <a:lnTo>
                    <a:pt x="8615184" y="2650405"/>
                  </a:lnTo>
                  <a:lnTo>
                    <a:pt x="8611165" y="2646366"/>
                  </a:lnTo>
                  <a:lnTo>
                    <a:pt x="8611165" y="2636496"/>
                  </a:lnTo>
                  <a:close/>
                  <a:moveTo>
                    <a:pt x="8375869" y="2632457"/>
                  </a:moveTo>
                  <a:lnTo>
                    <a:pt x="8385779" y="2632457"/>
                  </a:lnTo>
                  <a:lnTo>
                    <a:pt x="8389799" y="2636496"/>
                  </a:lnTo>
                  <a:lnTo>
                    <a:pt x="8389799" y="2646366"/>
                  </a:lnTo>
                  <a:lnTo>
                    <a:pt x="8385779" y="2650405"/>
                  </a:lnTo>
                  <a:lnTo>
                    <a:pt x="8375869" y="2650405"/>
                  </a:lnTo>
                  <a:lnTo>
                    <a:pt x="8371850" y="2646366"/>
                  </a:lnTo>
                  <a:lnTo>
                    <a:pt x="8371850" y="2636496"/>
                  </a:lnTo>
                  <a:close/>
                  <a:moveTo>
                    <a:pt x="8136553" y="2632457"/>
                  </a:moveTo>
                  <a:lnTo>
                    <a:pt x="8146464" y="2632457"/>
                  </a:lnTo>
                  <a:lnTo>
                    <a:pt x="8150483" y="2636496"/>
                  </a:lnTo>
                  <a:lnTo>
                    <a:pt x="8150483" y="2646366"/>
                  </a:lnTo>
                  <a:lnTo>
                    <a:pt x="8146464" y="2650405"/>
                  </a:lnTo>
                  <a:lnTo>
                    <a:pt x="8136553" y="2650405"/>
                  </a:lnTo>
                  <a:lnTo>
                    <a:pt x="8132534" y="2646366"/>
                  </a:lnTo>
                  <a:lnTo>
                    <a:pt x="8132534" y="2636496"/>
                  </a:lnTo>
                  <a:close/>
                  <a:moveTo>
                    <a:pt x="7897241" y="2632457"/>
                  </a:moveTo>
                  <a:lnTo>
                    <a:pt x="7907151" y="2632457"/>
                  </a:lnTo>
                  <a:lnTo>
                    <a:pt x="7911170" y="2636496"/>
                  </a:lnTo>
                  <a:lnTo>
                    <a:pt x="7911170" y="2646366"/>
                  </a:lnTo>
                  <a:lnTo>
                    <a:pt x="7907151" y="2650405"/>
                  </a:lnTo>
                  <a:lnTo>
                    <a:pt x="7897241" y="2650405"/>
                  </a:lnTo>
                  <a:lnTo>
                    <a:pt x="7893222" y="2646366"/>
                  </a:lnTo>
                  <a:lnTo>
                    <a:pt x="7893222" y="2636496"/>
                  </a:lnTo>
                  <a:close/>
                  <a:moveTo>
                    <a:pt x="7657926" y="2632457"/>
                  </a:moveTo>
                  <a:lnTo>
                    <a:pt x="7667836" y="2632457"/>
                  </a:lnTo>
                  <a:lnTo>
                    <a:pt x="7671855" y="2636496"/>
                  </a:lnTo>
                  <a:lnTo>
                    <a:pt x="7671855" y="2646366"/>
                  </a:lnTo>
                  <a:lnTo>
                    <a:pt x="7667836" y="2650405"/>
                  </a:lnTo>
                  <a:lnTo>
                    <a:pt x="7657926" y="2650405"/>
                  </a:lnTo>
                  <a:lnTo>
                    <a:pt x="7653906" y="2646366"/>
                  </a:lnTo>
                  <a:lnTo>
                    <a:pt x="7653906" y="2636496"/>
                  </a:lnTo>
                  <a:close/>
                  <a:moveTo>
                    <a:pt x="7418611" y="2632457"/>
                  </a:moveTo>
                  <a:lnTo>
                    <a:pt x="7428521" y="2632457"/>
                  </a:lnTo>
                  <a:lnTo>
                    <a:pt x="7432540" y="2636496"/>
                  </a:lnTo>
                  <a:lnTo>
                    <a:pt x="7432540" y="2646366"/>
                  </a:lnTo>
                  <a:lnTo>
                    <a:pt x="7428521" y="2650405"/>
                  </a:lnTo>
                  <a:lnTo>
                    <a:pt x="7418611" y="2650405"/>
                  </a:lnTo>
                  <a:lnTo>
                    <a:pt x="7414592" y="2646366"/>
                  </a:lnTo>
                  <a:lnTo>
                    <a:pt x="7414592" y="2636496"/>
                  </a:lnTo>
                  <a:close/>
                  <a:moveTo>
                    <a:pt x="7179298" y="2632457"/>
                  </a:moveTo>
                  <a:lnTo>
                    <a:pt x="7189209" y="2632457"/>
                  </a:lnTo>
                  <a:lnTo>
                    <a:pt x="7193228" y="2636496"/>
                  </a:lnTo>
                  <a:lnTo>
                    <a:pt x="7193228" y="2646366"/>
                  </a:lnTo>
                  <a:lnTo>
                    <a:pt x="7189209" y="2650405"/>
                  </a:lnTo>
                  <a:lnTo>
                    <a:pt x="7179298" y="2650405"/>
                  </a:lnTo>
                  <a:lnTo>
                    <a:pt x="7175279" y="2646366"/>
                  </a:lnTo>
                  <a:lnTo>
                    <a:pt x="7175279" y="2636496"/>
                  </a:lnTo>
                  <a:close/>
                  <a:moveTo>
                    <a:pt x="6939983" y="2632457"/>
                  </a:moveTo>
                  <a:lnTo>
                    <a:pt x="6949894" y="2632457"/>
                  </a:lnTo>
                  <a:lnTo>
                    <a:pt x="6953913" y="2636496"/>
                  </a:lnTo>
                  <a:lnTo>
                    <a:pt x="6953913" y="2646366"/>
                  </a:lnTo>
                  <a:lnTo>
                    <a:pt x="6949894" y="2650405"/>
                  </a:lnTo>
                  <a:lnTo>
                    <a:pt x="6939983" y="2650405"/>
                  </a:lnTo>
                  <a:lnTo>
                    <a:pt x="6935964" y="2646366"/>
                  </a:lnTo>
                  <a:lnTo>
                    <a:pt x="6935964" y="2636496"/>
                  </a:lnTo>
                  <a:close/>
                  <a:moveTo>
                    <a:pt x="6700670" y="2632457"/>
                  </a:moveTo>
                  <a:lnTo>
                    <a:pt x="6710581" y="2632457"/>
                  </a:lnTo>
                  <a:lnTo>
                    <a:pt x="6714600" y="2636496"/>
                  </a:lnTo>
                  <a:lnTo>
                    <a:pt x="6714600" y="2646366"/>
                  </a:lnTo>
                  <a:lnTo>
                    <a:pt x="6710581" y="2650405"/>
                  </a:lnTo>
                  <a:lnTo>
                    <a:pt x="6700670" y="2650405"/>
                  </a:lnTo>
                  <a:lnTo>
                    <a:pt x="6696651" y="2646366"/>
                  </a:lnTo>
                  <a:lnTo>
                    <a:pt x="6696651" y="2636496"/>
                  </a:lnTo>
                  <a:close/>
                  <a:moveTo>
                    <a:pt x="6461356" y="2632457"/>
                  </a:moveTo>
                  <a:lnTo>
                    <a:pt x="6471266" y="2632457"/>
                  </a:lnTo>
                  <a:lnTo>
                    <a:pt x="6475285" y="2636496"/>
                  </a:lnTo>
                  <a:lnTo>
                    <a:pt x="6475285" y="2646366"/>
                  </a:lnTo>
                  <a:lnTo>
                    <a:pt x="6471266" y="2650405"/>
                  </a:lnTo>
                  <a:lnTo>
                    <a:pt x="6461356" y="2650405"/>
                  </a:lnTo>
                  <a:lnTo>
                    <a:pt x="6457337" y="2646366"/>
                  </a:lnTo>
                  <a:lnTo>
                    <a:pt x="6457337" y="2636496"/>
                  </a:lnTo>
                  <a:close/>
                  <a:moveTo>
                    <a:pt x="6222042" y="2632457"/>
                  </a:moveTo>
                  <a:lnTo>
                    <a:pt x="6231952" y="2632457"/>
                  </a:lnTo>
                  <a:lnTo>
                    <a:pt x="6235971" y="2636496"/>
                  </a:lnTo>
                  <a:lnTo>
                    <a:pt x="6235971" y="2646366"/>
                  </a:lnTo>
                  <a:lnTo>
                    <a:pt x="6231952" y="2650405"/>
                  </a:lnTo>
                  <a:lnTo>
                    <a:pt x="6222042" y="2650405"/>
                  </a:lnTo>
                  <a:lnTo>
                    <a:pt x="6218023" y="2646366"/>
                  </a:lnTo>
                  <a:lnTo>
                    <a:pt x="6218023" y="2636496"/>
                  </a:lnTo>
                  <a:close/>
                  <a:moveTo>
                    <a:pt x="5982729" y="2632457"/>
                  </a:moveTo>
                  <a:lnTo>
                    <a:pt x="5992639" y="2632457"/>
                  </a:lnTo>
                  <a:lnTo>
                    <a:pt x="5996658" y="2636496"/>
                  </a:lnTo>
                  <a:lnTo>
                    <a:pt x="5996658" y="2646366"/>
                  </a:lnTo>
                  <a:lnTo>
                    <a:pt x="5992639" y="2650405"/>
                  </a:lnTo>
                  <a:lnTo>
                    <a:pt x="5982729" y="2650405"/>
                  </a:lnTo>
                  <a:lnTo>
                    <a:pt x="5978710" y="2646366"/>
                  </a:lnTo>
                  <a:lnTo>
                    <a:pt x="5978710" y="2636496"/>
                  </a:lnTo>
                  <a:close/>
                  <a:moveTo>
                    <a:pt x="5743412" y="2632457"/>
                  </a:moveTo>
                  <a:lnTo>
                    <a:pt x="5753323" y="2632457"/>
                  </a:lnTo>
                  <a:lnTo>
                    <a:pt x="5757342" y="2636496"/>
                  </a:lnTo>
                  <a:lnTo>
                    <a:pt x="5757342" y="2646366"/>
                  </a:lnTo>
                  <a:lnTo>
                    <a:pt x="5753323" y="2650405"/>
                  </a:lnTo>
                  <a:lnTo>
                    <a:pt x="5743412" y="2650405"/>
                  </a:lnTo>
                  <a:lnTo>
                    <a:pt x="5739393" y="2646366"/>
                  </a:lnTo>
                  <a:lnTo>
                    <a:pt x="5739393" y="2636496"/>
                  </a:lnTo>
                  <a:close/>
                  <a:moveTo>
                    <a:pt x="5504099" y="2632457"/>
                  </a:moveTo>
                  <a:lnTo>
                    <a:pt x="5514010" y="2632457"/>
                  </a:lnTo>
                  <a:lnTo>
                    <a:pt x="5518029" y="2636496"/>
                  </a:lnTo>
                  <a:lnTo>
                    <a:pt x="5518029" y="2646366"/>
                  </a:lnTo>
                  <a:lnTo>
                    <a:pt x="5514010" y="2650405"/>
                  </a:lnTo>
                  <a:lnTo>
                    <a:pt x="5504099" y="2650405"/>
                  </a:lnTo>
                  <a:lnTo>
                    <a:pt x="5500080" y="2646366"/>
                  </a:lnTo>
                  <a:lnTo>
                    <a:pt x="5500080" y="2636496"/>
                  </a:lnTo>
                  <a:close/>
                  <a:moveTo>
                    <a:pt x="5264784" y="2632457"/>
                  </a:moveTo>
                  <a:lnTo>
                    <a:pt x="5274694" y="2632457"/>
                  </a:lnTo>
                  <a:lnTo>
                    <a:pt x="5278713" y="2636496"/>
                  </a:lnTo>
                  <a:lnTo>
                    <a:pt x="5278713" y="2646366"/>
                  </a:lnTo>
                  <a:lnTo>
                    <a:pt x="5274694" y="2650405"/>
                  </a:lnTo>
                  <a:lnTo>
                    <a:pt x="5264784" y="2650405"/>
                  </a:lnTo>
                  <a:lnTo>
                    <a:pt x="5260765" y="2646366"/>
                  </a:lnTo>
                  <a:lnTo>
                    <a:pt x="5260765" y="2636496"/>
                  </a:lnTo>
                  <a:close/>
                  <a:moveTo>
                    <a:pt x="5025470" y="2632457"/>
                  </a:moveTo>
                  <a:lnTo>
                    <a:pt x="5035381" y="2632457"/>
                  </a:lnTo>
                  <a:lnTo>
                    <a:pt x="5039400" y="2636496"/>
                  </a:lnTo>
                  <a:lnTo>
                    <a:pt x="5039400" y="2646366"/>
                  </a:lnTo>
                  <a:lnTo>
                    <a:pt x="5035381" y="2650405"/>
                  </a:lnTo>
                  <a:lnTo>
                    <a:pt x="5025470" y="2650405"/>
                  </a:lnTo>
                  <a:lnTo>
                    <a:pt x="5021451" y="2646366"/>
                  </a:lnTo>
                  <a:lnTo>
                    <a:pt x="5021451" y="2636496"/>
                  </a:lnTo>
                  <a:close/>
                  <a:moveTo>
                    <a:pt x="4786241" y="2632457"/>
                  </a:moveTo>
                  <a:lnTo>
                    <a:pt x="4796152" y="2632457"/>
                  </a:lnTo>
                  <a:lnTo>
                    <a:pt x="4800171" y="2636496"/>
                  </a:lnTo>
                  <a:lnTo>
                    <a:pt x="4800171" y="2646366"/>
                  </a:lnTo>
                  <a:lnTo>
                    <a:pt x="4796152" y="2650405"/>
                  </a:lnTo>
                  <a:lnTo>
                    <a:pt x="4786241" y="2650405"/>
                  </a:lnTo>
                  <a:lnTo>
                    <a:pt x="4782224" y="2646366"/>
                  </a:lnTo>
                  <a:lnTo>
                    <a:pt x="4782224" y="2636496"/>
                  </a:lnTo>
                  <a:close/>
                  <a:moveTo>
                    <a:pt x="4546929" y="2632457"/>
                  </a:moveTo>
                  <a:lnTo>
                    <a:pt x="4556840" y="2632457"/>
                  </a:lnTo>
                  <a:lnTo>
                    <a:pt x="4560859" y="2636496"/>
                  </a:lnTo>
                  <a:lnTo>
                    <a:pt x="4560859" y="2646366"/>
                  </a:lnTo>
                  <a:lnTo>
                    <a:pt x="4556840" y="2650405"/>
                  </a:lnTo>
                  <a:lnTo>
                    <a:pt x="4546929" y="2650405"/>
                  </a:lnTo>
                  <a:lnTo>
                    <a:pt x="4542910" y="2646366"/>
                  </a:lnTo>
                  <a:lnTo>
                    <a:pt x="4542910" y="2636496"/>
                  </a:lnTo>
                  <a:close/>
                  <a:moveTo>
                    <a:pt x="4307612" y="2632457"/>
                  </a:moveTo>
                  <a:lnTo>
                    <a:pt x="4317523" y="2632457"/>
                  </a:lnTo>
                  <a:lnTo>
                    <a:pt x="4321543" y="2636496"/>
                  </a:lnTo>
                  <a:lnTo>
                    <a:pt x="4321543" y="2646366"/>
                  </a:lnTo>
                  <a:lnTo>
                    <a:pt x="4317523" y="2650405"/>
                  </a:lnTo>
                  <a:lnTo>
                    <a:pt x="4307612" y="2650405"/>
                  </a:lnTo>
                  <a:lnTo>
                    <a:pt x="4303595" y="2646366"/>
                  </a:lnTo>
                  <a:lnTo>
                    <a:pt x="4303595" y="2636496"/>
                  </a:lnTo>
                  <a:close/>
                  <a:moveTo>
                    <a:pt x="4068297" y="2632457"/>
                  </a:moveTo>
                  <a:lnTo>
                    <a:pt x="4078210" y="2632457"/>
                  </a:lnTo>
                  <a:lnTo>
                    <a:pt x="4082229" y="2636496"/>
                  </a:lnTo>
                  <a:lnTo>
                    <a:pt x="4082229" y="2646366"/>
                  </a:lnTo>
                  <a:lnTo>
                    <a:pt x="4078210" y="2650405"/>
                  </a:lnTo>
                  <a:lnTo>
                    <a:pt x="4068297" y="2650405"/>
                  </a:lnTo>
                  <a:lnTo>
                    <a:pt x="4064278" y="2646366"/>
                  </a:lnTo>
                  <a:lnTo>
                    <a:pt x="4064278" y="2636496"/>
                  </a:lnTo>
                  <a:close/>
                  <a:moveTo>
                    <a:pt x="3828990" y="2632457"/>
                  </a:moveTo>
                  <a:lnTo>
                    <a:pt x="3838899" y="2632457"/>
                  </a:lnTo>
                  <a:lnTo>
                    <a:pt x="3842917" y="2636496"/>
                  </a:lnTo>
                  <a:lnTo>
                    <a:pt x="3842917" y="2646366"/>
                  </a:lnTo>
                  <a:lnTo>
                    <a:pt x="3838899" y="2650405"/>
                  </a:lnTo>
                  <a:lnTo>
                    <a:pt x="3828990" y="2650405"/>
                  </a:lnTo>
                  <a:lnTo>
                    <a:pt x="3824971" y="2646366"/>
                  </a:lnTo>
                  <a:lnTo>
                    <a:pt x="3824971" y="2636496"/>
                  </a:lnTo>
                  <a:close/>
                  <a:moveTo>
                    <a:pt x="3589676" y="2632457"/>
                  </a:moveTo>
                  <a:lnTo>
                    <a:pt x="3599585" y="2632457"/>
                  </a:lnTo>
                  <a:lnTo>
                    <a:pt x="3603604" y="2636496"/>
                  </a:lnTo>
                  <a:lnTo>
                    <a:pt x="3603604" y="2646366"/>
                  </a:lnTo>
                  <a:lnTo>
                    <a:pt x="3599585" y="2650405"/>
                  </a:lnTo>
                  <a:lnTo>
                    <a:pt x="3589676" y="2650405"/>
                  </a:lnTo>
                  <a:lnTo>
                    <a:pt x="3585657" y="2646366"/>
                  </a:lnTo>
                  <a:lnTo>
                    <a:pt x="3585657" y="2636496"/>
                  </a:lnTo>
                  <a:close/>
                  <a:moveTo>
                    <a:pt x="3350359" y="2632457"/>
                  </a:moveTo>
                  <a:lnTo>
                    <a:pt x="3360268" y="2632457"/>
                  </a:lnTo>
                  <a:lnTo>
                    <a:pt x="3364287" y="2636496"/>
                  </a:lnTo>
                  <a:lnTo>
                    <a:pt x="3364287" y="2646366"/>
                  </a:lnTo>
                  <a:lnTo>
                    <a:pt x="3360268" y="2650405"/>
                  </a:lnTo>
                  <a:lnTo>
                    <a:pt x="3350359" y="2650405"/>
                  </a:lnTo>
                  <a:lnTo>
                    <a:pt x="3346340" y="2646366"/>
                  </a:lnTo>
                  <a:lnTo>
                    <a:pt x="3346340" y="2636496"/>
                  </a:lnTo>
                  <a:close/>
                  <a:moveTo>
                    <a:pt x="3111048" y="2632457"/>
                  </a:moveTo>
                  <a:lnTo>
                    <a:pt x="3120959" y="2632457"/>
                  </a:lnTo>
                  <a:lnTo>
                    <a:pt x="3124977" y="2636496"/>
                  </a:lnTo>
                  <a:lnTo>
                    <a:pt x="3124977" y="2646366"/>
                  </a:lnTo>
                  <a:lnTo>
                    <a:pt x="3120959" y="2650405"/>
                  </a:lnTo>
                  <a:lnTo>
                    <a:pt x="3111048" y="2650405"/>
                  </a:lnTo>
                  <a:lnTo>
                    <a:pt x="3107029" y="2646366"/>
                  </a:lnTo>
                  <a:lnTo>
                    <a:pt x="3107029" y="2636496"/>
                  </a:lnTo>
                  <a:close/>
                  <a:moveTo>
                    <a:pt x="2871737" y="2632457"/>
                  </a:moveTo>
                  <a:lnTo>
                    <a:pt x="2881646" y="2632457"/>
                  </a:lnTo>
                  <a:lnTo>
                    <a:pt x="2885666" y="2636496"/>
                  </a:lnTo>
                  <a:lnTo>
                    <a:pt x="2885666" y="2646366"/>
                  </a:lnTo>
                  <a:lnTo>
                    <a:pt x="2881646" y="2650405"/>
                  </a:lnTo>
                  <a:lnTo>
                    <a:pt x="2871737" y="2650405"/>
                  </a:lnTo>
                  <a:lnTo>
                    <a:pt x="2867717" y="2646366"/>
                  </a:lnTo>
                  <a:lnTo>
                    <a:pt x="2867717" y="2636496"/>
                  </a:lnTo>
                  <a:close/>
                  <a:moveTo>
                    <a:pt x="2632423" y="2632457"/>
                  </a:moveTo>
                  <a:lnTo>
                    <a:pt x="2642334" y="2632457"/>
                  </a:lnTo>
                  <a:lnTo>
                    <a:pt x="2646352" y="2636496"/>
                  </a:lnTo>
                  <a:lnTo>
                    <a:pt x="2646352" y="2646366"/>
                  </a:lnTo>
                  <a:lnTo>
                    <a:pt x="2642334" y="2650405"/>
                  </a:lnTo>
                  <a:lnTo>
                    <a:pt x="2632423" y="2650405"/>
                  </a:lnTo>
                  <a:lnTo>
                    <a:pt x="2628404" y="2646366"/>
                  </a:lnTo>
                  <a:lnTo>
                    <a:pt x="2628404" y="2636496"/>
                  </a:lnTo>
                  <a:close/>
                  <a:moveTo>
                    <a:pt x="2393104" y="2632457"/>
                  </a:moveTo>
                  <a:lnTo>
                    <a:pt x="2403015" y="2632457"/>
                  </a:lnTo>
                  <a:lnTo>
                    <a:pt x="2407034" y="2636496"/>
                  </a:lnTo>
                  <a:lnTo>
                    <a:pt x="2407034" y="2646366"/>
                  </a:lnTo>
                  <a:lnTo>
                    <a:pt x="2403015" y="2650405"/>
                  </a:lnTo>
                  <a:lnTo>
                    <a:pt x="2393104" y="2650405"/>
                  </a:lnTo>
                  <a:lnTo>
                    <a:pt x="2389087" y="2646366"/>
                  </a:lnTo>
                  <a:lnTo>
                    <a:pt x="2389087" y="2636496"/>
                  </a:lnTo>
                  <a:close/>
                  <a:moveTo>
                    <a:pt x="2157821" y="2632457"/>
                  </a:moveTo>
                  <a:lnTo>
                    <a:pt x="2167732" y="2632457"/>
                  </a:lnTo>
                  <a:lnTo>
                    <a:pt x="2171750" y="2636496"/>
                  </a:lnTo>
                  <a:lnTo>
                    <a:pt x="2171750" y="2646366"/>
                  </a:lnTo>
                  <a:lnTo>
                    <a:pt x="2167732" y="2650405"/>
                  </a:lnTo>
                  <a:lnTo>
                    <a:pt x="2157821" y="2650405"/>
                  </a:lnTo>
                  <a:lnTo>
                    <a:pt x="2153802" y="2646366"/>
                  </a:lnTo>
                  <a:lnTo>
                    <a:pt x="2153802" y="2636496"/>
                  </a:lnTo>
                  <a:close/>
                  <a:moveTo>
                    <a:pt x="1918513" y="2632457"/>
                  </a:moveTo>
                  <a:lnTo>
                    <a:pt x="1928422" y="2632457"/>
                  </a:lnTo>
                  <a:lnTo>
                    <a:pt x="1932441" y="2636496"/>
                  </a:lnTo>
                  <a:lnTo>
                    <a:pt x="1932441" y="2646366"/>
                  </a:lnTo>
                  <a:lnTo>
                    <a:pt x="1928422" y="2650405"/>
                  </a:lnTo>
                  <a:lnTo>
                    <a:pt x="1918513" y="2650405"/>
                  </a:lnTo>
                  <a:lnTo>
                    <a:pt x="1914494" y="2646366"/>
                  </a:lnTo>
                  <a:lnTo>
                    <a:pt x="1914494" y="2636496"/>
                  </a:lnTo>
                  <a:close/>
                  <a:moveTo>
                    <a:pt x="1679212" y="2632457"/>
                  </a:moveTo>
                  <a:lnTo>
                    <a:pt x="1689122" y="2632457"/>
                  </a:lnTo>
                  <a:lnTo>
                    <a:pt x="1693141" y="2636496"/>
                  </a:lnTo>
                  <a:lnTo>
                    <a:pt x="1693141" y="2646366"/>
                  </a:lnTo>
                  <a:lnTo>
                    <a:pt x="1689122" y="2650405"/>
                  </a:lnTo>
                  <a:lnTo>
                    <a:pt x="1679212" y="2650405"/>
                  </a:lnTo>
                  <a:lnTo>
                    <a:pt x="1675193" y="2646366"/>
                  </a:lnTo>
                  <a:lnTo>
                    <a:pt x="1675193" y="2636496"/>
                  </a:lnTo>
                  <a:close/>
                  <a:moveTo>
                    <a:pt x="1439896" y="2632457"/>
                  </a:moveTo>
                  <a:lnTo>
                    <a:pt x="1449806" y="2632457"/>
                  </a:lnTo>
                  <a:lnTo>
                    <a:pt x="1453824" y="2636496"/>
                  </a:lnTo>
                  <a:lnTo>
                    <a:pt x="1453824" y="2646366"/>
                  </a:lnTo>
                  <a:lnTo>
                    <a:pt x="1449806" y="2650405"/>
                  </a:lnTo>
                  <a:lnTo>
                    <a:pt x="1439896" y="2650405"/>
                  </a:lnTo>
                  <a:lnTo>
                    <a:pt x="1435876" y="2646366"/>
                  </a:lnTo>
                  <a:lnTo>
                    <a:pt x="1435876" y="2636496"/>
                  </a:lnTo>
                  <a:close/>
                  <a:moveTo>
                    <a:pt x="1200580" y="2632457"/>
                  </a:moveTo>
                  <a:lnTo>
                    <a:pt x="1210490" y="2632457"/>
                  </a:lnTo>
                  <a:lnTo>
                    <a:pt x="1214509" y="2636496"/>
                  </a:lnTo>
                  <a:lnTo>
                    <a:pt x="1214509" y="2646366"/>
                  </a:lnTo>
                  <a:lnTo>
                    <a:pt x="1210490" y="2650405"/>
                  </a:lnTo>
                  <a:lnTo>
                    <a:pt x="1200580" y="2650405"/>
                  </a:lnTo>
                  <a:lnTo>
                    <a:pt x="1196561" y="2646366"/>
                  </a:lnTo>
                  <a:lnTo>
                    <a:pt x="1196561" y="2636496"/>
                  </a:lnTo>
                  <a:close/>
                  <a:moveTo>
                    <a:pt x="961267" y="2632457"/>
                  </a:moveTo>
                  <a:lnTo>
                    <a:pt x="971178" y="2632457"/>
                  </a:lnTo>
                  <a:lnTo>
                    <a:pt x="975196" y="2636496"/>
                  </a:lnTo>
                  <a:lnTo>
                    <a:pt x="975196" y="2646366"/>
                  </a:lnTo>
                  <a:lnTo>
                    <a:pt x="971178" y="2650405"/>
                  </a:lnTo>
                  <a:lnTo>
                    <a:pt x="961267" y="2650405"/>
                  </a:lnTo>
                  <a:lnTo>
                    <a:pt x="957249" y="2646366"/>
                  </a:lnTo>
                  <a:lnTo>
                    <a:pt x="957249" y="2636496"/>
                  </a:lnTo>
                  <a:close/>
                  <a:moveTo>
                    <a:pt x="721970" y="2632457"/>
                  </a:moveTo>
                  <a:lnTo>
                    <a:pt x="731879" y="2632457"/>
                  </a:lnTo>
                  <a:lnTo>
                    <a:pt x="735898" y="2636496"/>
                  </a:lnTo>
                  <a:lnTo>
                    <a:pt x="735898" y="2646366"/>
                  </a:lnTo>
                  <a:lnTo>
                    <a:pt x="731879" y="2650405"/>
                  </a:lnTo>
                  <a:lnTo>
                    <a:pt x="721970" y="2650405"/>
                  </a:lnTo>
                  <a:lnTo>
                    <a:pt x="717951" y="2646366"/>
                  </a:lnTo>
                  <a:lnTo>
                    <a:pt x="717951" y="2636496"/>
                  </a:lnTo>
                  <a:close/>
                  <a:moveTo>
                    <a:pt x="482657" y="2632457"/>
                  </a:moveTo>
                  <a:lnTo>
                    <a:pt x="492567" y="2632457"/>
                  </a:lnTo>
                  <a:lnTo>
                    <a:pt x="496586" y="2636496"/>
                  </a:lnTo>
                  <a:lnTo>
                    <a:pt x="496586" y="2646366"/>
                  </a:lnTo>
                  <a:lnTo>
                    <a:pt x="492567" y="2650405"/>
                  </a:lnTo>
                  <a:lnTo>
                    <a:pt x="482657" y="2650405"/>
                  </a:lnTo>
                  <a:lnTo>
                    <a:pt x="478638" y="2646366"/>
                  </a:lnTo>
                  <a:lnTo>
                    <a:pt x="478638" y="2636496"/>
                  </a:lnTo>
                  <a:close/>
                  <a:moveTo>
                    <a:pt x="243344" y="2632457"/>
                  </a:moveTo>
                  <a:lnTo>
                    <a:pt x="253254" y="2632457"/>
                  </a:lnTo>
                  <a:lnTo>
                    <a:pt x="257273" y="2636496"/>
                  </a:lnTo>
                  <a:lnTo>
                    <a:pt x="257273" y="2646366"/>
                  </a:lnTo>
                  <a:lnTo>
                    <a:pt x="253254" y="2650405"/>
                  </a:lnTo>
                  <a:lnTo>
                    <a:pt x="243344" y="2650405"/>
                  </a:lnTo>
                  <a:lnTo>
                    <a:pt x="239325" y="2646366"/>
                  </a:lnTo>
                  <a:lnTo>
                    <a:pt x="239325" y="2636496"/>
                  </a:lnTo>
                  <a:close/>
                  <a:moveTo>
                    <a:pt x="4030" y="2632457"/>
                  </a:moveTo>
                  <a:lnTo>
                    <a:pt x="13941" y="2632457"/>
                  </a:lnTo>
                  <a:lnTo>
                    <a:pt x="17960" y="2636496"/>
                  </a:lnTo>
                  <a:lnTo>
                    <a:pt x="17960" y="2646366"/>
                  </a:lnTo>
                  <a:lnTo>
                    <a:pt x="13941" y="2650405"/>
                  </a:lnTo>
                  <a:lnTo>
                    <a:pt x="4030" y="2650405"/>
                  </a:lnTo>
                  <a:lnTo>
                    <a:pt x="11" y="2646366"/>
                  </a:lnTo>
                  <a:lnTo>
                    <a:pt x="11" y="2636496"/>
                  </a:lnTo>
                  <a:close/>
                  <a:moveTo>
                    <a:pt x="2157821" y="2393178"/>
                  </a:moveTo>
                  <a:lnTo>
                    <a:pt x="2167732" y="2393178"/>
                  </a:lnTo>
                  <a:lnTo>
                    <a:pt x="2171750" y="2397216"/>
                  </a:lnTo>
                  <a:lnTo>
                    <a:pt x="2171750" y="2407087"/>
                  </a:lnTo>
                  <a:lnTo>
                    <a:pt x="2167732" y="2411126"/>
                  </a:lnTo>
                  <a:lnTo>
                    <a:pt x="2157821" y="2411126"/>
                  </a:lnTo>
                  <a:lnTo>
                    <a:pt x="2153802" y="2407087"/>
                  </a:lnTo>
                  <a:lnTo>
                    <a:pt x="2153802" y="2397216"/>
                  </a:lnTo>
                  <a:close/>
                  <a:moveTo>
                    <a:pt x="1918513" y="2393178"/>
                  </a:moveTo>
                  <a:lnTo>
                    <a:pt x="1928422" y="2393178"/>
                  </a:lnTo>
                  <a:lnTo>
                    <a:pt x="1932443" y="2397216"/>
                  </a:lnTo>
                  <a:lnTo>
                    <a:pt x="1932443" y="2407087"/>
                  </a:lnTo>
                  <a:lnTo>
                    <a:pt x="1928422" y="2411126"/>
                  </a:lnTo>
                  <a:lnTo>
                    <a:pt x="1918513" y="2411126"/>
                  </a:lnTo>
                  <a:lnTo>
                    <a:pt x="1914494" y="2407087"/>
                  </a:lnTo>
                  <a:lnTo>
                    <a:pt x="1914494" y="2397216"/>
                  </a:lnTo>
                  <a:close/>
                  <a:moveTo>
                    <a:pt x="1679212" y="2393178"/>
                  </a:moveTo>
                  <a:lnTo>
                    <a:pt x="1689123" y="2393178"/>
                  </a:lnTo>
                  <a:lnTo>
                    <a:pt x="1693142" y="2397216"/>
                  </a:lnTo>
                  <a:lnTo>
                    <a:pt x="1693142" y="2407087"/>
                  </a:lnTo>
                  <a:lnTo>
                    <a:pt x="1689123" y="2411126"/>
                  </a:lnTo>
                  <a:lnTo>
                    <a:pt x="1679212" y="2411126"/>
                  </a:lnTo>
                  <a:lnTo>
                    <a:pt x="1675194" y="2407087"/>
                  </a:lnTo>
                  <a:lnTo>
                    <a:pt x="1675194" y="2397216"/>
                  </a:lnTo>
                  <a:close/>
                  <a:moveTo>
                    <a:pt x="1439896" y="2393178"/>
                  </a:moveTo>
                  <a:lnTo>
                    <a:pt x="1449806" y="2393178"/>
                  </a:lnTo>
                  <a:lnTo>
                    <a:pt x="1453826" y="2397216"/>
                  </a:lnTo>
                  <a:lnTo>
                    <a:pt x="1453826" y="2407087"/>
                  </a:lnTo>
                  <a:lnTo>
                    <a:pt x="1449806" y="2411126"/>
                  </a:lnTo>
                  <a:lnTo>
                    <a:pt x="1439896" y="2411126"/>
                  </a:lnTo>
                  <a:lnTo>
                    <a:pt x="1435878" y="2407087"/>
                  </a:lnTo>
                  <a:lnTo>
                    <a:pt x="1435878" y="2397216"/>
                  </a:lnTo>
                  <a:close/>
                  <a:moveTo>
                    <a:pt x="1200580" y="2393178"/>
                  </a:moveTo>
                  <a:lnTo>
                    <a:pt x="1210491" y="2393178"/>
                  </a:lnTo>
                  <a:lnTo>
                    <a:pt x="1214510" y="2397216"/>
                  </a:lnTo>
                  <a:lnTo>
                    <a:pt x="1214510" y="2407087"/>
                  </a:lnTo>
                  <a:lnTo>
                    <a:pt x="1210491" y="2411126"/>
                  </a:lnTo>
                  <a:lnTo>
                    <a:pt x="1200580" y="2411126"/>
                  </a:lnTo>
                  <a:lnTo>
                    <a:pt x="1196562" y="2407087"/>
                  </a:lnTo>
                  <a:lnTo>
                    <a:pt x="1196562" y="2397216"/>
                  </a:lnTo>
                  <a:close/>
                  <a:moveTo>
                    <a:pt x="961268" y="2393178"/>
                  </a:moveTo>
                  <a:lnTo>
                    <a:pt x="971178" y="2393178"/>
                  </a:lnTo>
                  <a:lnTo>
                    <a:pt x="975196" y="2397216"/>
                  </a:lnTo>
                  <a:lnTo>
                    <a:pt x="975196" y="2407087"/>
                  </a:lnTo>
                  <a:lnTo>
                    <a:pt x="971178" y="2411126"/>
                  </a:lnTo>
                  <a:lnTo>
                    <a:pt x="961268" y="2411126"/>
                  </a:lnTo>
                  <a:lnTo>
                    <a:pt x="957249" y="2407087"/>
                  </a:lnTo>
                  <a:lnTo>
                    <a:pt x="957249" y="2397216"/>
                  </a:lnTo>
                  <a:close/>
                  <a:moveTo>
                    <a:pt x="9572438" y="2393127"/>
                  </a:moveTo>
                  <a:lnTo>
                    <a:pt x="9582349" y="2393127"/>
                  </a:lnTo>
                  <a:lnTo>
                    <a:pt x="9586368" y="2397165"/>
                  </a:lnTo>
                  <a:lnTo>
                    <a:pt x="9586368" y="2407036"/>
                  </a:lnTo>
                  <a:lnTo>
                    <a:pt x="9582349" y="2411074"/>
                  </a:lnTo>
                  <a:lnTo>
                    <a:pt x="9572438" y="2411074"/>
                  </a:lnTo>
                  <a:lnTo>
                    <a:pt x="9568419" y="2407036"/>
                  </a:lnTo>
                  <a:lnTo>
                    <a:pt x="9568419" y="2397165"/>
                  </a:lnTo>
                  <a:close/>
                  <a:moveTo>
                    <a:pt x="9333125" y="2393127"/>
                  </a:moveTo>
                  <a:lnTo>
                    <a:pt x="9343036" y="2393127"/>
                  </a:lnTo>
                  <a:lnTo>
                    <a:pt x="9347055" y="2397165"/>
                  </a:lnTo>
                  <a:lnTo>
                    <a:pt x="9347055" y="2407036"/>
                  </a:lnTo>
                  <a:lnTo>
                    <a:pt x="9343036" y="2411074"/>
                  </a:lnTo>
                  <a:lnTo>
                    <a:pt x="9333125" y="2411074"/>
                  </a:lnTo>
                  <a:lnTo>
                    <a:pt x="9329106" y="2407036"/>
                  </a:lnTo>
                  <a:lnTo>
                    <a:pt x="9329106" y="2397165"/>
                  </a:lnTo>
                  <a:close/>
                  <a:moveTo>
                    <a:pt x="9093811" y="2393127"/>
                  </a:moveTo>
                  <a:lnTo>
                    <a:pt x="9103722" y="2393127"/>
                  </a:lnTo>
                  <a:lnTo>
                    <a:pt x="9107741" y="2397165"/>
                  </a:lnTo>
                  <a:lnTo>
                    <a:pt x="9107741" y="2407036"/>
                  </a:lnTo>
                  <a:lnTo>
                    <a:pt x="9103722" y="2411074"/>
                  </a:lnTo>
                  <a:lnTo>
                    <a:pt x="9093811" y="2411074"/>
                  </a:lnTo>
                  <a:lnTo>
                    <a:pt x="9089792" y="2407036"/>
                  </a:lnTo>
                  <a:lnTo>
                    <a:pt x="9089792" y="2397165"/>
                  </a:lnTo>
                  <a:close/>
                  <a:moveTo>
                    <a:pt x="8854496" y="2393127"/>
                  </a:moveTo>
                  <a:lnTo>
                    <a:pt x="8864407" y="2393127"/>
                  </a:lnTo>
                  <a:lnTo>
                    <a:pt x="8868426" y="2397165"/>
                  </a:lnTo>
                  <a:lnTo>
                    <a:pt x="8868426" y="2407036"/>
                  </a:lnTo>
                  <a:lnTo>
                    <a:pt x="8864407" y="2411074"/>
                  </a:lnTo>
                  <a:lnTo>
                    <a:pt x="8854496" y="2411074"/>
                  </a:lnTo>
                  <a:lnTo>
                    <a:pt x="8850477" y="2407036"/>
                  </a:lnTo>
                  <a:lnTo>
                    <a:pt x="8850477" y="2397165"/>
                  </a:lnTo>
                  <a:close/>
                  <a:moveTo>
                    <a:pt x="8615184" y="2393127"/>
                  </a:moveTo>
                  <a:lnTo>
                    <a:pt x="8625095" y="2393127"/>
                  </a:lnTo>
                  <a:lnTo>
                    <a:pt x="8629114" y="2397165"/>
                  </a:lnTo>
                  <a:lnTo>
                    <a:pt x="8629114" y="2407036"/>
                  </a:lnTo>
                  <a:lnTo>
                    <a:pt x="8625095" y="2411074"/>
                  </a:lnTo>
                  <a:lnTo>
                    <a:pt x="8615184" y="2411074"/>
                  </a:lnTo>
                  <a:lnTo>
                    <a:pt x="8611165" y="2407036"/>
                  </a:lnTo>
                  <a:lnTo>
                    <a:pt x="8611165" y="2397165"/>
                  </a:lnTo>
                  <a:close/>
                  <a:moveTo>
                    <a:pt x="8375869" y="2393127"/>
                  </a:moveTo>
                  <a:lnTo>
                    <a:pt x="8385779" y="2393127"/>
                  </a:lnTo>
                  <a:lnTo>
                    <a:pt x="8389799" y="2397165"/>
                  </a:lnTo>
                  <a:lnTo>
                    <a:pt x="8389799" y="2407036"/>
                  </a:lnTo>
                  <a:lnTo>
                    <a:pt x="8385779" y="2411074"/>
                  </a:lnTo>
                  <a:lnTo>
                    <a:pt x="8375869" y="2411074"/>
                  </a:lnTo>
                  <a:lnTo>
                    <a:pt x="8371850" y="2407036"/>
                  </a:lnTo>
                  <a:lnTo>
                    <a:pt x="8371850" y="2397165"/>
                  </a:lnTo>
                  <a:close/>
                  <a:moveTo>
                    <a:pt x="8136553" y="2393127"/>
                  </a:moveTo>
                  <a:lnTo>
                    <a:pt x="8146464" y="2393127"/>
                  </a:lnTo>
                  <a:lnTo>
                    <a:pt x="8150483" y="2397165"/>
                  </a:lnTo>
                  <a:lnTo>
                    <a:pt x="8150483" y="2407036"/>
                  </a:lnTo>
                  <a:lnTo>
                    <a:pt x="8146464" y="2411074"/>
                  </a:lnTo>
                  <a:lnTo>
                    <a:pt x="8136553" y="2411074"/>
                  </a:lnTo>
                  <a:lnTo>
                    <a:pt x="8132534" y="2407036"/>
                  </a:lnTo>
                  <a:lnTo>
                    <a:pt x="8132534" y="2397165"/>
                  </a:lnTo>
                  <a:close/>
                  <a:moveTo>
                    <a:pt x="7897241" y="2393127"/>
                  </a:moveTo>
                  <a:lnTo>
                    <a:pt x="7907151" y="2393127"/>
                  </a:lnTo>
                  <a:lnTo>
                    <a:pt x="7911170" y="2397165"/>
                  </a:lnTo>
                  <a:lnTo>
                    <a:pt x="7911170" y="2407036"/>
                  </a:lnTo>
                  <a:lnTo>
                    <a:pt x="7907151" y="2411074"/>
                  </a:lnTo>
                  <a:lnTo>
                    <a:pt x="7897241" y="2411074"/>
                  </a:lnTo>
                  <a:lnTo>
                    <a:pt x="7893222" y="2407036"/>
                  </a:lnTo>
                  <a:lnTo>
                    <a:pt x="7893222" y="2397165"/>
                  </a:lnTo>
                  <a:close/>
                  <a:moveTo>
                    <a:pt x="7657926" y="2393127"/>
                  </a:moveTo>
                  <a:lnTo>
                    <a:pt x="7667836" y="2393127"/>
                  </a:lnTo>
                  <a:lnTo>
                    <a:pt x="7671855" y="2397165"/>
                  </a:lnTo>
                  <a:lnTo>
                    <a:pt x="7671855" y="2407036"/>
                  </a:lnTo>
                  <a:lnTo>
                    <a:pt x="7667836" y="2411074"/>
                  </a:lnTo>
                  <a:lnTo>
                    <a:pt x="7657926" y="2411074"/>
                  </a:lnTo>
                  <a:lnTo>
                    <a:pt x="7653906" y="2407036"/>
                  </a:lnTo>
                  <a:lnTo>
                    <a:pt x="7653906" y="2397165"/>
                  </a:lnTo>
                  <a:close/>
                  <a:moveTo>
                    <a:pt x="7418611" y="2393127"/>
                  </a:moveTo>
                  <a:lnTo>
                    <a:pt x="7428521" y="2393127"/>
                  </a:lnTo>
                  <a:lnTo>
                    <a:pt x="7432540" y="2397165"/>
                  </a:lnTo>
                  <a:lnTo>
                    <a:pt x="7432540" y="2407036"/>
                  </a:lnTo>
                  <a:lnTo>
                    <a:pt x="7428521" y="2411074"/>
                  </a:lnTo>
                  <a:lnTo>
                    <a:pt x="7418611" y="2411074"/>
                  </a:lnTo>
                  <a:lnTo>
                    <a:pt x="7414592" y="2407036"/>
                  </a:lnTo>
                  <a:lnTo>
                    <a:pt x="7414592" y="2397165"/>
                  </a:lnTo>
                  <a:close/>
                  <a:moveTo>
                    <a:pt x="7179298" y="2393127"/>
                  </a:moveTo>
                  <a:lnTo>
                    <a:pt x="7189209" y="2393127"/>
                  </a:lnTo>
                  <a:lnTo>
                    <a:pt x="7193228" y="2397165"/>
                  </a:lnTo>
                  <a:lnTo>
                    <a:pt x="7193228" y="2407036"/>
                  </a:lnTo>
                  <a:lnTo>
                    <a:pt x="7189209" y="2411074"/>
                  </a:lnTo>
                  <a:lnTo>
                    <a:pt x="7179298" y="2411074"/>
                  </a:lnTo>
                  <a:lnTo>
                    <a:pt x="7175279" y="2407036"/>
                  </a:lnTo>
                  <a:lnTo>
                    <a:pt x="7175279" y="2397165"/>
                  </a:lnTo>
                  <a:close/>
                  <a:moveTo>
                    <a:pt x="6939983" y="2393127"/>
                  </a:moveTo>
                  <a:lnTo>
                    <a:pt x="6949894" y="2393127"/>
                  </a:lnTo>
                  <a:lnTo>
                    <a:pt x="6953913" y="2397165"/>
                  </a:lnTo>
                  <a:lnTo>
                    <a:pt x="6953913" y="2407036"/>
                  </a:lnTo>
                  <a:lnTo>
                    <a:pt x="6949894" y="2411074"/>
                  </a:lnTo>
                  <a:lnTo>
                    <a:pt x="6939983" y="2411074"/>
                  </a:lnTo>
                  <a:lnTo>
                    <a:pt x="6935964" y="2407036"/>
                  </a:lnTo>
                  <a:lnTo>
                    <a:pt x="6935964" y="2397165"/>
                  </a:lnTo>
                  <a:close/>
                  <a:moveTo>
                    <a:pt x="6700670" y="2393127"/>
                  </a:moveTo>
                  <a:lnTo>
                    <a:pt x="6710581" y="2393127"/>
                  </a:lnTo>
                  <a:lnTo>
                    <a:pt x="6714600" y="2397165"/>
                  </a:lnTo>
                  <a:lnTo>
                    <a:pt x="6714600" y="2407036"/>
                  </a:lnTo>
                  <a:lnTo>
                    <a:pt x="6710581" y="2411074"/>
                  </a:lnTo>
                  <a:lnTo>
                    <a:pt x="6700670" y="2411074"/>
                  </a:lnTo>
                  <a:lnTo>
                    <a:pt x="6696651" y="2407036"/>
                  </a:lnTo>
                  <a:lnTo>
                    <a:pt x="6696651" y="2397165"/>
                  </a:lnTo>
                  <a:close/>
                  <a:moveTo>
                    <a:pt x="6461356" y="2393127"/>
                  </a:moveTo>
                  <a:lnTo>
                    <a:pt x="6471266" y="2393127"/>
                  </a:lnTo>
                  <a:lnTo>
                    <a:pt x="6475285" y="2397165"/>
                  </a:lnTo>
                  <a:lnTo>
                    <a:pt x="6475285" y="2407036"/>
                  </a:lnTo>
                  <a:lnTo>
                    <a:pt x="6471266" y="2411074"/>
                  </a:lnTo>
                  <a:lnTo>
                    <a:pt x="6461356" y="2411074"/>
                  </a:lnTo>
                  <a:lnTo>
                    <a:pt x="6457337" y="2407036"/>
                  </a:lnTo>
                  <a:lnTo>
                    <a:pt x="6457337" y="2397165"/>
                  </a:lnTo>
                  <a:close/>
                  <a:moveTo>
                    <a:pt x="6222042" y="2393127"/>
                  </a:moveTo>
                  <a:lnTo>
                    <a:pt x="6231952" y="2393127"/>
                  </a:lnTo>
                  <a:lnTo>
                    <a:pt x="6235971" y="2397165"/>
                  </a:lnTo>
                  <a:lnTo>
                    <a:pt x="6235971" y="2407036"/>
                  </a:lnTo>
                  <a:lnTo>
                    <a:pt x="6231952" y="2411074"/>
                  </a:lnTo>
                  <a:lnTo>
                    <a:pt x="6222042" y="2411074"/>
                  </a:lnTo>
                  <a:lnTo>
                    <a:pt x="6218023" y="2407036"/>
                  </a:lnTo>
                  <a:lnTo>
                    <a:pt x="6218023" y="2397165"/>
                  </a:lnTo>
                  <a:close/>
                  <a:moveTo>
                    <a:pt x="5982729" y="2393127"/>
                  </a:moveTo>
                  <a:lnTo>
                    <a:pt x="5992639" y="2393127"/>
                  </a:lnTo>
                  <a:lnTo>
                    <a:pt x="5996658" y="2397165"/>
                  </a:lnTo>
                  <a:lnTo>
                    <a:pt x="5996658" y="2407036"/>
                  </a:lnTo>
                  <a:lnTo>
                    <a:pt x="5992639" y="2411074"/>
                  </a:lnTo>
                  <a:lnTo>
                    <a:pt x="5982729" y="2411074"/>
                  </a:lnTo>
                  <a:lnTo>
                    <a:pt x="5978710" y="2407036"/>
                  </a:lnTo>
                  <a:lnTo>
                    <a:pt x="5978710" y="2397165"/>
                  </a:lnTo>
                  <a:close/>
                  <a:moveTo>
                    <a:pt x="5743412" y="2393127"/>
                  </a:moveTo>
                  <a:lnTo>
                    <a:pt x="5753323" y="2393127"/>
                  </a:lnTo>
                  <a:lnTo>
                    <a:pt x="5757342" y="2397165"/>
                  </a:lnTo>
                  <a:lnTo>
                    <a:pt x="5757342" y="2407036"/>
                  </a:lnTo>
                  <a:lnTo>
                    <a:pt x="5753323" y="2411074"/>
                  </a:lnTo>
                  <a:lnTo>
                    <a:pt x="5743412" y="2411074"/>
                  </a:lnTo>
                  <a:lnTo>
                    <a:pt x="5739393" y="2407036"/>
                  </a:lnTo>
                  <a:lnTo>
                    <a:pt x="5739393" y="2397165"/>
                  </a:lnTo>
                  <a:close/>
                  <a:moveTo>
                    <a:pt x="5504099" y="2393127"/>
                  </a:moveTo>
                  <a:lnTo>
                    <a:pt x="5514010" y="2393127"/>
                  </a:lnTo>
                  <a:lnTo>
                    <a:pt x="5518029" y="2397165"/>
                  </a:lnTo>
                  <a:lnTo>
                    <a:pt x="5518029" y="2407036"/>
                  </a:lnTo>
                  <a:lnTo>
                    <a:pt x="5514010" y="2411074"/>
                  </a:lnTo>
                  <a:lnTo>
                    <a:pt x="5504099" y="2411074"/>
                  </a:lnTo>
                  <a:lnTo>
                    <a:pt x="5500080" y="2407036"/>
                  </a:lnTo>
                  <a:lnTo>
                    <a:pt x="5500080" y="2397165"/>
                  </a:lnTo>
                  <a:close/>
                  <a:moveTo>
                    <a:pt x="5264784" y="2393127"/>
                  </a:moveTo>
                  <a:lnTo>
                    <a:pt x="5274694" y="2393127"/>
                  </a:lnTo>
                  <a:lnTo>
                    <a:pt x="5278713" y="2397165"/>
                  </a:lnTo>
                  <a:lnTo>
                    <a:pt x="5278713" y="2407036"/>
                  </a:lnTo>
                  <a:lnTo>
                    <a:pt x="5274694" y="2411074"/>
                  </a:lnTo>
                  <a:lnTo>
                    <a:pt x="5264784" y="2411074"/>
                  </a:lnTo>
                  <a:lnTo>
                    <a:pt x="5260765" y="2407036"/>
                  </a:lnTo>
                  <a:lnTo>
                    <a:pt x="5260765" y="2397165"/>
                  </a:lnTo>
                  <a:close/>
                  <a:moveTo>
                    <a:pt x="5025470" y="2393127"/>
                  </a:moveTo>
                  <a:lnTo>
                    <a:pt x="5035381" y="2393127"/>
                  </a:lnTo>
                  <a:lnTo>
                    <a:pt x="5039400" y="2397165"/>
                  </a:lnTo>
                  <a:lnTo>
                    <a:pt x="5039400" y="2407036"/>
                  </a:lnTo>
                  <a:lnTo>
                    <a:pt x="5035381" y="2411074"/>
                  </a:lnTo>
                  <a:lnTo>
                    <a:pt x="5025470" y="2411074"/>
                  </a:lnTo>
                  <a:lnTo>
                    <a:pt x="5021451" y="2407036"/>
                  </a:lnTo>
                  <a:lnTo>
                    <a:pt x="5021451" y="2397165"/>
                  </a:lnTo>
                  <a:close/>
                  <a:moveTo>
                    <a:pt x="4786241" y="2393127"/>
                  </a:moveTo>
                  <a:lnTo>
                    <a:pt x="4796152" y="2393127"/>
                  </a:lnTo>
                  <a:lnTo>
                    <a:pt x="4800171" y="2397165"/>
                  </a:lnTo>
                  <a:lnTo>
                    <a:pt x="4800171" y="2407036"/>
                  </a:lnTo>
                  <a:lnTo>
                    <a:pt x="4796152" y="2411074"/>
                  </a:lnTo>
                  <a:lnTo>
                    <a:pt x="4786241" y="2411074"/>
                  </a:lnTo>
                  <a:lnTo>
                    <a:pt x="4782224" y="2407036"/>
                  </a:lnTo>
                  <a:lnTo>
                    <a:pt x="4782224" y="2397165"/>
                  </a:lnTo>
                  <a:close/>
                  <a:moveTo>
                    <a:pt x="4546929" y="2393127"/>
                  </a:moveTo>
                  <a:lnTo>
                    <a:pt x="4556840" y="2393127"/>
                  </a:lnTo>
                  <a:lnTo>
                    <a:pt x="4560859" y="2397165"/>
                  </a:lnTo>
                  <a:lnTo>
                    <a:pt x="4560859" y="2407036"/>
                  </a:lnTo>
                  <a:lnTo>
                    <a:pt x="4556840" y="2411074"/>
                  </a:lnTo>
                  <a:lnTo>
                    <a:pt x="4546929" y="2411074"/>
                  </a:lnTo>
                  <a:lnTo>
                    <a:pt x="4542910" y="2407036"/>
                  </a:lnTo>
                  <a:lnTo>
                    <a:pt x="4542910" y="2397165"/>
                  </a:lnTo>
                  <a:close/>
                  <a:moveTo>
                    <a:pt x="4307612" y="2393127"/>
                  </a:moveTo>
                  <a:lnTo>
                    <a:pt x="4317523" y="2393127"/>
                  </a:lnTo>
                  <a:lnTo>
                    <a:pt x="4321543" y="2397165"/>
                  </a:lnTo>
                  <a:lnTo>
                    <a:pt x="4321543" y="2407036"/>
                  </a:lnTo>
                  <a:lnTo>
                    <a:pt x="4317523" y="2411074"/>
                  </a:lnTo>
                  <a:lnTo>
                    <a:pt x="4307612" y="2411074"/>
                  </a:lnTo>
                  <a:lnTo>
                    <a:pt x="4303595" y="2407036"/>
                  </a:lnTo>
                  <a:lnTo>
                    <a:pt x="4303595" y="2397165"/>
                  </a:lnTo>
                  <a:close/>
                  <a:moveTo>
                    <a:pt x="4068297" y="2393127"/>
                  </a:moveTo>
                  <a:lnTo>
                    <a:pt x="4078210" y="2393127"/>
                  </a:lnTo>
                  <a:lnTo>
                    <a:pt x="4082229" y="2397165"/>
                  </a:lnTo>
                  <a:lnTo>
                    <a:pt x="4082229" y="2407036"/>
                  </a:lnTo>
                  <a:lnTo>
                    <a:pt x="4078210" y="2411074"/>
                  </a:lnTo>
                  <a:lnTo>
                    <a:pt x="4068297" y="2411074"/>
                  </a:lnTo>
                  <a:lnTo>
                    <a:pt x="4064278" y="2407036"/>
                  </a:lnTo>
                  <a:lnTo>
                    <a:pt x="4064278" y="2397165"/>
                  </a:lnTo>
                  <a:close/>
                  <a:moveTo>
                    <a:pt x="3828990" y="2393127"/>
                  </a:moveTo>
                  <a:lnTo>
                    <a:pt x="3838899" y="2393127"/>
                  </a:lnTo>
                  <a:lnTo>
                    <a:pt x="3842917" y="2397165"/>
                  </a:lnTo>
                  <a:lnTo>
                    <a:pt x="3842917" y="2407036"/>
                  </a:lnTo>
                  <a:lnTo>
                    <a:pt x="3838899" y="2411074"/>
                  </a:lnTo>
                  <a:lnTo>
                    <a:pt x="3828990" y="2411074"/>
                  </a:lnTo>
                  <a:lnTo>
                    <a:pt x="3824971" y="2407036"/>
                  </a:lnTo>
                  <a:lnTo>
                    <a:pt x="3824971" y="2397165"/>
                  </a:lnTo>
                  <a:close/>
                  <a:moveTo>
                    <a:pt x="3589676" y="2393127"/>
                  </a:moveTo>
                  <a:lnTo>
                    <a:pt x="3599585" y="2393127"/>
                  </a:lnTo>
                  <a:lnTo>
                    <a:pt x="3603604" y="2397165"/>
                  </a:lnTo>
                  <a:lnTo>
                    <a:pt x="3603604" y="2407036"/>
                  </a:lnTo>
                  <a:lnTo>
                    <a:pt x="3599585" y="2411074"/>
                  </a:lnTo>
                  <a:lnTo>
                    <a:pt x="3589676" y="2411074"/>
                  </a:lnTo>
                  <a:lnTo>
                    <a:pt x="3585657" y="2407036"/>
                  </a:lnTo>
                  <a:lnTo>
                    <a:pt x="3585657" y="2397165"/>
                  </a:lnTo>
                  <a:close/>
                  <a:moveTo>
                    <a:pt x="3350359" y="2393127"/>
                  </a:moveTo>
                  <a:lnTo>
                    <a:pt x="3360268" y="2393127"/>
                  </a:lnTo>
                  <a:lnTo>
                    <a:pt x="3364287" y="2397165"/>
                  </a:lnTo>
                  <a:lnTo>
                    <a:pt x="3364287" y="2407036"/>
                  </a:lnTo>
                  <a:lnTo>
                    <a:pt x="3360268" y="2411074"/>
                  </a:lnTo>
                  <a:lnTo>
                    <a:pt x="3350359" y="2411074"/>
                  </a:lnTo>
                  <a:lnTo>
                    <a:pt x="3346340" y="2407036"/>
                  </a:lnTo>
                  <a:lnTo>
                    <a:pt x="3346340" y="2397165"/>
                  </a:lnTo>
                  <a:close/>
                  <a:moveTo>
                    <a:pt x="3111048" y="2393127"/>
                  </a:moveTo>
                  <a:lnTo>
                    <a:pt x="3120959" y="2393127"/>
                  </a:lnTo>
                  <a:lnTo>
                    <a:pt x="3124977" y="2397165"/>
                  </a:lnTo>
                  <a:lnTo>
                    <a:pt x="3124977" y="2407036"/>
                  </a:lnTo>
                  <a:lnTo>
                    <a:pt x="3120959" y="2411074"/>
                  </a:lnTo>
                  <a:lnTo>
                    <a:pt x="3111048" y="2411074"/>
                  </a:lnTo>
                  <a:lnTo>
                    <a:pt x="3107029" y="2407036"/>
                  </a:lnTo>
                  <a:lnTo>
                    <a:pt x="3107029" y="2397165"/>
                  </a:lnTo>
                  <a:close/>
                  <a:moveTo>
                    <a:pt x="2871737" y="2393127"/>
                  </a:moveTo>
                  <a:lnTo>
                    <a:pt x="2881646" y="2393127"/>
                  </a:lnTo>
                  <a:lnTo>
                    <a:pt x="2885666" y="2397165"/>
                  </a:lnTo>
                  <a:lnTo>
                    <a:pt x="2885666" y="2407036"/>
                  </a:lnTo>
                  <a:lnTo>
                    <a:pt x="2881646" y="2411074"/>
                  </a:lnTo>
                  <a:lnTo>
                    <a:pt x="2871737" y="2411074"/>
                  </a:lnTo>
                  <a:lnTo>
                    <a:pt x="2867717" y="2407036"/>
                  </a:lnTo>
                  <a:lnTo>
                    <a:pt x="2867717" y="2397165"/>
                  </a:lnTo>
                  <a:close/>
                  <a:moveTo>
                    <a:pt x="2632423" y="2393127"/>
                  </a:moveTo>
                  <a:lnTo>
                    <a:pt x="2642334" y="2393127"/>
                  </a:lnTo>
                  <a:lnTo>
                    <a:pt x="2646352" y="2397165"/>
                  </a:lnTo>
                  <a:lnTo>
                    <a:pt x="2646352" y="2407036"/>
                  </a:lnTo>
                  <a:lnTo>
                    <a:pt x="2642334" y="2411074"/>
                  </a:lnTo>
                  <a:lnTo>
                    <a:pt x="2632423" y="2411074"/>
                  </a:lnTo>
                  <a:lnTo>
                    <a:pt x="2628404" y="2407036"/>
                  </a:lnTo>
                  <a:lnTo>
                    <a:pt x="2628404" y="2397165"/>
                  </a:lnTo>
                  <a:close/>
                  <a:moveTo>
                    <a:pt x="2393104" y="2393127"/>
                  </a:moveTo>
                  <a:lnTo>
                    <a:pt x="2403015" y="2393127"/>
                  </a:lnTo>
                  <a:lnTo>
                    <a:pt x="2407034" y="2397165"/>
                  </a:lnTo>
                  <a:lnTo>
                    <a:pt x="2407034" y="2407036"/>
                  </a:lnTo>
                  <a:lnTo>
                    <a:pt x="2403015" y="2411074"/>
                  </a:lnTo>
                  <a:lnTo>
                    <a:pt x="2393104" y="2411074"/>
                  </a:lnTo>
                  <a:lnTo>
                    <a:pt x="2389087" y="2407036"/>
                  </a:lnTo>
                  <a:lnTo>
                    <a:pt x="2389087" y="2397165"/>
                  </a:lnTo>
                  <a:close/>
                  <a:moveTo>
                    <a:pt x="721970" y="2393127"/>
                  </a:moveTo>
                  <a:lnTo>
                    <a:pt x="731881" y="2393127"/>
                  </a:lnTo>
                  <a:lnTo>
                    <a:pt x="735899" y="2397165"/>
                  </a:lnTo>
                  <a:lnTo>
                    <a:pt x="735899" y="2407036"/>
                  </a:lnTo>
                  <a:lnTo>
                    <a:pt x="731881" y="2411074"/>
                  </a:lnTo>
                  <a:lnTo>
                    <a:pt x="721970" y="2411074"/>
                  </a:lnTo>
                  <a:lnTo>
                    <a:pt x="717951" y="2407036"/>
                  </a:lnTo>
                  <a:lnTo>
                    <a:pt x="717951" y="2397165"/>
                  </a:lnTo>
                  <a:close/>
                  <a:moveTo>
                    <a:pt x="482658" y="2393127"/>
                  </a:moveTo>
                  <a:lnTo>
                    <a:pt x="492568" y="2393127"/>
                  </a:lnTo>
                  <a:lnTo>
                    <a:pt x="496588" y="2397165"/>
                  </a:lnTo>
                  <a:lnTo>
                    <a:pt x="496588" y="2407036"/>
                  </a:lnTo>
                  <a:lnTo>
                    <a:pt x="492568" y="2411074"/>
                  </a:lnTo>
                  <a:lnTo>
                    <a:pt x="482658" y="2411074"/>
                  </a:lnTo>
                  <a:lnTo>
                    <a:pt x="478639" y="2407036"/>
                  </a:lnTo>
                  <a:lnTo>
                    <a:pt x="478639" y="2397165"/>
                  </a:lnTo>
                  <a:close/>
                  <a:moveTo>
                    <a:pt x="243344" y="2393127"/>
                  </a:moveTo>
                  <a:lnTo>
                    <a:pt x="253255" y="2393127"/>
                  </a:lnTo>
                  <a:lnTo>
                    <a:pt x="257274" y="2397165"/>
                  </a:lnTo>
                  <a:lnTo>
                    <a:pt x="257274" y="2407036"/>
                  </a:lnTo>
                  <a:lnTo>
                    <a:pt x="253255" y="2411074"/>
                  </a:lnTo>
                  <a:lnTo>
                    <a:pt x="243344" y="2411074"/>
                  </a:lnTo>
                  <a:lnTo>
                    <a:pt x="239325" y="2407036"/>
                  </a:lnTo>
                  <a:lnTo>
                    <a:pt x="239325" y="2397165"/>
                  </a:lnTo>
                  <a:close/>
                  <a:moveTo>
                    <a:pt x="4031" y="2393127"/>
                  </a:moveTo>
                  <a:lnTo>
                    <a:pt x="13941" y="2393127"/>
                  </a:lnTo>
                  <a:lnTo>
                    <a:pt x="17961" y="2397165"/>
                  </a:lnTo>
                  <a:lnTo>
                    <a:pt x="17961" y="2407036"/>
                  </a:lnTo>
                  <a:lnTo>
                    <a:pt x="13941" y="2411074"/>
                  </a:lnTo>
                  <a:lnTo>
                    <a:pt x="4031" y="2411074"/>
                  </a:lnTo>
                  <a:lnTo>
                    <a:pt x="12" y="2407036"/>
                  </a:lnTo>
                  <a:lnTo>
                    <a:pt x="12" y="2397165"/>
                  </a:lnTo>
                  <a:close/>
                  <a:moveTo>
                    <a:pt x="3111048" y="2153996"/>
                  </a:moveTo>
                  <a:lnTo>
                    <a:pt x="3120959" y="2153996"/>
                  </a:lnTo>
                  <a:lnTo>
                    <a:pt x="3124977" y="2158034"/>
                  </a:lnTo>
                  <a:lnTo>
                    <a:pt x="3124977" y="2167907"/>
                  </a:lnTo>
                  <a:lnTo>
                    <a:pt x="3120959" y="2171946"/>
                  </a:lnTo>
                  <a:lnTo>
                    <a:pt x="3111048" y="2171946"/>
                  </a:lnTo>
                  <a:lnTo>
                    <a:pt x="3107029" y="2167907"/>
                  </a:lnTo>
                  <a:lnTo>
                    <a:pt x="3107029" y="2158034"/>
                  </a:lnTo>
                  <a:close/>
                  <a:moveTo>
                    <a:pt x="2871737" y="2153996"/>
                  </a:moveTo>
                  <a:lnTo>
                    <a:pt x="2881646" y="2153996"/>
                  </a:lnTo>
                  <a:lnTo>
                    <a:pt x="2885666" y="2158034"/>
                  </a:lnTo>
                  <a:lnTo>
                    <a:pt x="2885666" y="2167907"/>
                  </a:lnTo>
                  <a:lnTo>
                    <a:pt x="2881646" y="2171946"/>
                  </a:lnTo>
                  <a:lnTo>
                    <a:pt x="2871737" y="2171946"/>
                  </a:lnTo>
                  <a:lnTo>
                    <a:pt x="2867717" y="2167907"/>
                  </a:lnTo>
                  <a:lnTo>
                    <a:pt x="2867717" y="2158034"/>
                  </a:lnTo>
                  <a:close/>
                  <a:moveTo>
                    <a:pt x="2632423" y="2153996"/>
                  </a:moveTo>
                  <a:lnTo>
                    <a:pt x="2642334" y="2153996"/>
                  </a:lnTo>
                  <a:lnTo>
                    <a:pt x="2646352" y="2158034"/>
                  </a:lnTo>
                  <a:lnTo>
                    <a:pt x="2646352" y="2167907"/>
                  </a:lnTo>
                  <a:lnTo>
                    <a:pt x="2642334" y="2171947"/>
                  </a:lnTo>
                  <a:lnTo>
                    <a:pt x="2632423" y="2171947"/>
                  </a:lnTo>
                  <a:lnTo>
                    <a:pt x="2628404" y="2167907"/>
                  </a:lnTo>
                  <a:lnTo>
                    <a:pt x="2628404" y="2158034"/>
                  </a:lnTo>
                  <a:close/>
                  <a:moveTo>
                    <a:pt x="2393104" y="2153996"/>
                  </a:moveTo>
                  <a:lnTo>
                    <a:pt x="2403015" y="2153996"/>
                  </a:lnTo>
                  <a:lnTo>
                    <a:pt x="2407034" y="2158034"/>
                  </a:lnTo>
                  <a:lnTo>
                    <a:pt x="2407034" y="2167907"/>
                  </a:lnTo>
                  <a:lnTo>
                    <a:pt x="2403015" y="2171947"/>
                  </a:lnTo>
                  <a:lnTo>
                    <a:pt x="2393104" y="2171947"/>
                  </a:lnTo>
                  <a:lnTo>
                    <a:pt x="2389087" y="2167907"/>
                  </a:lnTo>
                  <a:lnTo>
                    <a:pt x="2389087" y="2158034"/>
                  </a:lnTo>
                  <a:close/>
                  <a:moveTo>
                    <a:pt x="3350359" y="2153995"/>
                  </a:moveTo>
                  <a:lnTo>
                    <a:pt x="3360268" y="2153995"/>
                  </a:lnTo>
                  <a:lnTo>
                    <a:pt x="3364287" y="2158034"/>
                  </a:lnTo>
                  <a:lnTo>
                    <a:pt x="3364287" y="2167907"/>
                  </a:lnTo>
                  <a:lnTo>
                    <a:pt x="3360268" y="2171946"/>
                  </a:lnTo>
                  <a:lnTo>
                    <a:pt x="3350359" y="2171946"/>
                  </a:lnTo>
                  <a:lnTo>
                    <a:pt x="3346340" y="2167907"/>
                  </a:lnTo>
                  <a:lnTo>
                    <a:pt x="3346340" y="2158034"/>
                  </a:lnTo>
                  <a:close/>
                  <a:moveTo>
                    <a:pt x="4546929" y="2153976"/>
                  </a:moveTo>
                  <a:lnTo>
                    <a:pt x="4556840" y="2153976"/>
                  </a:lnTo>
                  <a:lnTo>
                    <a:pt x="4560859" y="2158014"/>
                  </a:lnTo>
                  <a:lnTo>
                    <a:pt x="4560859" y="2167886"/>
                  </a:lnTo>
                  <a:lnTo>
                    <a:pt x="4556840" y="2171926"/>
                  </a:lnTo>
                  <a:lnTo>
                    <a:pt x="4546929" y="2171926"/>
                  </a:lnTo>
                  <a:lnTo>
                    <a:pt x="4542910" y="2167886"/>
                  </a:lnTo>
                  <a:lnTo>
                    <a:pt x="4542910" y="2158014"/>
                  </a:lnTo>
                  <a:close/>
                  <a:moveTo>
                    <a:pt x="4307612" y="2153976"/>
                  </a:moveTo>
                  <a:lnTo>
                    <a:pt x="4317523" y="2153976"/>
                  </a:lnTo>
                  <a:lnTo>
                    <a:pt x="4321543" y="2158014"/>
                  </a:lnTo>
                  <a:lnTo>
                    <a:pt x="4321543" y="2167887"/>
                  </a:lnTo>
                  <a:lnTo>
                    <a:pt x="4317523" y="2171926"/>
                  </a:lnTo>
                  <a:lnTo>
                    <a:pt x="4307612" y="2171926"/>
                  </a:lnTo>
                  <a:lnTo>
                    <a:pt x="4303595" y="2167887"/>
                  </a:lnTo>
                  <a:lnTo>
                    <a:pt x="4303595" y="2158014"/>
                  </a:lnTo>
                  <a:close/>
                  <a:moveTo>
                    <a:pt x="4068297" y="2153976"/>
                  </a:moveTo>
                  <a:lnTo>
                    <a:pt x="4078210" y="2153976"/>
                  </a:lnTo>
                  <a:lnTo>
                    <a:pt x="4082229" y="2158014"/>
                  </a:lnTo>
                  <a:lnTo>
                    <a:pt x="4082229" y="2167887"/>
                  </a:lnTo>
                  <a:lnTo>
                    <a:pt x="4078210" y="2171926"/>
                  </a:lnTo>
                  <a:lnTo>
                    <a:pt x="4068297" y="2171926"/>
                  </a:lnTo>
                  <a:lnTo>
                    <a:pt x="4064278" y="2167887"/>
                  </a:lnTo>
                  <a:lnTo>
                    <a:pt x="4064278" y="2158014"/>
                  </a:lnTo>
                  <a:close/>
                  <a:moveTo>
                    <a:pt x="3828990" y="2153976"/>
                  </a:moveTo>
                  <a:lnTo>
                    <a:pt x="3838899" y="2153976"/>
                  </a:lnTo>
                  <a:lnTo>
                    <a:pt x="3842917" y="2158014"/>
                  </a:lnTo>
                  <a:lnTo>
                    <a:pt x="3842917" y="2167887"/>
                  </a:lnTo>
                  <a:lnTo>
                    <a:pt x="3838899" y="2171926"/>
                  </a:lnTo>
                  <a:lnTo>
                    <a:pt x="3828990" y="2171926"/>
                  </a:lnTo>
                  <a:lnTo>
                    <a:pt x="3824971" y="2167887"/>
                  </a:lnTo>
                  <a:lnTo>
                    <a:pt x="3824971" y="2158014"/>
                  </a:lnTo>
                  <a:close/>
                  <a:moveTo>
                    <a:pt x="3589676" y="2153976"/>
                  </a:moveTo>
                  <a:lnTo>
                    <a:pt x="3599585" y="2153976"/>
                  </a:lnTo>
                  <a:lnTo>
                    <a:pt x="3603604" y="2158014"/>
                  </a:lnTo>
                  <a:lnTo>
                    <a:pt x="3603604" y="2167887"/>
                  </a:lnTo>
                  <a:lnTo>
                    <a:pt x="3599585" y="2171926"/>
                  </a:lnTo>
                  <a:lnTo>
                    <a:pt x="3589676" y="2171926"/>
                  </a:lnTo>
                  <a:lnTo>
                    <a:pt x="3585657" y="2167887"/>
                  </a:lnTo>
                  <a:lnTo>
                    <a:pt x="3585657" y="2158014"/>
                  </a:lnTo>
                  <a:close/>
                  <a:moveTo>
                    <a:pt x="5504099" y="2153956"/>
                  </a:moveTo>
                  <a:lnTo>
                    <a:pt x="5514010" y="2153956"/>
                  </a:lnTo>
                  <a:lnTo>
                    <a:pt x="5518029" y="2157994"/>
                  </a:lnTo>
                  <a:lnTo>
                    <a:pt x="5518029" y="2167867"/>
                  </a:lnTo>
                  <a:lnTo>
                    <a:pt x="5514010" y="2171905"/>
                  </a:lnTo>
                  <a:lnTo>
                    <a:pt x="5504099" y="2171905"/>
                  </a:lnTo>
                  <a:lnTo>
                    <a:pt x="5500080" y="2167867"/>
                  </a:lnTo>
                  <a:lnTo>
                    <a:pt x="5500080" y="2157994"/>
                  </a:lnTo>
                  <a:close/>
                  <a:moveTo>
                    <a:pt x="5264784" y="2153956"/>
                  </a:moveTo>
                  <a:lnTo>
                    <a:pt x="5274694" y="2153956"/>
                  </a:lnTo>
                  <a:lnTo>
                    <a:pt x="5278713" y="2157994"/>
                  </a:lnTo>
                  <a:lnTo>
                    <a:pt x="5278713" y="2167867"/>
                  </a:lnTo>
                  <a:lnTo>
                    <a:pt x="5274694" y="2171905"/>
                  </a:lnTo>
                  <a:lnTo>
                    <a:pt x="5264784" y="2171905"/>
                  </a:lnTo>
                  <a:lnTo>
                    <a:pt x="5260765" y="2167867"/>
                  </a:lnTo>
                  <a:lnTo>
                    <a:pt x="5260765" y="2157994"/>
                  </a:lnTo>
                  <a:close/>
                  <a:moveTo>
                    <a:pt x="5025470" y="2153956"/>
                  </a:moveTo>
                  <a:lnTo>
                    <a:pt x="5035381" y="2153956"/>
                  </a:lnTo>
                  <a:lnTo>
                    <a:pt x="5039400" y="2157994"/>
                  </a:lnTo>
                  <a:lnTo>
                    <a:pt x="5039400" y="2167867"/>
                  </a:lnTo>
                  <a:lnTo>
                    <a:pt x="5035381" y="2171906"/>
                  </a:lnTo>
                  <a:lnTo>
                    <a:pt x="5025470" y="2171906"/>
                  </a:lnTo>
                  <a:lnTo>
                    <a:pt x="5021451" y="2167867"/>
                  </a:lnTo>
                  <a:lnTo>
                    <a:pt x="5021451" y="2157994"/>
                  </a:lnTo>
                  <a:close/>
                  <a:moveTo>
                    <a:pt x="4786241" y="2153956"/>
                  </a:moveTo>
                  <a:lnTo>
                    <a:pt x="4796152" y="2153956"/>
                  </a:lnTo>
                  <a:lnTo>
                    <a:pt x="4800171" y="2157994"/>
                  </a:lnTo>
                  <a:lnTo>
                    <a:pt x="4800171" y="2167867"/>
                  </a:lnTo>
                  <a:lnTo>
                    <a:pt x="4796152" y="2171906"/>
                  </a:lnTo>
                  <a:lnTo>
                    <a:pt x="4786241" y="2171906"/>
                  </a:lnTo>
                  <a:lnTo>
                    <a:pt x="4782224" y="2167867"/>
                  </a:lnTo>
                  <a:lnTo>
                    <a:pt x="4782224" y="2157994"/>
                  </a:lnTo>
                  <a:close/>
                  <a:moveTo>
                    <a:pt x="5743412" y="2153955"/>
                  </a:moveTo>
                  <a:lnTo>
                    <a:pt x="5753323" y="2153955"/>
                  </a:lnTo>
                  <a:lnTo>
                    <a:pt x="5757342" y="2157994"/>
                  </a:lnTo>
                  <a:lnTo>
                    <a:pt x="5757342" y="2167866"/>
                  </a:lnTo>
                  <a:lnTo>
                    <a:pt x="5753323" y="2171905"/>
                  </a:lnTo>
                  <a:lnTo>
                    <a:pt x="5743412" y="2171905"/>
                  </a:lnTo>
                  <a:lnTo>
                    <a:pt x="5739393" y="2167866"/>
                  </a:lnTo>
                  <a:lnTo>
                    <a:pt x="5739393" y="2157994"/>
                  </a:lnTo>
                  <a:close/>
                  <a:moveTo>
                    <a:pt x="6222042" y="2153936"/>
                  </a:moveTo>
                  <a:lnTo>
                    <a:pt x="6231952" y="2153936"/>
                  </a:lnTo>
                  <a:lnTo>
                    <a:pt x="6235971" y="2157974"/>
                  </a:lnTo>
                  <a:lnTo>
                    <a:pt x="6235971" y="2167846"/>
                  </a:lnTo>
                  <a:lnTo>
                    <a:pt x="6231952" y="2171885"/>
                  </a:lnTo>
                  <a:lnTo>
                    <a:pt x="6222042" y="2171885"/>
                  </a:lnTo>
                  <a:lnTo>
                    <a:pt x="6218023" y="2167846"/>
                  </a:lnTo>
                  <a:lnTo>
                    <a:pt x="6218023" y="2157974"/>
                  </a:lnTo>
                  <a:close/>
                  <a:moveTo>
                    <a:pt x="5982729" y="2153936"/>
                  </a:moveTo>
                  <a:lnTo>
                    <a:pt x="5992639" y="2153936"/>
                  </a:lnTo>
                  <a:lnTo>
                    <a:pt x="5996658" y="2157974"/>
                  </a:lnTo>
                  <a:lnTo>
                    <a:pt x="5996658" y="2167846"/>
                  </a:lnTo>
                  <a:lnTo>
                    <a:pt x="5992639" y="2171885"/>
                  </a:lnTo>
                  <a:lnTo>
                    <a:pt x="5982729" y="2171885"/>
                  </a:lnTo>
                  <a:lnTo>
                    <a:pt x="5978710" y="2167846"/>
                  </a:lnTo>
                  <a:lnTo>
                    <a:pt x="5978710" y="2157974"/>
                  </a:lnTo>
                  <a:close/>
                  <a:moveTo>
                    <a:pt x="6939983" y="2153935"/>
                  </a:moveTo>
                  <a:lnTo>
                    <a:pt x="6949894" y="2153935"/>
                  </a:lnTo>
                  <a:lnTo>
                    <a:pt x="6953913" y="2157974"/>
                  </a:lnTo>
                  <a:lnTo>
                    <a:pt x="6953913" y="2167845"/>
                  </a:lnTo>
                  <a:lnTo>
                    <a:pt x="6949894" y="2171885"/>
                  </a:lnTo>
                  <a:lnTo>
                    <a:pt x="6939983" y="2171885"/>
                  </a:lnTo>
                  <a:lnTo>
                    <a:pt x="6935964" y="2167845"/>
                  </a:lnTo>
                  <a:lnTo>
                    <a:pt x="6935964" y="2157974"/>
                  </a:lnTo>
                  <a:close/>
                  <a:moveTo>
                    <a:pt x="6700670" y="2153935"/>
                  </a:moveTo>
                  <a:lnTo>
                    <a:pt x="6710581" y="2153935"/>
                  </a:lnTo>
                  <a:lnTo>
                    <a:pt x="6714600" y="2157974"/>
                  </a:lnTo>
                  <a:lnTo>
                    <a:pt x="6714600" y="2167846"/>
                  </a:lnTo>
                  <a:lnTo>
                    <a:pt x="6710581" y="2171885"/>
                  </a:lnTo>
                  <a:lnTo>
                    <a:pt x="6700670" y="2171885"/>
                  </a:lnTo>
                  <a:lnTo>
                    <a:pt x="6696651" y="2167846"/>
                  </a:lnTo>
                  <a:lnTo>
                    <a:pt x="6696651" y="2157974"/>
                  </a:lnTo>
                  <a:close/>
                  <a:moveTo>
                    <a:pt x="6461356" y="2153935"/>
                  </a:moveTo>
                  <a:lnTo>
                    <a:pt x="6471266" y="2153935"/>
                  </a:lnTo>
                  <a:lnTo>
                    <a:pt x="6475285" y="2157974"/>
                  </a:lnTo>
                  <a:lnTo>
                    <a:pt x="6475285" y="2167846"/>
                  </a:lnTo>
                  <a:lnTo>
                    <a:pt x="6471266" y="2171885"/>
                  </a:lnTo>
                  <a:lnTo>
                    <a:pt x="6461356" y="2171885"/>
                  </a:lnTo>
                  <a:lnTo>
                    <a:pt x="6457337" y="2167846"/>
                  </a:lnTo>
                  <a:lnTo>
                    <a:pt x="6457337" y="2157974"/>
                  </a:lnTo>
                  <a:close/>
                  <a:moveTo>
                    <a:pt x="7418611" y="2153916"/>
                  </a:moveTo>
                  <a:lnTo>
                    <a:pt x="7428521" y="2153916"/>
                  </a:lnTo>
                  <a:lnTo>
                    <a:pt x="7432540" y="2157955"/>
                  </a:lnTo>
                  <a:lnTo>
                    <a:pt x="7432540" y="2167826"/>
                  </a:lnTo>
                  <a:lnTo>
                    <a:pt x="7428521" y="2171865"/>
                  </a:lnTo>
                  <a:lnTo>
                    <a:pt x="7418611" y="2171865"/>
                  </a:lnTo>
                  <a:lnTo>
                    <a:pt x="7414592" y="2167826"/>
                  </a:lnTo>
                  <a:lnTo>
                    <a:pt x="7414592" y="2157955"/>
                  </a:lnTo>
                  <a:close/>
                  <a:moveTo>
                    <a:pt x="7179298" y="2153916"/>
                  </a:moveTo>
                  <a:lnTo>
                    <a:pt x="7189209" y="2153916"/>
                  </a:lnTo>
                  <a:lnTo>
                    <a:pt x="7193228" y="2157955"/>
                  </a:lnTo>
                  <a:lnTo>
                    <a:pt x="7193228" y="2167826"/>
                  </a:lnTo>
                  <a:lnTo>
                    <a:pt x="7189209" y="2171865"/>
                  </a:lnTo>
                  <a:lnTo>
                    <a:pt x="7179298" y="2171865"/>
                  </a:lnTo>
                  <a:lnTo>
                    <a:pt x="7175279" y="2167826"/>
                  </a:lnTo>
                  <a:lnTo>
                    <a:pt x="7175279" y="2157955"/>
                  </a:lnTo>
                  <a:close/>
                  <a:moveTo>
                    <a:pt x="8136553" y="2153915"/>
                  </a:moveTo>
                  <a:lnTo>
                    <a:pt x="8146464" y="2153915"/>
                  </a:lnTo>
                  <a:lnTo>
                    <a:pt x="8150483" y="2157955"/>
                  </a:lnTo>
                  <a:lnTo>
                    <a:pt x="8150483" y="2167825"/>
                  </a:lnTo>
                  <a:lnTo>
                    <a:pt x="8146464" y="2171864"/>
                  </a:lnTo>
                  <a:lnTo>
                    <a:pt x="8136553" y="2171864"/>
                  </a:lnTo>
                  <a:lnTo>
                    <a:pt x="8132534" y="2167825"/>
                  </a:lnTo>
                  <a:lnTo>
                    <a:pt x="8132534" y="2157955"/>
                  </a:lnTo>
                  <a:close/>
                  <a:moveTo>
                    <a:pt x="7897241" y="2153915"/>
                  </a:moveTo>
                  <a:lnTo>
                    <a:pt x="7907151" y="2153915"/>
                  </a:lnTo>
                  <a:lnTo>
                    <a:pt x="7911170" y="2157955"/>
                  </a:lnTo>
                  <a:lnTo>
                    <a:pt x="7911170" y="2167826"/>
                  </a:lnTo>
                  <a:lnTo>
                    <a:pt x="7907151" y="2171864"/>
                  </a:lnTo>
                  <a:lnTo>
                    <a:pt x="7897241" y="2171864"/>
                  </a:lnTo>
                  <a:lnTo>
                    <a:pt x="7893222" y="2167826"/>
                  </a:lnTo>
                  <a:lnTo>
                    <a:pt x="7893222" y="2157955"/>
                  </a:lnTo>
                  <a:close/>
                  <a:moveTo>
                    <a:pt x="7657926" y="2153915"/>
                  </a:moveTo>
                  <a:lnTo>
                    <a:pt x="7667836" y="2153915"/>
                  </a:lnTo>
                  <a:lnTo>
                    <a:pt x="7671855" y="2157955"/>
                  </a:lnTo>
                  <a:lnTo>
                    <a:pt x="7671855" y="2167826"/>
                  </a:lnTo>
                  <a:lnTo>
                    <a:pt x="7667836" y="2171864"/>
                  </a:lnTo>
                  <a:lnTo>
                    <a:pt x="7657926" y="2171864"/>
                  </a:lnTo>
                  <a:lnTo>
                    <a:pt x="7653906" y="2167826"/>
                  </a:lnTo>
                  <a:lnTo>
                    <a:pt x="7653906" y="2157955"/>
                  </a:lnTo>
                  <a:close/>
                  <a:moveTo>
                    <a:pt x="8615184" y="2153896"/>
                  </a:moveTo>
                  <a:lnTo>
                    <a:pt x="8625095" y="2153896"/>
                  </a:lnTo>
                  <a:lnTo>
                    <a:pt x="8629114" y="2157935"/>
                  </a:lnTo>
                  <a:lnTo>
                    <a:pt x="8629114" y="2167805"/>
                  </a:lnTo>
                  <a:lnTo>
                    <a:pt x="8625095" y="2171844"/>
                  </a:lnTo>
                  <a:lnTo>
                    <a:pt x="8615184" y="2171844"/>
                  </a:lnTo>
                  <a:lnTo>
                    <a:pt x="8611165" y="2167805"/>
                  </a:lnTo>
                  <a:lnTo>
                    <a:pt x="8611165" y="2157935"/>
                  </a:lnTo>
                  <a:close/>
                  <a:moveTo>
                    <a:pt x="8375869" y="2153896"/>
                  </a:moveTo>
                  <a:lnTo>
                    <a:pt x="8385779" y="2153896"/>
                  </a:lnTo>
                  <a:lnTo>
                    <a:pt x="8389799" y="2157935"/>
                  </a:lnTo>
                  <a:lnTo>
                    <a:pt x="8389799" y="2167805"/>
                  </a:lnTo>
                  <a:lnTo>
                    <a:pt x="8385779" y="2171844"/>
                  </a:lnTo>
                  <a:lnTo>
                    <a:pt x="8375869" y="2171844"/>
                  </a:lnTo>
                  <a:lnTo>
                    <a:pt x="8371850" y="2167805"/>
                  </a:lnTo>
                  <a:lnTo>
                    <a:pt x="8371850" y="2157935"/>
                  </a:lnTo>
                  <a:close/>
                  <a:moveTo>
                    <a:pt x="9333125" y="2153895"/>
                  </a:moveTo>
                  <a:lnTo>
                    <a:pt x="9343036" y="2153895"/>
                  </a:lnTo>
                  <a:lnTo>
                    <a:pt x="9347055" y="2157934"/>
                  </a:lnTo>
                  <a:lnTo>
                    <a:pt x="9347055" y="2167805"/>
                  </a:lnTo>
                  <a:lnTo>
                    <a:pt x="9343036" y="2171844"/>
                  </a:lnTo>
                  <a:lnTo>
                    <a:pt x="9333125" y="2171844"/>
                  </a:lnTo>
                  <a:lnTo>
                    <a:pt x="9329106" y="2167805"/>
                  </a:lnTo>
                  <a:lnTo>
                    <a:pt x="9329106" y="2157934"/>
                  </a:lnTo>
                  <a:close/>
                  <a:moveTo>
                    <a:pt x="9093811" y="2153895"/>
                  </a:moveTo>
                  <a:lnTo>
                    <a:pt x="9103722" y="2153895"/>
                  </a:lnTo>
                  <a:lnTo>
                    <a:pt x="9107741" y="2157935"/>
                  </a:lnTo>
                  <a:lnTo>
                    <a:pt x="9107741" y="2167805"/>
                  </a:lnTo>
                  <a:lnTo>
                    <a:pt x="9103722" y="2171844"/>
                  </a:lnTo>
                  <a:lnTo>
                    <a:pt x="9093811" y="2171844"/>
                  </a:lnTo>
                  <a:lnTo>
                    <a:pt x="9089792" y="2167805"/>
                  </a:lnTo>
                  <a:lnTo>
                    <a:pt x="9089792" y="2157935"/>
                  </a:lnTo>
                  <a:close/>
                  <a:moveTo>
                    <a:pt x="8854496" y="2153895"/>
                  </a:moveTo>
                  <a:lnTo>
                    <a:pt x="8864407" y="2153895"/>
                  </a:lnTo>
                  <a:lnTo>
                    <a:pt x="8868426" y="2157935"/>
                  </a:lnTo>
                  <a:lnTo>
                    <a:pt x="8868426" y="2167805"/>
                  </a:lnTo>
                  <a:lnTo>
                    <a:pt x="8864407" y="2171844"/>
                  </a:lnTo>
                  <a:lnTo>
                    <a:pt x="8854496" y="2171844"/>
                  </a:lnTo>
                  <a:lnTo>
                    <a:pt x="8850477" y="2167805"/>
                  </a:lnTo>
                  <a:lnTo>
                    <a:pt x="8850477" y="2157935"/>
                  </a:lnTo>
                  <a:close/>
                  <a:moveTo>
                    <a:pt x="9572438" y="2153876"/>
                  </a:moveTo>
                  <a:lnTo>
                    <a:pt x="9582349" y="2153876"/>
                  </a:lnTo>
                  <a:lnTo>
                    <a:pt x="9586368" y="2157914"/>
                  </a:lnTo>
                  <a:lnTo>
                    <a:pt x="9586368" y="2167786"/>
                  </a:lnTo>
                  <a:lnTo>
                    <a:pt x="9582349" y="2171824"/>
                  </a:lnTo>
                  <a:lnTo>
                    <a:pt x="9572438" y="2171824"/>
                  </a:lnTo>
                  <a:lnTo>
                    <a:pt x="9568419" y="2167786"/>
                  </a:lnTo>
                  <a:lnTo>
                    <a:pt x="9568419" y="2157914"/>
                  </a:lnTo>
                  <a:close/>
                  <a:moveTo>
                    <a:pt x="1200582" y="2153867"/>
                  </a:moveTo>
                  <a:lnTo>
                    <a:pt x="1210491" y="2153867"/>
                  </a:lnTo>
                  <a:lnTo>
                    <a:pt x="1214510" y="2157906"/>
                  </a:lnTo>
                  <a:lnTo>
                    <a:pt x="1214510" y="2167776"/>
                  </a:lnTo>
                  <a:lnTo>
                    <a:pt x="1210491" y="2171815"/>
                  </a:lnTo>
                  <a:lnTo>
                    <a:pt x="1200582" y="2171815"/>
                  </a:lnTo>
                  <a:lnTo>
                    <a:pt x="1196562" y="2167776"/>
                  </a:lnTo>
                  <a:lnTo>
                    <a:pt x="1196562" y="2157906"/>
                  </a:lnTo>
                  <a:close/>
                  <a:moveTo>
                    <a:pt x="961268" y="2153867"/>
                  </a:moveTo>
                  <a:lnTo>
                    <a:pt x="971179" y="2153867"/>
                  </a:lnTo>
                  <a:lnTo>
                    <a:pt x="975198" y="2157906"/>
                  </a:lnTo>
                  <a:lnTo>
                    <a:pt x="975198" y="2167776"/>
                  </a:lnTo>
                  <a:lnTo>
                    <a:pt x="971179" y="2171815"/>
                  </a:lnTo>
                  <a:lnTo>
                    <a:pt x="961268" y="2171815"/>
                  </a:lnTo>
                  <a:lnTo>
                    <a:pt x="957250" y="2167776"/>
                  </a:lnTo>
                  <a:lnTo>
                    <a:pt x="957250" y="2157906"/>
                  </a:lnTo>
                  <a:close/>
                  <a:moveTo>
                    <a:pt x="1679214" y="2153867"/>
                  </a:moveTo>
                  <a:lnTo>
                    <a:pt x="1689123" y="2153867"/>
                  </a:lnTo>
                  <a:lnTo>
                    <a:pt x="1693144" y="2157905"/>
                  </a:lnTo>
                  <a:lnTo>
                    <a:pt x="1693144" y="2167775"/>
                  </a:lnTo>
                  <a:lnTo>
                    <a:pt x="1689123" y="2171814"/>
                  </a:lnTo>
                  <a:lnTo>
                    <a:pt x="1679214" y="2171814"/>
                  </a:lnTo>
                  <a:lnTo>
                    <a:pt x="1675195" y="2167775"/>
                  </a:lnTo>
                  <a:lnTo>
                    <a:pt x="1675195" y="2157905"/>
                  </a:lnTo>
                  <a:close/>
                  <a:moveTo>
                    <a:pt x="1439897" y="2153867"/>
                  </a:moveTo>
                  <a:lnTo>
                    <a:pt x="1449807" y="2153867"/>
                  </a:lnTo>
                  <a:lnTo>
                    <a:pt x="1453826" y="2157905"/>
                  </a:lnTo>
                  <a:lnTo>
                    <a:pt x="1453826" y="2167776"/>
                  </a:lnTo>
                  <a:lnTo>
                    <a:pt x="1449807" y="2171814"/>
                  </a:lnTo>
                  <a:lnTo>
                    <a:pt x="1439897" y="2171814"/>
                  </a:lnTo>
                  <a:lnTo>
                    <a:pt x="1435878" y="2167776"/>
                  </a:lnTo>
                  <a:lnTo>
                    <a:pt x="1435878" y="2157905"/>
                  </a:lnTo>
                  <a:close/>
                  <a:moveTo>
                    <a:pt x="1918513" y="2153855"/>
                  </a:moveTo>
                  <a:lnTo>
                    <a:pt x="1928422" y="2153855"/>
                  </a:lnTo>
                  <a:lnTo>
                    <a:pt x="1932443" y="2157892"/>
                  </a:lnTo>
                  <a:lnTo>
                    <a:pt x="1932443" y="2167763"/>
                  </a:lnTo>
                  <a:lnTo>
                    <a:pt x="1928422" y="2171803"/>
                  </a:lnTo>
                  <a:lnTo>
                    <a:pt x="1918513" y="2171803"/>
                  </a:lnTo>
                  <a:lnTo>
                    <a:pt x="1914494" y="2167763"/>
                  </a:lnTo>
                  <a:lnTo>
                    <a:pt x="1914494" y="2157892"/>
                  </a:lnTo>
                  <a:close/>
                  <a:moveTo>
                    <a:pt x="2157821" y="2153850"/>
                  </a:moveTo>
                  <a:lnTo>
                    <a:pt x="2167732" y="2153850"/>
                  </a:lnTo>
                  <a:lnTo>
                    <a:pt x="2171750" y="2157889"/>
                  </a:lnTo>
                  <a:lnTo>
                    <a:pt x="2171750" y="2167759"/>
                  </a:lnTo>
                  <a:lnTo>
                    <a:pt x="2167732" y="2171798"/>
                  </a:lnTo>
                  <a:lnTo>
                    <a:pt x="2157821" y="2171798"/>
                  </a:lnTo>
                  <a:lnTo>
                    <a:pt x="2153803" y="2167759"/>
                  </a:lnTo>
                  <a:lnTo>
                    <a:pt x="2153803" y="2157889"/>
                  </a:lnTo>
                  <a:close/>
                  <a:moveTo>
                    <a:pt x="4032" y="2153832"/>
                  </a:moveTo>
                  <a:lnTo>
                    <a:pt x="13942" y="2153832"/>
                  </a:lnTo>
                  <a:lnTo>
                    <a:pt x="17961" y="2157870"/>
                  </a:lnTo>
                  <a:lnTo>
                    <a:pt x="17961" y="2167741"/>
                  </a:lnTo>
                  <a:lnTo>
                    <a:pt x="13942" y="2171780"/>
                  </a:lnTo>
                  <a:lnTo>
                    <a:pt x="4032" y="2171780"/>
                  </a:lnTo>
                  <a:lnTo>
                    <a:pt x="13" y="2167741"/>
                  </a:lnTo>
                  <a:lnTo>
                    <a:pt x="13" y="2157870"/>
                  </a:lnTo>
                  <a:close/>
                  <a:moveTo>
                    <a:pt x="721971" y="2153832"/>
                  </a:moveTo>
                  <a:lnTo>
                    <a:pt x="731881" y="2153832"/>
                  </a:lnTo>
                  <a:lnTo>
                    <a:pt x="735900" y="2157870"/>
                  </a:lnTo>
                  <a:lnTo>
                    <a:pt x="735900" y="2167740"/>
                  </a:lnTo>
                  <a:lnTo>
                    <a:pt x="731881" y="2171780"/>
                  </a:lnTo>
                  <a:lnTo>
                    <a:pt x="721971" y="2171780"/>
                  </a:lnTo>
                  <a:lnTo>
                    <a:pt x="717952" y="2167740"/>
                  </a:lnTo>
                  <a:lnTo>
                    <a:pt x="717952" y="2157870"/>
                  </a:lnTo>
                  <a:close/>
                  <a:moveTo>
                    <a:pt x="482659" y="2153832"/>
                  </a:moveTo>
                  <a:lnTo>
                    <a:pt x="492569" y="2153832"/>
                  </a:lnTo>
                  <a:lnTo>
                    <a:pt x="496588" y="2157870"/>
                  </a:lnTo>
                  <a:lnTo>
                    <a:pt x="496588" y="2167741"/>
                  </a:lnTo>
                  <a:lnTo>
                    <a:pt x="492569" y="2171780"/>
                  </a:lnTo>
                  <a:lnTo>
                    <a:pt x="482659" y="2171780"/>
                  </a:lnTo>
                  <a:lnTo>
                    <a:pt x="478640" y="2167741"/>
                  </a:lnTo>
                  <a:lnTo>
                    <a:pt x="478640" y="2157870"/>
                  </a:lnTo>
                  <a:close/>
                  <a:moveTo>
                    <a:pt x="243345" y="2153832"/>
                  </a:moveTo>
                  <a:lnTo>
                    <a:pt x="253255" y="2153832"/>
                  </a:lnTo>
                  <a:lnTo>
                    <a:pt x="257274" y="2157870"/>
                  </a:lnTo>
                  <a:lnTo>
                    <a:pt x="257274" y="2167741"/>
                  </a:lnTo>
                  <a:lnTo>
                    <a:pt x="253255" y="2171780"/>
                  </a:lnTo>
                  <a:lnTo>
                    <a:pt x="243345" y="2171780"/>
                  </a:lnTo>
                  <a:lnTo>
                    <a:pt x="239326" y="2167741"/>
                  </a:lnTo>
                  <a:lnTo>
                    <a:pt x="239326" y="2157870"/>
                  </a:lnTo>
                  <a:close/>
                  <a:moveTo>
                    <a:pt x="2393104" y="1914701"/>
                  </a:moveTo>
                  <a:lnTo>
                    <a:pt x="2403015" y="1914701"/>
                  </a:lnTo>
                  <a:lnTo>
                    <a:pt x="2407034" y="1918739"/>
                  </a:lnTo>
                  <a:lnTo>
                    <a:pt x="2407034" y="1928610"/>
                  </a:lnTo>
                  <a:lnTo>
                    <a:pt x="2403015" y="1932649"/>
                  </a:lnTo>
                  <a:lnTo>
                    <a:pt x="2393104" y="1932649"/>
                  </a:lnTo>
                  <a:lnTo>
                    <a:pt x="2389087" y="1928610"/>
                  </a:lnTo>
                  <a:lnTo>
                    <a:pt x="2389087" y="1918739"/>
                  </a:lnTo>
                  <a:close/>
                  <a:moveTo>
                    <a:pt x="3350359" y="1914699"/>
                  </a:moveTo>
                  <a:lnTo>
                    <a:pt x="3360268" y="1914699"/>
                  </a:lnTo>
                  <a:lnTo>
                    <a:pt x="3364287" y="1918738"/>
                  </a:lnTo>
                  <a:lnTo>
                    <a:pt x="3364287" y="1928610"/>
                  </a:lnTo>
                  <a:lnTo>
                    <a:pt x="3360268" y="1932649"/>
                  </a:lnTo>
                  <a:lnTo>
                    <a:pt x="3350359" y="1932649"/>
                  </a:lnTo>
                  <a:lnTo>
                    <a:pt x="3346340" y="1928610"/>
                  </a:lnTo>
                  <a:lnTo>
                    <a:pt x="3346340" y="1918738"/>
                  </a:lnTo>
                  <a:close/>
                  <a:moveTo>
                    <a:pt x="3111048" y="1914699"/>
                  </a:moveTo>
                  <a:lnTo>
                    <a:pt x="3120959" y="1914699"/>
                  </a:lnTo>
                  <a:lnTo>
                    <a:pt x="3124977" y="1918739"/>
                  </a:lnTo>
                  <a:lnTo>
                    <a:pt x="3124977" y="1928610"/>
                  </a:lnTo>
                  <a:lnTo>
                    <a:pt x="3120959" y="1932649"/>
                  </a:lnTo>
                  <a:lnTo>
                    <a:pt x="3111048" y="1932649"/>
                  </a:lnTo>
                  <a:lnTo>
                    <a:pt x="3107029" y="1928610"/>
                  </a:lnTo>
                  <a:lnTo>
                    <a:pt x="3107029" y="1918739"/>
                  </a:lnTo>
                  <a:close/>
                  <a:moveTo>
                    <a:pt x="2871737" y="1914699"/>
                  </a:moveTo>
                  <a:lnTo>
                    <a:pt x="2881646" y="1914699"/>
                  </a:lnTo>
                  <a:lnTo>
                    <a:pt x="2885666" y="1918739"/>
                  </a:lnTo>
                  <a:lnTo>
                    <a:pt x="2885666" y="1928610"/>
                  </a:lnTo>
                  <a:lnTo>
                    <a:pt x="2881646" y="1932649"/>
                  </a:lnTo>
                  <a:lnTo>
                    <a:pt x="2871737" y="1932649"/>
                  </a:lnTo>
                  <a:lnTo>
                    <a:pt x="2867717" y="1928610"/>
                  </a:lnTo>
                  <a:lnTo>
                    <a:pt x="2867717" y="1918739"/>
                  </a:lnTo>
                  <a:close/>
                  <a:moveTo>
                    <a:pt x="2632423" y="1914699"/>
                  </a:moveTo>
                  <a:lnTo>
                    <a:pt x="2642334" y="1914699"/>
                  </a:lnTo>
                  <a:lnTo>
                    <a:pt x="2646352" y="1918739"/>
                  </a:lnTo>
                  <a:lnTo>
                    <a:pt x="2646352" y="1928610"/>
                  </a:lnTo>
                  <a:lnTo>
                    <a:pt x="2642334" y="1932649"/>
                  </a:lnTo>
                  <a:lnTo>
                    <a:pt x="2632423" y="1932649"/>
                  </a:lnTo>
                  <a:lnTo>
                    <a:pt x="2628404" y="1928610"/>
                  </a:lnTo>
                  <a:lnTo>
                    <a:pt x="2628404" y="1918739"/>
                  </a:lnTo>
                  <a:close/>
                  <a:moveTo>
                    <a:pt x="3589676" y="1914682"/>
                  </a:moveTo>
                  <a:lnTo>
                    <a:pt x="3599585" y="1914682"/>
                  </a:lnTo>
                  <a:lnTo>
                    <a:pt x="3603604" y="1918721"/>
                  </a:lnTo>
                  <a:lnTo>
                    <a:pt x="3603604" y="1928592"/>
                  </a:lnTo>
                  <a:lnTo>
                    <a:pt x="3599585" y="1932631"/>
                  </a:lnTo>
                  <a:lnTo>
                    <a:pt x="3589676" y="1932631"/>
                  </a:lnTo>
                  <a:lnTo>
                    <a:pt x="3585657" y="1928592"/>
                  </a:lnTo>
                  <a:lnTo>
                    <a:pt x="3585657" y="1918721"/>
                  </a:lnTo>
                  <a:close/>
                  <a:moveTo>
                    <a:pt x="4546929" y="1914681"/>
                  </a:moveTo>
                  <a:lnTo>
                    <a:pt x="4556840" y="1914681"/>
                  </a:lnTo>
                  <a:lnTo>
                    <a:pt x="4560859" y="1918719"/>
                  </a:lnTo>
                  <a:lnTo>
                    <a:pt x="4560859" y="1928592"/>
                  </a:lnTo>
                  <a:lnTo>
                    <a:pt x="4556840" y="1932631"/>
                  </a:lnTo>
                  <a:lnTo>
                    <a:pt x="4546929" y="1932631"/>
                  </a:lnTo>
                  <a:lnTo>
                    <a:pt x="4542910" y="1928592"/>
                  </a:lnTo>
                  <a:lnTo>
                    <a:pt x="4542910" y="1918719"/>
                  </a:lnTo>
                  <a:close/>
                  <a:moveTo>
                    <a:pt x="4307612" y="1914681"/>
                  </a:moveTo>
                  <a:lnTo>
                    <a:pt x="4317523" y="1914681"/>
                  </a:lnTo>
                  <a:lnTo>
                    <a:pt x="4321543" y="1918720"/>
                  </a:lnTo>
                  <a:lnTo>
                    <a:pt x="4321543" y="1928592"/>
                  </a:lnTo>
                  <a:lnTo>
                    <a:pt x="4317523" y="1932631"/>
                  </a:lnTo>
                  <a:lnTo>
                    <a:pt x="4307612" y="1932631"/>
                  </a:lnTo>
                  <a:lnTo>
                    <a:pt x="4303595" y="1928592"/>
                  </a:lnTo>
                  <a:lnTo>
                    <a:pt x="4303595" y="1918720"/>
                  </a:lnTo>
                  <a:close/>
                  <a:moveTo>
                    <a:pt x="4068297" y="1914681"/>
                  </a:moveTo>
                  <a:lnTo>
                    <a:pt x="4078210" y="1914681"/>
                  </a:lnTo>
                  <a:lnTo>
                    <a:pt x="4082229" y="1918720"/>
                  </a:lnTo>
                  <a:lnTo>
                    <a:pt x="4082229" y="1928592"/>
                  </a:lnTo>
                  <a:lnTo>
                    <a:pt x="4078210" y="1932631"/>
                  </a:lnTo>
                  <a:lnTo>
                    <a:pt x="4068297" y="1932631"/>
                  </a:lnTo>
                  <a:lnTo>
                    <a:pt x="4064278" y="1928592"/>
                  </a:lnTo>
                  <a:lnTo>
                    <a:pt x="4064278" y="1918720"/>
                  </a:lnTo>
                  <a:close/>
                  <a:moveTo>
                    <a:pt x="3828990" y="1914681"/>
                  </a:moveTo>
                  <a:lnTo>
                    <a:pt x="3838899" y="1914681"/>
                  </a:lnTo>
                  <a:lnTo>
                    <a:pt x="3842917" y="1918720"/>
                  </a:lnTo>
                  <a:lnTo>
                    <a:pt x="3842917" y="1928592"/>
                  </a:lnTo>
                  <a:lnTo>
                    <a:pt x="3838899" y="1932631"/>
                  </a:lnTo>
                  <a:lnTo>
                    <a:pt x="3828990" y="1932631"/>
                  </a:lnTo>
                  <a:lnTo>
                    <a:pt x="3824971" y="1928592"/>
                  </a:lnTo>
                  <a:lnTo>
                    <a:pt x="3824971" y="1918720"/>
                  </a:lnTo>
                  <a:close/>
                  <a:moveTo>
                    <a:pt x="4786241" y="1914664"/>
                  </a:moveTo>
                  <a:lnTo>
                    <a:pt x="4796152" y="1914664"/>
                  </a:lnTo>
                  <a:lnTo>
                    <a:pt x="4800171" y="1918702"/>
                  </a:lnTo>
                  <a:lnTo>
                    <a:pt x="4800171" y="1928573"/>
                  </a:lnTo>
                  <a:lnTo>
                    <a:pt x="4796152" y="1932612"/>
                  </a:lnTo>
                  <a:lnTo>
                    <a:pt x="4786241" y="1932612"/>
                  </a:lnTo>
                  <a:lnTo>
                    <a:pt x="4782224" y="1928573"/>
                  </a:lnTo>
                  <a:lnTo>
                    <a:pt x="4782224" y="1918702"/>
                  </a:lnTo>
                  <a:close/>
                  <a:moveTo>
                    <a:pt x="5504099" y="1914663"/>
                  </a:moveTo>
                  <a:lnTo>
                    <a:pt x="5514010" y="1914663"/>
                  </a:lnTo>
                  <a:lnTo>
                    <a:pt x="5518029" y="1918702"/>
                  </a:lnTo>
                  <a:lnTo>
                    <a:pt x="5518029" y="1928572"/>
                  </a:lnTo>
                  <a:lnTo>
                    <a:pt x="5514010" y="1932612"/>
                  </a:lnTo>
                  <a:lnTo>
                    <a:pt x="5504099" y="1932612"/>
                  </a:lnTo>
                  <a:lnTo>
                    <a:pt x="5500080" y="1928572"/>
                  </a:lnTo>
                  <a:lnTo>
                    <a:pt x="5500080" y="1918702"/>
                  </a:lnTo>
                  <a:close/>
                  <a:moveTo>
                    <a:pt x="5264784" y="1914663"/>
                  </a:moveTo>
                  <a:lnTo>
                    <a:pt x="5274694" y="1914663"/>
                  </a:lnTo>
                  <a:lnTo>
                    <a:pt x="5278713" y="1918702"/>
                  </a:lnTo>
                  <a:lnTo>
                    <a:pt x="5278713" y="1928573"/>
                  </a:lnTo>
                  <a:lnTo>
                    <a:pt x="5274694" y="1932612"/>
                  </a:lnTo>
                  <a:lnTo>
                    <a:pt x="5264784" y="1932612"/>
                  </a:lnTo>
                  <a:lnTo>
                    <a:pt x="5260765" y="1928573"/>
                  </a:lnTo>
                  <a:lnTo>
                    <a:pt x="5260765" y="1918702"/>
                  </a:lnTo>
                  <a:close/>
                  <a:moveTo>
                    <a:pt x="5025470" y="1914663"/>
                  </a:moveTo>
                  <a:lnTo>
                    <a:pt x="5035381" y="1914663"/>
                  </a:lnTo>
                  <a:lnTo>
                    <a:pt x="5039400" y="1918702"/>
                  </a:lnTo>
                  <a:lnTo>
                    <a:pt x="5039400" y="1928573"/>
                  </a:lnTo>
                  <a:lnTo>
                    <a:pt x="5035381" y="1932612"/>
                  </a:lnTo>
                  <a:lnTo>
                    <a:pt x="5025470" y="1932612"/>
                  </a:lnTo>
                  <a:lnTo>
                    <a:pt x="5021451" y="1928573"/>
                  </a:lnTo>
                  <a:lnTo>
                    <a:pt x="5021451" y="1918702"/>
                  </a:lnTo>
                  <a:close/>
                  <a:moveTo>
                    <a:pt x="5743412" y="1914662"/>
                  </a:moveTo>
                  <a:lnTo>
                    <a:pt x="5753323" y="1914662"/>
                  </a:lnTo>
                  <a:lnTo>
                    <a:pt x="5757342" y="1918701"/>
                  </a:lnTo>
                  <a:lnTo>
                    <a:pt x="5757342" y="1928572"/>
                  </a:lnTo>
                  <a:lnTo>
                    <a:pt x="5753323" y="1932612"/>
                  </a:lnTo>
                  <a:lnTo>
                    <a:pt x="5743412" y="1932612"/>
                  </a:lnTo>
                  <a:lnTo>
                    <a:pt x="5739393" y="1928572"/>
                  </a:lnTo>
                  <a:lnTo>
                    <a:pt x="5739393" y="1918701"/>
                  </a:lnTo>
                  <a:close/>
                  <a:moveTo>
                    <a:pt x="5982729" y="1914645"/>
                  </a:moveTo>
                  <a:lnTo>
                    <a:pt x="5992639" y="1914645"/>
                  </a:lnTo>
                  <a:lnTo>
                    <a:pt x="5996658" y="1918684"/>
                  </a:lnTo>
                  <a:lnTo>
                    <a:pt x="5996658" y="1928555"/>
                  </a:lnTo>
                  <a:lnTo>
                    <a:pt x="5992639" y="1932594"/>
                  </a:lnTo>
                  <a:lnTo>
                    <a:pt x="5982729" y="1932594"/>
                  </a:lnTo>
                  <a:lnTo>
                    <a:pt x="5978710" y="1928555"/>
                  </a:lnTo>
                  <a:lnTo>
                    <a:pt x="5978710" y="1918684"/>
                  </a:lnTo>
                  <a:close/>
                  <a:moveTo>
                    <a:pt x="6939983" y="1914645"/>
                  </a:moveTo>
                  <a:lnTo>
                    <a:pt x="6949894" y="1914645"/>
                  </a:lnTo>
                  <a:lnTo>
                    <a:pt x="6953913" y="1918682"/>
                  </a:lnTo>
                  <a:lnTo>
                    <a:pt x="6953913" y="1928554"/>
                  </a:lnTo>
                  <a:lnTo>
                    <a:pt x="6949894" y="1932594"/>
                  </a:lnTo>
                  <a:lnTo>
                    <a:pt x="6939983" y="1932594"/>
                  </a:lnTo>
                  <a:lnTo>
                    <a:pt x="6935964" y="1928554"/>
                  </a:lnTo>
                  <a:lnTo>
                    <a:pt x="6935964" y="1918682"/>
                  </a:lnTo>
                  <a:close/>
                  <a:moveTo>
                    <a:pt x="6700670" y="1914645"/>
                  </a:moveTo>
                  <a:lnTo>
                    <a:pt x="6710581" y="1914645"/>
                  </a:lnTo>
                  <a:lnTo>
                    <a:pt x="6714600" y="1918683"/>
                  </a:lnTo>
                  <a:lnTo>
                    <a:pt x="6714600" y="1928554"/>
                  </a:lnTo>
                  <a:lnTo>
                    <a:pt x="6710581" y="1932594"/>
                  </a:lnTo>
                  <a:lnTo>
                    <a:pt x="6700670" y="1932594"/>
                  </a:lnTo>
                  <a:lnTo>
                    <a:pt x="6696651" y="1928554"/>
                  </a:lnTo>
                  <a:lnTo>
                    <a:pt x="6696651" y="1918683"/>
                  </a:lnTo>
                  <a:close/>
                  <a:moveTo>
                    <a:pt x="6461356" y="1914645"/>
                  </a:moveTo>
                  <a:lnTo>
                    <a:pt x="6471266" y="1914645"/>
                  </a:lnTo>
                  <a:lnTo>
                    <a:pt x="6475285" y="1918683"/>
                  </a:lnTo>
                  <a:lnTo>
                    <a:pt x="6475285" y="1928555"/>
                  </a:lnTo>
                  <a:lnTo>
                    <a:pt x="6471266" y="1932594"/>
                  </a:lnTo>
                  <a:lnTo>
                    <a:pt x="6461356" y="1932594"/>
                  </a:lnTo>
                  <a:lnTo>
                    <a:pt x="6457337" y="1928555"/>
                  </a:lnTo>
                  <a:lnTo>
                    <a:pt x="6457337" y="1918683"/>
                  </a:lnTo>
                  <a:close/>
                  <a:moveTo>
                    <a:pt x="6222042" y="1914645"/>
                  </a:moveTo>
                  <a:lnTo>
                    <a:pt x="6231952" y="1914645"/>
                  </a:lnTo>
                  <a:lnTo>
                    <a:pt x="6235971" y="1918683"/>
                  </a:lnTo>
                  <a:lnTo>
                    <a:pt x="6235971" y="1928555"/>
                  </a:lnTo>
                  <a:lnTo>
                    <a:pt x="6231952" y="1932594"/>
                  </a:lnTo>
                  <a:lnTo>
                    <a:pt x="6222042" y="1932594"/>
                  </a:lnTo>
                  <a:lnTo>
                    <a:pt x="6218023" y="1928555"/>
                  </a:lnTo>
                  <a:lnTo>
                    <a:pt x="6218023" y="1918683"/>
                  </a:lnTo>
                  <a:close/>
                  <a:moveTo>
                    <a:pt x="7179298" y="1914627"/>
                  </a:moveTo>
                  <a:lnTo>
                    <a:pt x="7189209" y="1914627"/>
                  </a:lnTo>
                  <a:lnTo>
                    <a:pt x="7193228" y="1918666"/>
                  </a:lnTo>
                  <a:lnTo>
                    <a:pt x="7193228" y="1928536"/>
                  </a:lnTo>
                  <a:lnTo>
                    <a:pt x="7189209" y="1932575"/>
                  </a:lnTo>
                  <a:lnTo>
                    <a:pt x="7179298" y="1932575"/>
                  </a:lnTo>
                  <a:lnTo>
                    <a:pt x="7175279" y="1928536"/>
                  </a:lnTo>
                  <a:lnTo>
                    <a:pt x="7175279" y="1918666"/>
                  </a:lnTo>
                  <a:close/>
                  <a:moveTo>
                    <a:pt x="7897241" y="1914627"/>
                  </a:moveTo>
                  <a:lnTo>
                    <a:pt x="7907151" y="1914627"/>
                  </a:lnTo>
                  <a:lnTo>
                    <a:pt x="7911170" y="1918664"/>
                  </a:lnTo>
                  <a:lnTo>
                    <a:pt x="7911170" y="1928535"/>
                  </a:lnTo>
                  <a:lnTo>
                    <a:pt x="7907151" y="1932575"/>
                  </a:lnTo>
                  <a:lnTo>
                    <a:pt x="7897241" y="1932575"/>
                  </a:lnTo>
                  <a:lnTo>
                    <a:pt x="7893222" y="1928535"/>
                  </a:lnTo>
                  <a:lnTo>
                    <a:pt x="7893222" y="1918664"/>
                  </a:lnTo>
                  <a:close/>
                  <a:moveTo>
                    <a:pt x="7657926" y="1914627"/>
                  </a:moveTo>
                  <a:lnTo>
                    <a:pt x="7667836" y="1914627"/>
                  </a:lnTo>
                  <a:lnTo>
                    <a:pt x="7671855" y="1918664"/>
                  </a:lnTo>
                  <a:lnTo>
                    <a:pt x="7671855" y="1928536"/>
                  </a:lnTo>
                  <a:lnTo>
                    <a:pt x="7667836" y="1932575"/>
                  </a:lnTo>
                  <a:lnTo>
                    <a:pt x="7657926" y="1932575"/>
                  </a:lnTo>
                  <a:lnTo>
                    <a:pt x="7653906" y="1928536"/>
                  </a:lnTo>
                  <a:lnTo>
                    <a:pt x="7653906" y="1918664"/>
                  </a:lnTo>
                  <a:close/>
                  <a:moveTo>
                    <a:pt x="7418611" y="1914627"/>
                  </a:moveTo>
                  <a:lnTo>
                    <a:pt x="7428521" y="1914627"/>
                  </a:lnTo>
                  <a:lnTo>
                    <a:pt x="7432540" y="1918664"/>
                  </a:lnTo>
                  <a:lnTo>
                    <a:pt x="7432540" y="1928536"/>
                  </a:lnTo>
                  <a:lnTo>
                    <a:pt x="7428521" y="1932575"/>
                  </a:lnTo>
                  <a:lnTo>
                    <a:pt x="7418611" y="1932575"/>
                  </a:lnTo>
                  <a:lnTo>
                    <a:pt x="7414592" y="1928536"/>
                  </a:lnTo>
                  <a:lnTo>
                    <a:pt x="7414592" y="1918664"/>
                  </a:lnTo>
                  <a:close/>
                  <a:moveTo>
                    <a:pt x="8136553" y="1914626"/>
                  </a:moveTo>
                  <a:lnTo>
                    <a:pt x="8146464" y="1914626"/>
                  </a:lnTo>
                  <a:lnTo>
                    <a:pt x="8150483" y="1918664"/>
                  </a:lnTo>
                  <a:lnTo>
                    <a:pt x="8150483" y="1928535"/>
                  </a:lnTo>
                  <a:lnTo>
                    <a:pt x="8146464" y="1932575"/>
                  </a:lnTo>
                  <a:lnTo>
                    <a:pt x="8136553" y="1932575"/>
                  </a:lnTo>
                  <a:lnTo>
                    <a:pt x="8132534" y="1928535"/>
                  </a:lnTo>
                  <a:lnTo>
                    <a:pt x="8132534" y="1918664"/>
                  </a:lnTo>
                  <a:close/>
                  <a:moveTo>
                    <a:pt x="8375869" y="1914608"/>
                  </a:moveTo>
                  <a:lnTo>
                    <a:pt x="8385779" y="1914608"/>
                  </a:lnTo>
                  <a:lnTo>
                    <a:pt x="8389799" y="1918647"/>
                  </a:lnTo>
                  <a:lnTo>
                    <a:pt x="8389799" y="1928518"/>
                  </a:lnTo>
                  <a:lnTo>
                    <a:pt x="8385779" y="1932557"/>
                  </a:lnTo>
                  <a:lnTo>
                    <a:pt x="8375869" y="1932557"/>
                  </a:lnTo>
                  <a:lnTo>
                    <a:pt x="8371850" y="1928518"/>
                  </a:lnTo>
                  <a:lnTo>
                    <a:pt x="8371850" y="1918647"/>
                  </a:lnTo>
                  <a:close/>
                  <a:moveTo>
                    <a:pt x="9333125" y="1914608"/>
                  </a:moveTo>
                  <a:lnTo>
                    <a:pt x="9343036" y="1914608"/>
                  </a:lnTo>
                  <a:lnTo>
                    <a:pt x="9347055" y="1918646"/>
                  </a:lnTo>
                  <a:lnTo>
                    <a:pt x="9347055" y="1928517"/>
                  </a:lnTo>
                  <a:lnTo>
                    <a:pt x="9343036" y="1932557"/>
                  </a:lnTo>
                  <a:lnTo>
                    <a:pt x="9333125" y="1932557"/>
                  </a:lnTo>
                  <a:lnTo>
                    <a:pt x="9329106" y="1928517"/>
                  </a:lnTo>
                  <a:lnTo>
                    <a:pt x="9329106" y="1918646"/>
                  </a:lnTo>
                  <a:close/>
                  <a:moveTo>
                    <a:pt x="9093811" y="1914608"/>
                  </a:moveTo>
                  <a:lnTo>
                    <a:pt x="9103722" y="1914608"/>
                  </a:lnTo>
                  <a:lnTo>
                    <a:pt x="9107741" y="1918646"/>
                  </a:lnTo>
                  <a:lnTo>
                    <a:pt x="9107741" y="1928517"/>
                  </a:lnTo>
                  <a:lnTo>
                    <a:pt x="9103722" y="1932557"/>
                  </a:lnTo>
                  <a:lnTo>
                    <a:pt x="9093811" y="1932557"/>
                  </a:lnTo>
                  <a:lnTo>
                    <a:pt x="9089792" y="1928517"/>
                  </a:lnTo>
                  <a:lnTo>
                    <a:pt x="9089792" y="1918646"/>
                  </a:lnTo>
                  <a:close/>
                  <a:moveTo>
                    <a:pt x="8854496" y="1914608"/>
                  </a:moveTo>
                  <a:lnTo>
                    <a:pt x="8864407" y="1914608"/>
                  </a:lnTo>
                  <a:lnTo>
                    <a:pt x="8868426" y="1918646"/>
                  </a:lnTo>
                  <a:lnTo>
                    <a:pt x="8868426" y="1928518"/>
                  </a:lnTo>
                  <a:lnTo>
                    <a:pt x="8864407" y="1932557"/>
                  </a:lnTo>
                  <a:lnTo>
                    <a:pt x="8854496" y="1932557"/>
                  </a:lnTo>
                  <a:lnTo>
                    <a:pt x="8850477" y="1928518"/>
                  </a:lnTo>
                  <a:lnTo>
                    <a:pt x="8850477" y="1918646"/>
                  </a:lnTo>
                  <a:close/>
                  <a:moveTo>
                    <a:pt x="8615184" y="1914608"/>
                  </a:moveTo>
                  <a:lnTo>
                    <a:pt x="8625095" y="1914608"/>
                  </a:lnTo>
                  <a:lnTo>
                    <a:pt x="8629114" y="1918646"/>
                  </a:lnTo>
                  <a:lnTo>
                    <a:pt x="8629114" y="1928518"/>
                  </a:lnTo>
                  <a:lnTo>
                    <a:pt x="8625095" y="1932557"/>
                  </a:lnTo>
                  <a:lnTo>
                    <a:pt x="8615184" y="1932557"/>
                  </a:lnTo>
                  <a:lnTo>
                    <a:pt x="8611165" y="1928518"/>
                  </a:lnTo>
                  <a:lnTo>
                    <a:pt x="8611165" y="1918646"/>
                  </a:lnTo>
                  <a:close/>
                  <a:moveTo>
                    <a:pt x="9572438" y="1914590"/>
                  </a:moveTo>
                  <a:lnTo>
                    <a:pt x="9582349" y="1914590"/>
                  </a:lnTo>
                  <a:lnTo>
                    <a:pt x="9586368" y="1918629"/>
                  </a:lnTo>
                  <a:lnTo>
                    <a:pt x="9586368" y="1928499"/>
                  </a:lnTo>
                  <a:lnTo>
                    <a:pt x="9582349" y="1932538"/>
                  </a:lnTo>
                  <a:lnTo>
                    <a:pt x="9572438" y="1932538"/>
                  </a:lnTo>
                  <a:lnTo>
                    <a:pt x="9568419" y="1928499"/>
                  </a:lnTo>
                  <a:lnTo>
                    <a:pt x="9568419" y="1918629"/>
                  </a:lnTo>
                  <a:close/>
                  <a:moveTo>
                    <a:pt x="243346" y="1914550"/>
                  </a:moveTo>
                  <a:lnTo>
                    <a:pt x="253256" y="1914550"/>
                  </a:lnTo>
                  <a:lnTo>
                    <a:pt x="257275" y="1918589"/>
                  </a:lnTo>
                  <a:lnTo>
                    <a:pt x="257275" y="1928459"/>
                  </a:lnTo>
                  <a:lnTo>
                    <a:pt x="253256" y="1932498"/>
                  </a:lnTo>
                  <a:lnTo>
                    <a:pt x="243346" y="1932498"/>
                  </a:lnTo>
                  <a:lnTo>
                    <a:pt x="239327" y="1928459"/>
                  </a:lnTo>
                  <a:lnTo>
                    <a:pt x="239327" y="1918589"/>
                  </a:lnTo>
                  <a:close/>
                  <a:moveTo>
                    <a:pt x="4032" y="1914550"/>
                  </a:moveTo>
                  <a:lnTo>
                    <a:pt x="13943" y="1914550"/>
                  </a:lnTo>
                  <a:lnTo>
                    <a:pt x="17962" y="1918589"/>
                  </a:lnTo>
                  <a:lnTo>
                    <a:pt x="17962" y="1928459"/>
                  </a:lnTo>
                  <a:lnTo>
                    <a:pt x="13943" y="1932498"/>
                  </a:lnTo>
                  <a:lnTo>
                    <a:pt x="4032" y="1932498"/>
                  </a:lnTo>
                  <a:lnTo>
                    <a:pt x="13" y="1928459"/>
                  </a:lnTo>
                  <a:lnTo>
                    <a:pt x="13" y="1918589"/>
                  </a:lnTo>
                  <a:close/>
                  <a:moveTo>
                    <a:pt x="721971" y="1914550"/>
                  </a:moveTo>
                  <a:lnTo>
                    <a:pt x="731882" y="1914550"/>
                  </a:lnTo>
                  <a:lnTo>
                    <a:pt x="735901" y="1918588"/>
                  </a:lnTo>
                  <a:lnTo>
                    <a:pt x="735901" y="1928459"/>
                  </a:lnTo>
                  <a:lnTo>
                    <a:pt x="731882" y="1932497"/>
                  </a:lnTo>
                  <a:lnTo>
                    <a:pt x="721971" y="1932497"/>
                  </a:lnTo>
                  <a:lnTo>
                    <a:pt x="717953" y="1928459"/>
                  </a:lnTo>
                  <a:lnTo>
                    <a:pt x="717953" y="1918588"/>
                  </a:lnTo>
                  <a:close/>
                  <a:moveTo>
                    <a:pt x="482660" y="1914550"/>
                  </a:moveTo>
                  <a:lnTo>
                    <a:pt x="492570" y="1914550"/>
                  </a:lnTo>
                  <a:lnTo>
                    <a:pt x="496589" y="1918588"/>
                  </a:lnTo>
                  <a:lnTo>
                    <a:pt x="496589" y="1928459"/>
                  </a:lnTo>
                  <a:lnTo>
                    <a:pt x="492570" y="1932497"/>
                  </a:lnTo>
                  <a:lnTo>
                    <a:pt x="482660" y="1932497"/>
                  </a:lnTo>
                  <a:lnTo>
                    <a:pt x="478640" y="1928459"/>
                  </a:lnTo>
                  <a:lnTo>
                    <a:pt x="478640" y="1918588"/>
                  </a:lnTo>
                  <a:close/>
                  <a:moveTo>
                    <a:pt x="1679215" y="1914535"/>
                  </a:moveTo>
                  <a:lnTo>
                    <a:pt x="1689125" y="1914535"/>
                  </a:lnTo>
                  <a:lnTo>
                    <a:pt x="1693144" y="1918573"/>
                  </a:lnTo>
                  <a:lnTo>
                    <a:pt x="1693144" y="1928444"/>
                  </a:lnTo>
                  <a:lnTo>
                    <a:pt x="1689125" y="1932482"/>
                  </a:lnTo>
                  <a:lnTo>
                    <a:pt x="1679215" y="1932482"/>
                  </a:lnTo>
                  <a:lnTo>
                    <a:pt x="1675195" y="1928444"/>
                  </a:lnTo>
                  <a:lnTo>
                    <a:pt x="1675195" y="1918573"/>
                  </a:lnTo>
                  <a:close/>
                  <a:moveTo>
                    <a:pt x="1439897" y="1914535"/>
                  </a:moveTo>
                  <a:lnTo>
                    <a:pt x="1449808" y="1914535"/>
                  </a:lnTo>
                  <a:lnTo>
                    <a:pt x="1453827" y="1918573"/>
                  </a:lnTo>
                  <a:lnTo>
                    <a:pt x="1453827" y="1928444"/>
                  </a:lnTo>
                  <a:lnTo>
                    <a:pt x="1449808" y="1932483"/>
                  </a:lnTo>
                  <a:lnTo>
                    <a:pt x="1439897" y="1932483"/>
                  </a:lnTo>
                  <a:lnTo>
                    <a:pt x="1435879" y="1928444"/>
                  </a:lnTo>
                  <a:lnTo>
                    <a:pt x="1435879" y="1918573"/>
                  </a:lnTo>
                  <a:close/>
                  <a:moveTo>
                    <a:pt x="1200582" y="1914535"/>
                  </a:moveTo>
                  <a:lnTo>
                    <a:pt x="1210492" y="1914535"/>
                  </a:lnTo>
                  <a:lnTo>
                    <a:pt x="1214511" y="1918573"/>
                  </a:lnTo>
                  <a:lnTo>
                    <a:pt x="1214511" y="1928444"/>
                  </a:lnTo>
                  <a:lnTo>
                    <a:pt x="1210492" y="1932483"/>
                  </a:lnTo>
                  <a:lnTo>
                    <a:pt x="1200582" y="1932483"/>
                  </a:lnTo>
                  <a:lnTo>
                    <a:pt x="1196563" y="1928444"/>
                  </a:lnTo>
                  <a:lnTo>
                    <a:pt x="1196563" y="1918573"/>
                  </a:lnTo>
                  <a:close/>
                  <a:moveTo>
                    <a:pt x="961269" y="1914535"/>
                  </a:moveTo>
                  <a:lnTo>
                    <a:pt x="971179" y="1914535"/>
                  </a:lnTo>
                  <a:lnTo>
                    <a:pt x="975198" y="1918573"/>
                  </a:lnTo>
                  <a:lnTo>
                    <a:pt x="975198" y="1928444"/>
                  </a:lnTo>
                  <a:lnTo>
                    <a:pt x="971179" y="1932483"/>
                  </a:lnTo>
                  <a:lnTo>
                    <a:pt x="961269" y="1932483"/>
                  </a:lnTo>
                  <a:lnTo>
                    <a:pt x="957250" y="1928444"/>
                  </a:lnTo>
                  <a:lnTo>
                    <a:pt x="957250" y="1918573"/>
                  </a:lnTo>
                  <a:close/>
                  <a:moveTo>
                    <a:pt x="1918513" y="1914523"/>
                  </a:moveTo>
                  <a:lnTo>
                    <a:pt x="1928424" y="1914523"/>
                  </a:lnTo>
                  <a:lnTo>
                    <a:pt x="1932443" y="1918562"/>
                  </a:lnTo>
                  <a:lnTo>
                    <a:pt x="1932443" y="1928432"/>
                  </a:lnTo>
                  <a:lnTo>
                    <a:pt x="1928424" y="1932471"/>
                  </a:lnTo>
                  <a:lnTo>
                    <a:pt x="1918513" y="1932471"/>
                  </a:lnTo>
                  <a:lnTo>
                    <a:pt x="1914494" y="1928432"/>
                  </a:lnTo>
                  <a:lnTo>
                    <a:pt x="1914494" y="1918562"/>
                  </a:lnTo>
                  <a:close/>
                  <a:moveTo>
                    <a:pt x="2157821" y="1914520"/>
                  </a:moveTo>
                  <a:lnTo>
                    <a:pt x="2167732" y="1914520"/>
                  </a:lnTo>
                  <a:lnTo>
                    <a:pt x="2171751" y="1918558"/>
                  </a:lnTo>
                  <a:lnTo>
                    <a:pt x="2171751" y="1928428"/>
                  </a:lnTo>
                  <a:lnTo>
                    <a:pt x="2167732" y="1932467"/>
                  </a:lnTo>
                  <a:lnTo>
                    <a:pt x="2157821" y="1932467"/>
                  </a:lnTo>
                  <a:lnTo>
                    <a:pt x="2153803" y="1928428"/>
                  </a:lnTo>
                  <a:lnTo>
                    <a:pt x="2153803" y="1918558"/>
                  </a:lnTo>
                  <a:close/>
                  <a:moveTo>
                    <a:pt x="2871737" y="1675350"/>
                  </a:moveTo>
                  <a:lnTo>
                    <a:pt x="2881646" y="1675350"/>
                  </a:lnTo>
                  <a:lnTo>
                    <a:pt x="2885666" y="1679389"/>
                  </a:lnTo>
                  <a:lnTo>
                    <a:pt x="2885666" y="1689260"/>
                  </a:lnTo>
                  <a:lnTo>
                    <a:pt x="2881646" y="1693299"/>
                  </a:lnTo>
                  <a:lnTo>
                    <a:pt x="2871737" y="1693299"/>
                  </a:lnTo>
                  <a:lnTo>
                    <a:pt x="2867717" y="1689260"/>
                  </a:lnTo>
                  <a:lnTo>
                    <a:pt x="2867717" y="1679389"/>
                  </a:lnTo>
                  <a:close/>
                  <a:moveTo>
                    <a:pt x="2632423" y="1675350"/>
                  </a:moveTo>
                  <a:lnTo>
                    <a:pt x="2642334" y="1675350"/>
                  </a:lnTo>
                  <a:lnTo>
                    <a:pt x="2646352" y="1679389"/>
                  </a:lnTo>
                  <a:lnTo>
                    <a:pt x="2646352" y="1689260"/>
                  </a:lnTo>
                  <a:lnTo>
                    <a:pt x="2642334" y="1693299"/>
                  </a:lnTo>
                  <a:lnTo>
                    <a:pt x="2632423" y="1693299"/>
                  </a:lnTo>
                  <a:lnTo>
                    <a:pt x="2628404" y="1689260"/>
                  </a:lnTo>
                  <a:lnTo>
                    <a:pt x="2628404" y="1679389"/>
                  </a:lnTo>
                  <a:close/>
                  <a:moveTo>
                    <a:pt x="2393104" y="1675350"/>
                  </a:moveTo>
                  <a:lnTo>
                    <a:pt x="2403015" y="1675350"/>
                  </a:lnTo>
                  <a:lnTo>
                    <a:pt x="2407034" y="1679389"/>
                  </a:lnTo>
                  <a:lnTo>
                    <a:pt x="2407034" y="1689260"/>
                  </a:lnTo>
                  <a:lnTo>
                    <a:pt x="2403015" y="1693299"/>
                  </a:lnTo>
                  <a:lnTo>
                    <a:pt x="2393104" y="1693299"/>
                  </a:lnTo>
                  <a:lnTo>
                    <a:pt x="2389087" y="1689260"/>
                  </a:lnTo>
                  <a:lnTo>
                    <a:pt x="2389087" y="1679389"/>
                  </a:lnTo>
                  <a:close/>
                  <a:moveTo>
                    <a:pt x="3350359" y="1675349"/>
                  </a:moveTo>
                  <a:lnTo>
                    <a:pt x="3360268" y="1675349"/>
                  </a:lnTo>
                  <a:lnTo>
                    <a:pt x="3364287" y="1679388"/>
                  </a:lnTo>
                  <a:lnTo>
                    <a:pt x="3364287" y="1689260"/>
                  </a:lnTo>
                  <a:lnTo>
                    <a:pt x="3360268" y="1693298"/>
                  </a:lnTo>
                  <a:lnTo>
                    <a:pt x="3350359" y="1693298"/>
                  </a:lnTo>
                  <a:lnTo>
                    <a:pt x="3346340" y="1689260"/>
                  </a:lnTo>
                  <a:lnTo>
                    <a:pt x="3346340" y="1679388"/>
                  </a:lnTo>
                  <a:close/>
                  <a:moveTo>
                    <a:pt x="3111048" y="1675349"/>
                  </a:moveTo>
                  <a:lnTo>
                    <a:pt x="3120959" y="1675349"/>
                  </a:lnTo>
                  <a:lnTo>
                    <a:pt x="3124977" y="1679388"/>
                  </a:lnTo>
                  <a:lnTo>
                    <a:pt x="3124977" y="1689260"/>
                  </a:lnTo>
                  <a:lnTo>
                    <a:pt x="3120959" y="1693299"/>
                  </a:lnTo>
                  <a:lnTo>
                    <a:pt x="3111048" y="1693299"/>
                  </a:lnTo>
                  <a:lnTo>
                    <a:pt x="3107029" y="1689260"/>
                  </a:lnTo>
                  <a:lnTo>
                    <a:pt x="3107029" y="1679388"/>
                  </a:lnTo>
                  <a:close/>
                  <a:moveTo>
                    <a:pt x="4068297" y="1675334"/>
                  </a:moveTo>
                  <a:lnTo>
                    <a:pt x="4078210" y="1675334"/>
                  </a:lnTo>
                  <a:lnTo>
                    <a:pt x="4082229" y="1679373"/>
                  </a:lnTo>
                  <a:lnTo>
                    <a:pt x="4082229" y="1689243"/>
                  </a:lnTo>
                  <a:lnTo>
                    <a:pt x="4078210" y="1693282"/>
                  </a:lnTo>
                  <a:lnTo>
                    <a:pt x="4068297" y="1693282"/>
                  </a:lnTo>
                  <a:lnTo>
                    <a:pt x="4064278" y="1689243"/>
                  </a:lnTo>
                  <a:lnTo>
                    <a:pt x="4064278" y="1679373"/>
                  </a:lnTo>
                  <a:close/>
                  <a:moveTo>
                    <a:pt x="3828990" y="1675334"/>
                  </a:moveTo>
                  <a:lnTo>
                    <a:pt x="3838899" y="1675334"/>
                  </a:lnTo>
                  <a:lnTo>
                    <a:pt x="3842917" y="1679373"/>
                  </a:lnTo>
                  <a:lnTo>
                    <a:pt x="3842917" y="1689243"/>
                  </a:lnTo>
                  <a:lnTo>
                    <a:pt x="3838899" y="1693282"/>
                  </a:lnTo>
                  <a:lnTo>
                    <a:pt x="3828990" y="1693282"/>
                  </a:lnTo>
                  <a:lnTo>
                    <a:pt x="3824971" y="1689243"/>
                  </a:lnTo>
                  <a:lnTo>
                    <a:pt x="3824971" y="1679373"/>
                  </a:lnTo>
                  <a:close/>
                  <a:moveTo>
                    <a:pt x="3589676" y="1675334"/>
                  </a:moveTo>
                  <a:lnTo>
                    <a:pt x="3599585" y="1675334"/>
                  </a:lnTo>
                  <a:lnTo>
                    <a:pt x="3603604" y="1679373"/>
                  </a:lnTo>
                  <a:lnTo>
                    <a:pt x="3603604" y="1689243"/>
                  </a:lnTo>
                  <a:lnTo>
                    <a:pt x="3599585" y="1693282"/>
                  </a:lnTo>
                  <a:lnTo>
                    <a:pt x="3589676" y="1693282"/>
                  </a:lnTo>
                  <a:lnTo>
                    <a:pt x="3585657" y="1689243"/>
                  </a:lnTo>
                  <a:lnTo>
                    <a:pt x="3585657" y="1679373"/>
                  </a:lnTo>
                  <a:close/>
                  <a:moveTo>
                    <a:pt x="4546929" y="1675333"/>
                  </a:moveTo>
                  <a:lnTo>
                    <a:pt x="4556840" y="1675333"/>
                  </a:lnTo>
                  <a:lnTo>
                    <a:pt x="4560859" y="1679372"/>
                  </a:lnTo>
                  <a:lnTo>
                    <a:pt x="4560859" y="1689243"/>
                  </a:lnTo>
                  <a:lnTo>
                    <a:pt x="4556840" y="1693281"/>
                  </a:lnTo>
                  <a:lnTo>
                    <a:pt x="4546929" y="1693281"/>
                  </a:lnTo>
                  <a:lnTo>
                    <a:pt x="4542910" y="1689243"/>
                  </a:lnTo>
                  <a:lnTo>
                    <a:pt x="4542910" y="1679372"/>
                  </a:lnTo>
                  <a:close/>
                  <a:moveTo>
                    <a:pt x="4307612" y="1675333"/>
                  </a:moveTo>
                  <a:lnTo>
                    <a:pt x="4317523" y="1675333"/>
                  </a:lnTo>
                  <a:lnTo>
                    <a:pt x="4321543" y="1679372"/>
                  </a:lnTo>
                  <a:lnTo>
                    <a:pt x="4321543" y="1689243"/>
                  </a:lnTo>
                  <a:lnTo>
                    <a:pt x="4317523" y="1693282"/>
                  </a:lnTo>
                  <a:lnTo>
                    <a:pt x="4307612" y="1693282"/>
                  </a:lnTo>
                  <a:lnTo>
                    <a:pt x="4303595" y="1689243"/>
                  </a:lnTo>
                  <a:lnTo>
                    <a:pt x="4303595" y="1679372"/>
                  </a:lnTo>
                  <a:close/>
                  <a:moveTo>
                    <a:pt x="5264784" y="1675318"/>
                  </a:moveTo>
                  <a:lnTo>
                    <a:pt x="5274694" y="1675318"/>
                  </a:lnTo>
                  <a:lnTo>
                    <a:pt x="5278713" y="1679357"/>
                  </a:lnTo>
                  <a:lnTo>
                    <a:pt x="5278713" y="1689227"/>
                  </a:lnTo>
                  <a:lnTo>
                    <a:pt x="5274694" y="1693266"/>
                  </a:lnTo>
                  <a:lnTo>
                    <a:pt x="5264784" y="1693266"/>
                  </a:lnTo>
                  <a:lnTo>
                    <a:pt x="5260765" y="1689227"/>
                  </a:lnTo>
                  <a:lnTo>
                    <a:pt x="5260765" y="1679357"/>
                  </a:lnTo>
                  <a:close/>
                  <a:moveTo>
                    <a:pt x="5025470" y="1675318"/>
                  </a:moveTo>
                  <a:lnTo>
                    <a:pt x="5035381" y="1675318"/>
                  </a:lnTo>
                  <a:lnTo>
                    <a:pt x="5039400" y="1679357"/>
                  </a:lnTo>
                  <a:lnTo>
                    <a:pt x="5039400" y="1689227"/>
                  </a:lnTo>
                  <a:lnTo>
                    <a:pt x="5035381" y="1693266"/>
                  </a:lnTo>
                  <a:lnTo>
                    <a:pt x="5025470" y="1693266"/>
                  </a:lnTo>
                  <a:lnTo>
                    <a:pt x="5021451" y="1689227"/>
                  </a:lnTo>
                  <a:lnTo>
                    <a:pt x="5021451" y="1679357"/>
                  </a:lnTo>
                  <a:close/>
                  <a:moveTo>
                    <a:pt x="4786241" y="1675318"/>
                  </a:moveTo>
                  <a:lnTo>
                    <a:pt x="4796152" y="1675318"/>
                  </a:lnTo>
                  <a:lnTo>
                    <a:pt x="4800171" y="1679357"/>
                  </a:lnTo>
                  <a:lnTo>
                    <a:pt x="4800171" y="1689227"/>
                  </a:lnTo>
                  <a:lnTo>
                    <a:pt x="4796152" y="1693266"/>
                  </a:lnTo>
                  <a:lnTo>
                    <a:pt x="4786241" y="1693266"/>
                  </a:lnTo>
                  <a:lnTo>
                    <a:pt x="4782224" y="1689227"/>
                  </a:lnTo>
                  <a:lnTo>
                    <a:pt x="4782224" y="1679357"/>
                  </a:lnTo>
                  <a:close/>
                  <a:moveTo>
                    <a:pt x="5743412" y="1675316"/>
                  </a:moveTo>
                  <a:lnTo>
                    <a:pt x="5753323" y="1675316"/>
                  </a:lnTo>
                  <a:lnTo>
                    <a:pt x="5757342" y="1679356"/>
                  </a:lnTo>
                  <a:lnTo>
                    <a:pt x="5757342" y="1689227"/>
                  </a:lnTo>
                  <a:lnTo>
                    <a:pt x="5753323" y="1693266"/>
                  </a:lnTo>
                  <a:lnTo>
                    <a:pt x="5743412" y="1693266"/>
                  </a:lnTo>
                  <a:lnTo>
                    <a:pt x="5739393" y="1689227"/>
                  </a:lnTo>
                  <a:lnTo>
                    <a:pt x="5739393" y="1679356"/>
                  </a:lnTo>
                  <a:close/>
                  <a:moveTo>
                    <a:pt x="5504099" y="1675316"/>
                  </a:moveTo>
                  <a:lnTo>
                    <a:pt x="5514010" y="1675316"/>
                  </a:lnTo>
                  <a:lnTo>
                    <a:pt x="5518029" y="1679356"/>
                  </a:lnTo>
                  <a:lnTo>
                    <a:pt x="5518029" y="1689227"/>
                  </a:lnTo>
                  <a:lnTo>
                    <a:pt x="5514010" y="1693266"/>
                  </a:lnTo>
                  <a:lnTo>
                    <a:pt x="5504099" y="1693266"/>
                  </a:lnTo>
                  <a:lnTo>
                    <a:pt x="5500080" y="1689227"/>
                  </a:lnTo>
                  <a:lnTo>
                    <a:pt x="5500080" y="1679356"/>
                  </a:lnTo>
                  <a:close/>
                  <a:moveTo>
                    <a:pt x="6461356" y="1675301"/>
                  </a:moveTo>
                  <a:lnTo>
                    <a:pt x="6471266" y="1675301"/>
                  </a:lnTo>
                  <a:lnTo>
                    <a:pt x="6475285" y="1679339"/>
                  </a:lnTo>
                  <a:lnTo>
                    <a:pt x="6475285" y="1689210"/>
                  </a:lnTo>
                  <a:lnTo>
                    <a:pt x="6471266" y="1693249"/>
                  </a:lnTo>
                  <a:lnTo>
                    <a:pt x="6461356" y="1693249"/>
                  </a:lnTo>
                  <a:lnTo>
                    <a:pt x="6457337" y="1689210"/>
                  </a:lnTo>
                  <a:lnTo>
                    <a:pt x="6457337" y="1679339"/>
                  </a:lnTo>
                  <a:close/>
                  <a:moveTo>
                    <a:pt x="6222042" y="1675301"/>
                  </a:moveTo>
                  <a:lnTo>
                    <a:pt x="6231952" y="1675301"/>
                  </a:lnTo>
                  <a:lnTo>
                    <a:pt x="6235971" y="1679339"/>
                  </a:lnTo>
                  <a:lnTo>
                    <a:pt x="6235971" y="1689211"/>
                  </a:lnTo>
                  <a:lnTo>
                    <a:pt x="6231952" y="1693249"/>
                  </a:lnTo>
                  <a:lnTo>
                    <a:pt x="6222042" y="1693249"/>
                  </a:lnTo>
                  <a:lnTo>
                    <a:pt x="6218023" y="1689211"/>
                  </a:lnTo>
                  <a:lnTo>
                    <a:pt x="6218023" y="1679339"/>
                  </a:lnTo>
                  <a:close/>
                  <a:moveTo>
                    <a:pt x="5982729" y="1675301"/>
                  </a:moveTo>
                  <a:lnTo>
                    <a:pt x="5992639" y="1675301"/>
                  </a:lnTo>
                  <a:lnTo>
                    <a:pt x="5996658" y="1679339"/>
                  </a:lnTo>
                  <a:lnTo>
                    <a:pt x="5996658" y="1689211"/>
                  </a:lnTo>
                  <a:lnTo>
                    <a:pt x="5992639" y="1693251"/>
                  </a:lnTo>
                  <a:lnTo>
                    <a:pt x="5982729" y="1693251"/>
                  </a:lnTo>
                  <a:lnTo>
                    <a:pt x="5978710" y="1689211"/>
                  </a:lnTo>
                  <a:lnTo>
                    <a:pt x="5978710" y="1679339"/>
                  </a:lnTo>
                  <a:close/>
                  <a:moveTo>
                    <a:pt x="6939983" y="1675300"/>
                  </a:moveTo>
                  <a:lnTo>
                    <a:pt x="6949894" y="1675300"/>
                  </a:lnTo>
                  <a:lnTo>
                    <a:pt x="6953913" y="1679339"/>
                  </a:lnTo>
                  <a:lnTo>
                    <a:pt x="6953913" y="1689210"/>
                  </a:lnTo>
                  <a:lnTo>
                    <a:pt x="6949894" y="1693249"/>
                  </a:lnTo>
                  <a:lnTo>
                    <a:pt x="6939983" y="1693249"/>
                  </a:lnTo>
                  <a:lnTo>
                    <a:pt x="6935964" y="1689210"/>
                  </a:lnTo>
                  <a:lnTo>
                    <a:pt x="6935964" y="1679339"/>
                  </a:lnTo>
                  <a:close/>
                  <a:moveTo>
                    <a:pt x="6700670" y="1675300"/>
                  </a:moveTo>
                  <a:lnTo>
                    <a:pt x="6710581" y="1675300"/>
                  </a:lnTo>
                  <a:lnTo>
                    <a:pt x="6714600" y="1679339"/>
                  </a:lnTo>
                  <a:lnTo>
                    <a:pt x="6714600" y="1689210"/>
                  </a:lnTo>
                  <a:lnTo>
                    <a:pt x="6710581" y="1693249"/>
                  </a:lnTo>
                  <a:lnTo>
                    <a:pt x="6700670" y="1693249"/>
                  </a:lnTo>
                  <a:lnTo>
                    <a:pt x="6696651" y="1689210"/>
                  </a:lnTo>
                  <a:lnTo>
                    <a:pt x="6696651" y="1679339"/>
                  </a:lnTo>
                  <a:close/>
                  <a:moveTo>
                    <a:pt x="8136553" y="1675285"/>
                  </a:moveTo>
                  <a:lnTo>
                    <a:pt x="8146464" y="1675285"/>
                  </a:lnTo>
                  <a:lnTo>
                    <a:pt x="8150483" y="1679323"/>
                  </a:lnTo>
                  <a:lnTo>
                    <a:pt x="8150483" y="1689193"/>
                  </a:lnTo>
                  <a:lnTo>
                    <a:pt x="8146464" y="1693232"/>
                  </a:lnTo>
                  <a:lnTo>
                    <a:pt x="8136553" y="1693232"/>
                  </a:lnTo>
                  <a:lnTo>
                    <a:pt x="8132534" y="1689193"/>
                  </a:lnTo>
                  <a:lnTo>
                    <a:pt x="8132534" y="1679323"/>
                  </a:lnTo>
                  <a:close/>
                  <a:moveTo>
                    <a:pt x="7897241" y="1675285"/>
                  </a:moveTo>
                  <a:lnTo>
                    <a:pt x="7907151" y="1675285"/>
                  </a:lnTo>
                  <a:lnTo>
                    <a:pt x="7911170" y="1679323"/>
                  </a:lnTo>
                  <a:lnTo>
                    <a:pt x="7911170" y="1689193"/>
                  </a:lnTo>
                  <a:lnTo>
                    <a:pt x="7907151" y="1693232"/>
                  </a:lnTo>
                  <a:lnTo>
                    <a:pt x="7897241" y="1693232"/>
                  </a:lnTo>
                  <a:lnTo>
                    <a:pt x="7893222" y="1689193"/>
                  </a:lnTo>
                  <a:lnTo>
                    <a:pt x="7893222" y="1679323"/>
                  </a:lnTo>
                  <a:close/>
                  <a:moveTo>
                    <a:pt x="7657926" y="1675285"/>
                  </a:moveTo>
                  <a:lnTo>
                    <a:pt x="7667836" y="1675285"/>
                  </a:lnTo>
                  <a:lnTo>
                    <a:pt x="7671855" y="1679323"/>
                  </a:lnTo>
                  <a:lnTo>
                    <a:pt x="7671855" y="1689193"/>
                  </a:lnTo>
                  <a:lnTo>
                    <a:pt x="7667836" y="1693232"/>
                  </a:lnTo>
                  <a:lnTo>
                    <a:pt x="7657926" y="1693232"/>
                  </a:lnTo>
                  <a:lnTo>
                    <a:pt x="7653906" y="1689193"/>
                  </a:lnTo>
                  <a:lnTo>
                    <a:pt x="7653906" y="1679323"/>
                  </a:lnTo>
                  <a:close/>
                  <a:moveTo>
                    <a:pt x="7418611" y="1675285"/>
                  </a:moveTo>
                  <a:lnTo>
                    <a:pt x="7428521" y="1675285"/>
                  </a:lnTo>
                  <a:lnTo>
                    <a:pt x="7432540" y="1679323"/>
                  </a:lnTo>
                  <a:lnTo>
                    <a:pt x="7432540" y="1689195"/>
                  </a:lnTo>
                  <a:lnTo>
                    <a:pt x="7428521" y="1693232"/>
                  </a:lnTo>
                  <a:lnTo>
                    <a:pt x="7418611" y="1693232"/>
                  </a:lnTo>
                  <a:lnTo>
                    <a:pt x="7414592" y="1689195"/>
                  </a:lnTo>
                  <a:lnTo>
                    <a:pt x="7414592" y="1679323"/>
                  </a:lnTo>
                  <a:close/>
                  <a:moveTo>
                    <a:pt x="7179298" y="1675285"/>
                  </a:moveTo>
                  <a:lnTo>
                    <a:pt x="7189209" y="1675285"/>
                  </a:lnTo>
                  <a:lnTo>
                    <a:pt x="7193228" y="1679323"/>
                  </a:lnTo>
                  <a:lnTo>
                    <a:pt x="7193228" y="1689195"/>
                  </a:lnTo>
                  <a:lnTo>
                    <a:pt x="7189209" y="1693234"/>
                  </a:lnTo>
                  <a:lnTo>
                    <a:pt x="7179298" y="1693234"/>
                  </a:lnTo>
                  <a:lnTo>
                    <a:pt x="7175279" y="1689195"/>
                  </a:lnTo>
                  <a:lnTo>
                    <a:pt x="7175279" y="1679323"/>
                  </a:lnTo>
                  <a:close/>
                  <a:moveTo>
                    <a:pt x="9333125" y="1675268"/>
                  </a:moveTo>
                  <a:lnTo>
                    <a:pt x="9343036" y="1675268"/>
                  </a:lnTo>
                  <a:lnTo>
                    <a:pt x="9347055" y="1679306"/>
                  </a:lnTo>
                  <a:lnTo>
                    <a:pt x="9347055" y="1689177"/>
                  </a:lnTo>
                  <a:lnTo>
                    <a:pt x="9343036" y="1693216"/>
                  </a:lnTo>
                  <a:lnTo>
                    <a:pt x="9333125" y="1693216"/>
                  </a:lnTo>
                  <a:lnTo>
                    <a:pt x="9329106" y="1689177"/>
                  </a:lnTo>
                  <a:lnTo>
                    <a:pt x="9329106" y="1679306"/>
                  </a:lnTo>
                  <a:close/>
                  <a:moveTo>
                    <a:pt x="9093811" y="1675268"/>
                  </a:moveTo>
                  <a:lnTo>
                    <a:pt x="9103722" y="1675268"/>
                  </a:lnTo>
                  <a:lnTo>
                    <a:pt x="9107741" y="1679306"/>
                  </a:lnTo>
                  <a:lnTo>
                    <a:pt x="9107741" y="1689177"/>
                  </a:lnTo>
                  <a:lnTo>
                    <a:pt x="9103722" y="1693217"/>
                  </a:lnTo>
                  <a:lnTo>
                    <a:pt x="9093811" y="1693217"/>
                  </a:lnTo>
                  <a:lnTo>
                    <a:pt x="9089792" y="1689177"/>
                  </a:lnTo>
                  <a:lnTo>
                    <a:pt x="9089792" y="1679306"/>
                  </a:lnTo>
                  <a:close/>
                  <a:moveTo>
                    <a:pt x="8854496" y="1675268"/>
                  </a:moveTo>
                  <a:lnTo>
                    <a:pt x="8864407" y="1675268"/>
                  </a:lnTo>
                  <a:lnTo>
                    <a:pt x="8868426" y="1679307"/>
                  </a:lnTo>
                  <a:lnTo>
                    <a:pt x="8868426" y="1689177"/>
                  </a:lnTo>
                  <a:lnTo>
                    <a:pt x="8864407" y="1693217"/>
                  </a:lnTo>
                  <a:lnTo>
                    <a:pt x="8854496" y="1693217"/>
                  </a:lnTo>
                  <a:lnTo>
                    <a:pt x="8850477" y="1689177"/>
                  </a:lnTo>
                  <a:lnTo>
                    <a:pt x="8850477" y="1679307"/>
                  </a:lnTo>
                  <a:close/>
                  <a:moveTo>
                    <a:pt x="8615184" y="1675268"/>
                  </a:moveTo>
                  <a:lnTo>
                    <a:pt x="8625095" y="1675268"/>
                  </a:lnTo>
                  <a:lnTo>
                    <a:pt x="8629114" y="1679307"/>
                  </a:lnTo>
                  <a:lnTo>
                    <a:pt x="8629114" y="1689178"/>
                  </a:lnTo>
                  <a:lnTo>
                    <a:pt x="8625095" y="1693217"/>
                  </a:lnTo>
                  <a:lnTo>
                    <a:pt x="8615184" y="1693217"/>
                  </a:lnTo>
                  <a:lnTo>
                    <a:pt x="8611165" y="1689178"/>
                  </a:lnTo>
                  <a:lnTo>
                    <a:pt x="8611165" y="1679307"/>
                  </a:lnTo>
                  <a:close/>
                  <a:moveTo>
                    <a:pt x="8375869" y="1675268"/>
                  </a:moveTo>
                  <a:lnTo>
                    <a:pt x="8385779" y="1675268"/>
                  </a:lnTo>
                  <a:lnTo>
                    <a:pt x="8389799" y="1679307"/>
                  </a:lnTo>
                  <a:lnTo>
                    <a:pt x="8389799" y="1689178"/>
                  </a:lnTo>
                  <a:lnTo>
                    <a:pt x="8385779" y="1693217"/>
                  </a:lnTo>
                  <a:lnTo>
                    <a:pt x="8375869" y="1693217"/>
                  </a:lnTo>
                  <a:lnTo>
                    <a:pt x="8371850" y="1689178"/>
                  </a:lnTo>
                  <a:lnTo>
                    <a:pt x="8371850" y="1679307"/>
                  </a:lnTo>
                  <a:close/>
                  <a:moveTo>
                    <a:pt x="961270" y="1675255"/>
                  </a:moveTo>
                  <a:lnTo>
                    <a:pt x="971180" y="1675255"/>
                  </a:lnTo>
                  <a:lnTo>
                    <a:pt x="975199" y="1679292"/>
                  </a:lnTo>
                  <a:lnTo>
                    <a:pt x="975199" y="1689163"/>
                  </a:lnTo>
                  <a:lnTo>
                    <a:pt x="971180" y="1693202"/>
                  </a:lnTo>
                  <a:lnTo>
                    <a:pt x="961270" y="1693202"/>
                  </a:lnTo>
                  <a:lnTo>
                    <a:pt x="957251" y="1689163"/>
                  </a:lnTo>
                  <a:lnTo>
                    <a:pt x="957251" y="1679292"/>
                  </a:lnTo>
                  <a:close/>
                  <a:moveTo>
                    <a:pt x="1679215" y="1675254"/>
                  </a:moveTo>
                  <a:lnTo>
                    <a:pt x="1689126" y="1675254"/>
                  </a:lnTo>
                  <a:lnTo>
                    <a:pt x="1693145" y="1679292"/>
                  </a:lnTo>
                  <a:lnTo>
                    <a:pt x="1693145" y="1689163"/>
                  </a:lnTo>
                  <a:lnTo>
                    <a:pt x="1689126" y="1693202"/>
                  </a:lnTo>
                  <a:lnTo>
                    <a:pt x="1679215" y="1693202"/>
                  </a:lnTo>
                  <a:lnTo>
                    <a:pt x="1675196" y="1689163"/>
                  </a:lnTo>
                  <a:lnTo>
                    <a:pt x="1675196" y="1679292"/>
                  </a:lnTo>
                  <a:close/>
                  <a:moveTo>
                    <a:pt x="1439898" y="1675254"/>
                  </a:moveTo>
                  <a:lnTo>
                    <a:pt x="1449808" y="1675254"/>
                  </a:lnTo>
                  <a:lnTo>
                    <a:pt x="1453828" y="1679292"/>
                  </a:lnTo>
                  <a:lnTo>
                    <a:pt x="1453828" y="1689163"/>
                  </a:lnTo>
                  <a:lnTo>
                    <a:pt x="1449808" y="1693202"/>
                  </a:lnTo>
                  <a:lnTo>
                    <a:pt x="1439898" y="1693202"/>
                  </a:lnTo>
                  <a:lnTo>
                    <a:pt x="1435880" y="1689163"/>
                  </a:lnTo>
                  <a:lnTo>
                    <a:pt x="1435880" y="1679292"/>
                  </a:lnTo>
                  <a:close/>
                  <a:moveTo>
                    <a:pt x="1200583" y="1675254"/>
                  </a:moveTo>
                  <a:lnTo>
                    <a:pt x="1210493" y="1675254"/>
                  </a:lnTo>
                  <a:lnTo>
                    <a:pt x="1214511" y="1679292"/>
                  </a:lnTo>
                  <a:lnTo>
                    <a:pt x="1214511" y="1689163"/>
                  </a:lnTo>
                  <a:lnTo>
                    <a:pt x="1210493" y="1693202"/>
                  </a:lnTo>
                  <a:lnTo>
                    <a:pt x="1200583" y="1693202"/>
                  </a:lnTo>
                  <a:lnTo>
                    <a:pt x="1196564" y="1689163"/>
                  </a:lnTo>
                  <a:lnTo>
                    <a:pt x="1196564" y="1679292"/>
                  </a:lnTo>
                  <a:close/>
                  <a:moveTo>
                    <a:pt x="9572438" y="1675251"/>
                  </a:moveTo>
                  <a:lnTo>
                    <a:pt x="9582349" y="1675251"/>
                  </a:lnTo>
                  <a:lnTo>
                    <a:pt x="9586368" y="1679290"/>
                  </a:lnTo>
                  <a:lnTo>
                    <a:pt x="9586368" y="1689161"/>
                  </a:lnTo>
                  <a:lnTo>
                    <a:pt x="9582349" y="1693201"/>
                  </a:lnTo>
                  <a:lnTo>
                    <a:pt x="9572438" y="1693201"/>
                  </a:lnTo>
                  <a:lnTo>
                    <a:pt x="9568419" y="1689161"/>
                  </a:lnTo>
                  <a:lnTo>
                    <a:pt x="9568419" y="1679290"/>
                  </a:lnTo>
                  <a:close/>
                  <a:moveTo>
                    <a:pt x="1918514" y="1675243"/>
                  </a:moveTo>
                  <a:lnTo>
                    <a:pt x="1928424" y="1675243"/>
                  </a:lnTo>
                  <a:lnTo>
                    <a:pt x="1932443" y="1679282"/>
                  </a:lnTo>
                  <a:lnTo>
                    <a:pt x="1932443" y="1689153"/>
                  </a:lnTo>
                  <a:lnTo>
                    <a:pt x="1928424" y="1693191"/>
                  </a:lnTo>
                  <a:lnTo>
                    <a:pt x="1918514" y="1693191"/>
                  </a:lnTo>
                  <a:lnTo>
                    <a:pt x="1914494" y="1689153"/>
                  </a:lnTo>
                  <a:lnTo>
                    <a:pt x="1914494" y="1679282"/>
                  </a:lnTo>
                  <a:close/>
                  <a:moveTo>
                    <a:pt x="2157821" y="1675240"/>
                  </a:moveTo>
                  <a:lnTo>
                    <a:pt x="2167732" y="1675240"/>
                  </a:lnTo>
                  <a:lnTo>
                    <a:pt x="2171751" y="1679279"/>
                  </a:lnTo>
                  <a:lnTo>
                    <a:pt x="2171751" y="1689149"/>
                  </a:lnTo>
                  <a:lnTo>
                    <a:pt x="2167732" y="1693188"/>
                  </a:lnTo>
                  <a:lnTo>
                    <a:pt x="2157821" y="1693188"/>
                  </a:lnTo>
                  <a:lnTo>
                    <a:pt x="2153803" y="1689149"/>
                  </a:lnTo>
                  <a:lnTo>
                    <a:pt x="2153803" y="1679279"/>
                  </a:lnTo>
                  <a:close/>
                  <a:moveTo>
                    <a:pt x="243346" y="1675216"/>
                  </a:moveTo>
                  <a:lnTo>
                    <a:pt x="253257" y="1675216"/>
                  </a:lnTo>
                  <a:lnTo>
                    <a:pt x="257276" y="1679254"/>
                  </a:lnTo>
                  <a:lnTo>
                    <a:pt x="257276" y="1689125"/>
                  </a:lnTo>
                  <a:lnTo>
                    <a:pt x="253257" y="1693164"/>
                  </a:lnTo>
                  <a:lnTo>
                    <a:pt x="243346" y="1693164"/>
                  </a:lnTo>
                  <a:lnTo>
                    <a:pt x="239327" y="1689125"/>
                  </a:lnTo>
                  <a:lnTo>
                    <a:pt x="239327" y="1679254"/>
                  </a:lnTo>
                  <a:close/>
                  <a:moveTo>
                    <a:pt x="4034" y="1675216"/>
                  </a:moveTo>
                  <a:lnTo>
                    <a:pt x="13943" y="1675216"/>
                  </a:lnTo>
                  <a:lnTo>
                    <a:pt x="17962" y="1679254"/>
                  </a:lnTo>
                  <a:lnTo>
                    <a:pt x="17962" y="1689125"/>
                  </a:lnTo>
                  <a:lnTo>
                    <a:pt x="13943" y="1693164"/>
                  </a:lnTo>
                  <a:lnTo>
                    <a:pt x="4034" y="1693164"/>
                  </a:lnTo>
                  <a:lnTo>
                    <a:pt x="14" y="1689125"/>
                  </a:lnTo>
                  <a:lnTo>
                    <a:pt x="14" y="1679254"/>
                  </a:lnTo>
                  <a:close/>
                  <a:moveTo>
                    <a:pt x="721972" y="1675216"/>
                  </a:moveTo>
                  <a:lnTo>
                    <a:pt x="731882" y="1675216"/>
                  </a:lnTo>
                  <a:lnTo>
                    <a:pt x="735902" y="1679254"/>
                  </a:lnTo>
                  <a:lnTo>
                    <a:pt x="735902" y="1689125"/>
                  </a:lnTo>
                  <a:lnTo>
                    <a:pt x="731882" y="1693164"/>
                  </a:lnTo>
                  <a:lnTo>
                    <a:pt x="721972" y="1693164"/>
                  </a:lnTo>
                  <a:lnTo>
                    <a:pt x="717954" y="1689125"/>
                  </a:lnTo>
                  <a:lnTo>
                    <a:pt x="717954" y="1679254"/>
                  </a:lnTo>
                  <a:close/>
                  <a:moveTo>
                    <a:pt x="482660" y="1675216"/>
                  </a:moveTo>
                  <a:lnTo>
                    <a:pt x="492571" y="1675216"/>
                  </a:lnTo>
                  <a:lnTo>
                    <a:pt x="496589" y="1679254"/>
                  </a:lnTo>
                  <a:lnTo>
                    <a:pt x="496589" y="1689125"/>
                  </a:lnTo>
                  <a:lnTo>
                    <a:pt x="492571" y="1693164"/>
                  </a:lnTo>
                  <a:lnTo>
                    <a:pt x="482660" y="1693164"/>
                  </a:lnTo>
                  <a:lnTo>
                    <a:pt x="478641" y="1689125"/>
                  </a:lnTo>
                  <a:lnTo>
                    <a:pt x="478641" y="1679254"/>
                  </a:lnTo>
                  <a:close/>
                  <a:moveTo>
                    <a:pt x="2393104" y="1436001"/>
                  </a:moveTo>
                  <a:lnTo>
                    <a:pt x="2403015" y="1436001"/>
                  </a:lnTo>
                  <a:lnTo>
                    <a:pt x="2407034" y="1440038"/>
                  </a:lnTo>
                  <a:lnTo>
                    <a:pt x="2407034" y="1449910"/>
                  </a:lnTo>
                  <a:lnTo>
                    <a:pt x="2403015" y="1453949"/>
                  </a:lnTo>
                  <a:lnTo>
                    <a:pt x="2393104" y="1453949"/>
                  </a:lnTo>
                  <a:lnTo>
                    <a:pt x="2389087" y="1449910"/>
                  </a:lnTo>
                  <a:lnTo>
                    <a:pt x="2389087" y="1440038"/>
                  </a:lnTo>
                  <a:close/>
                  <a:moveTo>
                    <a:pt x="3350359" y="1436000"/>
                  </a:moveTo>
                  <a:lnTo>
                    <a:pt x="3360268" y="1436000"/>
                  </a:lnTo>
                  <a:lnTo>
                    <a:pt x="3364287" y="1440038"/>
                  </a:lnTo>
                  <a:lnTo>
                    <a:pt x="3364287" y="1449909"/>
                  </a:lnTo>
                  <a:lnTo>
                    <a:pt x="3360268" y="1453949"/>
                  </a:lnTo>
                  <a:lnTo>
                    <a:pt x="3350359" y="1453949"/>
                  </a:lnTo>
                  <a:lnTo>
                    <a:pt x="3346340" y="1449909"/>
                  </a:lnTo>
                  <a:lnTo>
                    <a:pt x="3346340" y="1440038"/>
                  </a:lnTo>
                  <a:close/>
                  <a:moveTo>
                    <a:pt x="3111048" y="1436000"/>
                  </a:moveTo>
                  <a:lnTo>
                    <a:pt x="3120959" y="1436000"/>
                  </a:lnTo>
                  <a:lnTo>
                    <a:pt x="3124977" y="1440038"/>
                  </a:lnTo>
                  <a:lnTo>
                    <a:pt x="3124977" y="1449910"/>
                  </a:lnTo>
                  <a:lnTo>
                    <a:pt x="3120959" y="1453949"/>
                  </a:lnTo>
                  <a:lnTo>
                    <a:pt x="3111048" y="1453949"/>
                  </a:lnTo>
                  <a:lnTo>
                    <a:pt x="3107029" y="1449910"/>
                  </a:lnTo>
                  <a:lnTo>
                    <a:pt x="3107029" y="1440038"/>
                  </a:lnTo>
                  <a:close/>
                  <a:moveTo>
                    <a:pt x="2871737" y="1436000"/>
                  </a:moveTo>
                  <a:lnTo>
                    <a:pt x="2881646" y="1436000"/>
                  </a:lnTo>
                  <a:lnTo>
                    <a:pt x="2885666" y="1440038"/>
                  </a:lnTo>
                  <a:lnTo>
                    <a:pt x="2885666" y="1449910"/>
                  </a:lnTo>
                  <a:lnTo>
                    <a:pt x="2881646" y="1453949"/>
                  </a:lnTo>
                  <a:lnTo>
                    <a:pt x="2871737" y="1453949"/>
                  </a:lnTo>
                  <a:lnTo>
                    <a:pt x="2867717" y="1449910"/>
                  </a:lnTo>
                  <a:lnTo>
                    <a:pt x="2867717" y="1440038"/>
                  </a:lnTo>
                  <a:close/>
                  <a:moveTo>
                    <a:pt x="2632423" y="1436000"/>
                  </a:moveTo>
                  <a:lnTo>
                    <a:pt x="2642334" y="1436000"/>
                  </a:lnTo>
                  <a:lnTo>
                    <a:pt x="2646352" y="1440038"/>
                  </a:lnTo>
                  <a:lnTo>
                    <a:pt x="2646352" y="1449910"/>
                  </a:lnTo>
                  <a:lnTo>
                    <a:pt x="2642334" y="1453949"/>
                  </a:lnTo>
                  <a:lnTo>
                    <a:pt x="2632423" y="1453949"/>
                  </a:lnTo>
                  <a:lnTo>
                    <a:pt x="2628404" y="1449910"/>
                  </a:lnTo>
                  <a:lnTo>
                    <a:pt x="2628404" y="1440038"/>
                  </a:lnTo>
                  <a:close/>
                  <a:moveTo>
                    <a:pt x="3589676" y="1435986"/>
                  </a:moveTo>
                  <a:lnTo>
                    <a:pt x="3599585" y="1435986"/>
                  </a:lnTo>
                  <a:lnTo>
                    <a:pt x="3603604" y="1440024"/>
                  </a:lnTo>
                  <a:lnTo>
                    <a:pt x="3603604" y="1449895"/>
                  </a:lnTo>
                  <a:lnTo>
                    <a:pt x="3599585" y="1453934"/>
                  </a:lnTo>
                  <a:lnTo>
                    <a:pt x="3589676" y="1453934"/>
                  </a:lnTo>
                  <a:lnTo>
                    <a:pt x="3585657" y="1449895"/>
                  </a:lnTo>
                  <a:lnTo>
                    <a:pt x="3585657" y="1440024"/>
                  </a:lnTo>
                  <a:close/>
                  <a:moveTo>
                    <a:pt x="4546929" y="1435986"/>
                  </a:moveTo>
                  <a:lnTo>
                    <a:pt x="4556840" y="1435986"/>
                  </a:lnTo>
                  <a:lnTo>
                    <a:pt x="4560859" y="1440024"/>
                  </a:lnTo>
                  <a:lnTo>
                    <a:pt x="4560859" y="1449895"/>
                  </a:lnTo>
                  <a:lnTo>
                    <a:pt x="4556840" y="1453934"/>
                  </a:lnTo>
                  <a:lnTo>
                    <a:pt x="4546929" y="1453934"/>
                  </a:lnTo>
                  <a:lnTo>
                    <a:pt x="4542910" y="1449895"/>
                  </a:lnTo>
                  <a:lnTo>
                    <a:pt x="4542910" y="1440024"/>
                  </a:lnTo>
                  <a:close/>
                  <a:moveTo>
                    <a:pt x="4307612" y="1435986"/>
                  </a:moveTo>
                  <a:lnTo>
                    <a:pt x="4317523" y="1435986"/>
                  </a:lnTo>
                  <a:lnTo>
                    <a:pt x="4321543" y="1440024"/>
                  </a:lnTo>
                  <a:lnTo>
                    <a:pt x="4321543" y="1449895"/>
                  </a:lnTo>
                  <a:lnTo>
                    <a:pt x="4317523" y="1453934"/>
                  </a:lnTo>
                  <a:lnTo>
                    <a:pt x="4307612" y="1453934"/>
                  </a:lnTo>
                  <a:lnTo>
                    <a:pt x="4303595" y="1449895"/>
                  </a:lnTo>
                  <a:lnTo>
                    <a:pt x="4303595" y="1440024"/>
                  </a:lnTo>
                  <a:close/>
                  <a:moveTo>
                    <a:pt x="4068297" y="1435986"/>
                  </a:moveTo>
                  <a:lnTo>
                    <a:pt x="4078210" y="1435986"/>
                  </a:lnTo>
                  <a:lnTo>
                    <a:pt x="4082229" y="1440024"/>
                  </a:lnTo>
                  <a:lnTo>
                    <a:pt x="4082229" y="1449895"/>
                  </a:lnTo>
                  <a:lnTo>
                    <a:pt x="4078210" y="1453934"/>
                  </a:lnTo>
                  <a:lnTo>
                    <a:pt x="4068297" y="1453934"/>
                  </a:lnTo>
                  <a:lnTo>
                    <a:pt x="4064278" y="1449895"/>
                  </a:lnTo>
                  <a:lnTo>
                    <a:pt x="4064278" y="1440024"/>
                  </a:lnTo>
                  <a:close/>
                  <a:moveTo>
                    <a:pt x="3828990" y="1435986"/>
                  </a:moveTo>
                  <a:lnTo>
                    <a:pt x="3838899" y="1435986"/>
                  </a:lnTo>
                  <a:lnTo>
                    <a:pt x="3842917" y="1440024"/>
                  </a:lnTo>
                  <a:lnTo>
                    <a:pt x="3842917" y="1449895"/>
                  </a:lnTo>
                  <a:lnTo>
                    <a:pt x="3838899" y="1453934"/>
                  </a:lnTo>
                  <a:lnTo>
                    <a:pt x="3828990" y="1453934"/>
                  </a:lnTo>
                  <a:lnTo>
                    <a:pt x="3824971" y="1449895"/>
                  </a:lnTo>
                  <a:lnTo>
                    <a:pt x="3824971" y="1440024"/>
                  </a:lnTo>
                  <a:close/>
                  <a:moveTo>
                    <a:pt x="4786241" y="1435972"/>
                  </a:moveTo>
                  <a:lnTo>
                    <a:pt x="4796152" y="1435972"/>
                  </a:lnTo>
                  <a:lnTo>
                    <a:pt x="4800171" y="1440010"/>
                  </a:lnTo>
                  <a:lnTo>
                    <a:pt x="4800171" y="1449881"/>
                  </a:lnTo>
                  <a:lnTo>
                    <a:pt x="4796152" y="1453920"/>
                  </a:lnTo>
                  <a:lnTo>
                    <a:pt x="4786241" y="1453920"/>
                  </a:lnTo>
                  <a:lnTo>
                    <a:pt x="4782224" y="1449881"/>
                  </a:lnTo>
                  <a:lnTo>
                    <a:pt x="4782224" y="1440010"/>
                  </a:lnTo>
                  <a:close/>
                  <a:moveTo>
                    <a:pt x="5743412" y="1435971"/>
                  </a:moveTo>
                  <a:lnTo>
                    <a:pt x="5753323" y="1435971"/>
                  </a:lnTo>
                  <a:lnTo>
                    <a:pt x="5757342" y="1440010"/>
                  </a:lnTo>
                  <a:lnTo>
                    <a:pt x="5757342" y="1449880"/>
                  </a:lnTo>
                  <a:lnTo>
                    <a:pt x="5753323" y="1453919"/>
                  </a:lnTo>
                  <a:lnTo>
                    <a:pt x="5743412" y="1453919"/>
                  </a:lnTo>
                  <a:lnTo>
                    <a:pt x="5739393" y="1449880"/>
                  </a:lnTo>
                  <a:lnTo>
                    <a:pt x="5739393" y="1440010"/>
                  </a:lnTo>
                  <a:close/>
                  <a:moveTo>
                    <a:pt x="5504099" y="1435971"/>
                  </a:moveTo>
                  <a:lnTo>
                    <a:pt x="5514010" y="1435971"/>
                  </a:lnTo>
                  <a:lnTo>
                    <a:pt x="5518029" y="1440010"/>
                  </a:lnTo>
                  <a:lnTo>
                    <a:pt x="5518029" y="1449881"/>
                  </a:lnTo>
                  <a:lnTo>
                    <a:pt x="5514010" y="1453919"/>
                  </a:lnTo>
                  <a:lnTo>
                    <a:pt x="5504099" y="1453919"/>
                  </a:lnTo>
                  <a:lnTo>
                    <a:pt x="5500080" y="1449881"/>
                  </a:lnTo>
                  <a:lnTo>
                    <a:pt x="5500080" y="1440010"/>
                  </a:lnTo>
                  <a:close/>
                  <a:moveTo>
                    <a:pt x="5264784" y="1435971"/>
                  </a:moveTo>
                  <a:lnTo>
                    <a:pt x="5274694" y="1435971"/>
                  </a:lnTo>
                  <a:lnTo>
                    <a:pt x="5278713" y="1440010"/>
                  </a:lnTo>
                  <a:lnTo>
                    <a:pt x="5278713" y="1449881"/>
                  </a:lnTo>
                  <a:lnTo>
                    <a:pt x="5274694" y="1453920"/>
                  </a:lnTo>
                  <a:lnTo>
                    <a:pt x="5264784" y="1453920"/>
                  </a:lnTo>
                  <a:lnTo>
                    <a:pt x="5260765" y="1449881"/>
                  </a:lnTo>
                  <a:lnTo>
                    <a:pt x="5260765" y="1440010"/>
                  </a:lnTo>
                  <a:close/>
                  <a:moveTo>
                    <a:pt x="5025470" y="1435971"/>
                  </a:moveTo>
                  <a:lnTo>
                    <a:pt x="5035381" y="1435971"/>
                  </a:lnTo>
                  <a:lnTo>
                    <a:pt x="5039400" y="1440010"/>
                  </a:lnTo>
                  <a:lnTo>
                    <a:pt x="5039400" y="1449881"/>
                  </a:lnTo>
                  <a:lnTo>
                    <a:pt x="5035381" y="1453920"/>
                  </a:lnTo>
                  <a:lnTo>
                    <a:pt x="5025470" y="1453920"/>
                  </a:lnTo>
                  <a:lnTo>
                    <a:pt x="5021451" y="1449881"/>
                  </a:lnTo>
                  <a:lnTo>
                    <a:pt x="5021451" y="1440010"/>
                  </a:lnTo>
                  <a:close/>
                  <a:moveTo>
                    <a:pt x="5982729" y="1435958"/>
                  </a:moveTo>
                  <a:lnTo>
                    <a:pt x="5992639" y="1435958"/>
                  </a:lnTo>
                  <a:lnTo>
                    <a:pt x="5996658" y="1439995"/>
                  </a:lnTo>
                  <a:lnTo>
                    <a:pt x="5996658" y="1449866"/>
                  </a:lnTo>
                  <a:lnTo>
                    <a:pt x="5992639" y="1453905"/>
                  </a:lnTo>
                  <a:lnTo>
                    <a:pt x="5982729" y="1453905"/>
                  </a:lnTo>
                  <a:lnTo>
                    <a:pt x="5978710" y="1449866"/>
                  </a:lnTo>
                  <a:lnTo>
                    <a:pt x="5978710" y="1439995"/>
                  </a:lnTo>
                  <a:close/>
                  <a:moveTo>
                    <a:pt x="6939983" y="1435956"/>
                  </a:moveTo>
                  <a:lnTo>
                    <a:pt x="6949894" y="1435956"/>
                  </a:lnTo>
                  <a:lnTo>
                    <a:pt x="6953913" y="1439995"/>
                  </a:lnTo>
                  <a:lnTo>
                    <a:pt x="6953913" y="1449865"/>
                  </a:lnTo>
                  <a:lnTo>
                    <a:pt x="6949894" y="1453905"/>
                  </a:lnTo>
                  <a:lnTo>
                    <a:pt x="6939983" y="1453905"/>
                  </a:lnTo>
                  <a:lnTo>
                    <a:pt x="6935964" y="1449865"/>
                  </a:lnTo>
                  <a:lnTo>
                    <a:pt x="6935964" y="1439995"/>
                  </a:lnTo>
                  <a:close/>
                  <a:moveTo>
                    <a:pt x="6700670" y="1435956"/>
                  </a:moveTo>
                  <a:lnTo>
                    <a:pt x="6710581" y="1435956"/>
                  </a:lnTo>
                  <a:lnTo>
                    <a:pt x="6714600" y="1439995"/>
                  </a:lnTo>
                  <a:lnTo>
                    <a:pt x="6714600" y="1449866"/>
                  </a:lnTo>
                  <a:lnTo>
                    <a:pt x="6710581" y="1453905"/>
                  </a:lnTo>
                  <a:lnTo>
                    <a:pt x="6700670" y="1453905"/>
                  </a:lnTo>
                  <a:lnTo>
                    <a:pt x="6696651" y="1449866"/>
                  </a:lnTo>
                  <a:lnTo>
                    <a:pt x="6696651" y="1439995"/>
                  </a:lnTo>
                  <a:close/>
                  <a:moveTo>
                    <a:pt x="6461356" y="1435956"/>
                  </a:moveTo>
                  <a:lnTo>
                    <a:pt x="6471266" y="1435956"/>
                  </a:lnTo>
                  <a:lnTo>
                    <a:pt x="6475285" y="1439995"/>
                  </a:lnTo>
                  <a:lnTo>
                    <a:pt x="6475285" y="1449866"/>
                  </a:lnTo>
                  <a:lnTo>
                    <a:pt x="6471266" y="1453905"/>
                  </a:lnTo>
                  <a:lnTo>
                    <a:pt x="6461356" y="1453905"/>
                  </a:lnTo>
                  <a:lnTo>
                    <a:pt x="6457337" y="1449866"/>
                  </a:lnTo>
                  <a:lnTo>
                    <a:pt x="6457337" y="1439995"/>
                  </a:lnTo>
                  <a:close/>
                  <a:moveTo>
                    <a:pt x="6222042" y="1435956"/>
                  </a:moveTo>
                  <a:lnTo>
                    <a:pt x="6231952" y="1435956"/>
                  </a:lnTo>
                  <a:lnTo>
                    <a:pt x="6235971" y="1439995"/>
                  </a:lnTo>
                  <a:lnTo>
                    <a:pt x="6235971" y="1449866"/>
                  </a:lnTo>
                  <a:lnTo>
                    <a:pt x="6231952" y="1453905"/>
                  </a:lnTo>
                  <a:lnTo>
                    <a:pt x="6222042" y="1453905"/>
                  </a:lnTo>
                  <a:lnTo>
                    <a:pt x="6218023" y="1449866"/>
                  </a:lnTo>
                  <a:lnTo>
                    <a:pt x="6218023" y="1439995"/>
                  </a:lnTo>
                  <a:close/>
                  <a:moveTo>
                    <a:pt x="7179298" y="1435943"/>
                  </a:moveTo>
                  <a:lnTo>
                    <a:pt x="7189209" y="1435943"/>
                  </a:lnTo>
                  <a:lnTo>
                    <a:pt x="7193228" y="1439981"/>
                  </a:lnTo>
                  <a:lnTo>
                    <a:pt x="7193228" y="1449852"/>
                  </a:lnTo>
                  <a:lnTo>
                    <a:pt x="7189209" y="1453891"/>
                  </a:lnTo>
                  <a:lnTo>
                    <a:pt x="7179298" y="1453891"/>
                  </a:lnTo>
                  <a:lnTo>
                    <a:pt x="7175279" y="1449852"/>
                  </a:lnTo>
                  <a:lnTo>
                    <a:pt x="7175279" y="1439981"/>
                  </a:lnTo>
                  <a:close/>
                  <a:moveTo>
                    <a:pt x="8136553" y="1435943"/>
                  </a:moveTo>
                  <a:lnTo>
                    <a:pt x="8146464" y="1435943"/>
                  </a:lnTo>
                  <a:lnTo>
                    <a:pt x="8150483" y="1439980"/>
                  </a:lnTo>
                  <a:lnTo>
                    <a:pt x="8150483" y="1449851"/>
                  </a:lnTo>
                  <a:lnTo>
                    <a:pt x="8146464" y="1453890"/>
                  </a:lnTo>
                  <a:lnTo>
                    <a:pt x="8136553" y="1453890"/>
                  </a:lnTo>
                  <a:lnTo>
                    <a:pt x="8132534" y="1449851"/>
                  </a:lnTo>
                  <a:lnTo>
                    <a:pt x="8132534" y="1439980"/>
                  </a:lnTo>
                  <a:close/>
                  <a:moveTo>
                    <a:pt x="7897241" y="1435943"/>
                  </a:moveTo>
                  <a:lnTo>
                    <a:pt x="7907151" y="1435943"/>
                  </a:lnTo>
                  <a:lnTo>
                    <a:pt x="7911170" y="1439980"/>
                  </a:lnTo>
                  <a:lnTo>
                    <a:pt x="7911170" y="1449852"/>
                  </a:lnTo>
                  <a:lnTo>
                    <a:pt x="7907151" y="1453890"/>
                  </a:lnTo>
                  <a:lnTo>
                    <a:pt x="7897241" y="1453890"/>
                  </a:lnTo>
                  <a:lnTo>
                    <a:pt x="7893222" y="1449852"/>
                  </a:lnTo>
                  <a:lnTo>
                    <a:pt x="7893222" y="1439980"/>
                  </a:lnTo>
                  <a:close/>
                  <a:moveTo>
                    <a:pt x="7657926" y="1435943"/>
                  </a:moveTo>
                  <a:lnTo>
                    <a:pt x="7667836" y="1435943"/>
                  </a:lnTo>
                  <a:lnTo>
                    <a:pt x="7671855" y="1439980"/>
                  </a:lnTo>
                  <a:lnTo>
                    <a:pt x="7671855" y="1449852"/>
                  </a:lnTo>
                  <a:lnTo>
                    <a:pt x="7667836" y="1453891"/>
                  </a:lnTo>
                  <a:lnTo>
                    <a:pt x="7657926" y="1453891"/>
                  </a:lnTo>
                  <a:lnTo>
                    <a:pt x="7653906" y="1449852"/>
                  </a:lnTo>
                  <a:lnTo>
                    <a:pt x="7653906" y="1439980"/>
                  </a:lnTo>
                  <a:close/>
                  <a:moveTo>
                    <a:pt x="7418611" y="1435943"/>
                  </a:moveTo>
                  <a:lnTo>
                    <a:pt x="7428521" y="1435943"/>
                  </a:lnTo>
                  <a:lnTo>
                    <a:pt x="7432540" y="1439980"/>
                  </a:lnTo>
                  <a:lnTo>
                    <a:pt x="7432540" y="1449852"/>
                  </a:lnTo>
                  <a:lnTo>
                    <a:pt x="7428521" y="1453891"/>
                  </a:lnTo>
                  <a:lnTo>
                    <a:pt x="7418611" y="1453891"/>
                  </a:lnTo>
                  <a:lnTo>
                    <a:pt x="7414592" y="1449852"/>
                  </a:lnTo>
                  <a:lnTo>
                    <a:pt x="7414592" y="1439980"/>
                  </a:lnTo>
                  <a:close/>
                  <a:moveTo>
                    <a:pt x="8375869" y="1435928"/>
                  </a:moveTo>
                  <a:lnTo>
                    <a:pt x="8385779" y="1435928"/>
                  </a:lnTo>
                  <a:lnTo>
                    <a:pt x="8389799" y="1439967"/>
                  </a:lnTo>
                  <a:lnTo>
                    <a:pt x="8389799" y="1449837"/>
                  </a:lnTo>
                  <a:lnTo>
                    <a:pt x="8385779" y="1453877"/>
                  </a:lnTo>
                  <a:lnTo>
                    <a:pt x="8375869" y="1453877"/>
                  </a:lnTo>
                  <a:lnTo>
                    <a:pt x="8371850" y="1449837"/>
                  </a:lnTo>
                  <a:lnTo>
                    <a:pt x="8371850" y="1439967"/>
                  </a:lnTo>
                  <a:close/>
                  <a:moveTo>
                    <a:pt x="9333125" y="1435928"/>
                  </a:moveTo>
                  <a:lnTo>
                    <a:pt x="9343036" y="1435928"/>
                  </a:lnTo>
                  <a:lnTo>
                    <a:pt x="9347055" y="1439967"/>
                  </a:lnTo>
                  <a:lnTo>
                    <a:pt x="9347055" y="1449836"/>
                  </a:lnTo>
                  <a:lnTo>
                    <a:pt x="9343036" y="1453876"/>
                  </a:lnTo>
                  <a:lnTo>
                    <a:pt x="9333125" y="1453876"/>
                  </a:lnTo>
                  <a:lnTo>
                    <a:pt x="9329106" y="1449836"/>
                  </a:lnTo>
                  <a:lnTo>
                    <a:pt x="9329106" y="1439967"/>
                  </a:lnTo>
                  <a:close/>
                  <a:moveTo>
                    <a:pt x="9093811" y="1435928"/>
                  </a:moveTo>
                  <a:lnTo>
                    <a:pt x="9103722" y="1435928"/>
                  </a:lnTo>
                  <a:lnTo>
                    <a:pt x="9107741" y="1439967"/>
                  </a:lnTo>
                  <a:lnTo>
                    <a:pt x="9107741" y="1449837"/>
                  </a:lnTo>
                  <a:lnTo>
                    <a:pt x="9103722" y="1453876"/>
                  </a:lnTo>
                  <a:lnTo>
                    <a:pt x="9093811" y="1453876"/>
                  </a:lnTo>
                  <a:lnTo>
                    <a:pt x="9089792" y="1449837"/>
                  </a:lnTo>
                  <a:lnTo>
                    <a:pt x="9089792" y="1439967"/>
                  </a:lnTo>
                  <a:close/>
                  <a:moveTo>
                    <a:pt x="8854496" y="1435928"/>
                  </a:moveTo>
                  <a:lnTo>
                    <a:pt x="8864407" y="1435928"/>
                  </a:lnTo>
                  <a:lnTo>
                    <a:pt x="8868426" y="1439967"/>
                  </a:lnTo>
                  <a:lnTo>
                    <a:pt x="8868426" y="1449837"/>
                  </a:lnTo>
                  <a:lnTo>
                    <a:pt x="8864407" y="1453877"/>
                  </a:lnTo>
                  <a:lnTo>
                    <a:pt x="8854496" y="1453877"/>
                  </a:lnTo>
                  <a:lnTo>
                    <a:pt x="8850477" y="1449837"/>
                  </a:lnTo>
                  <a:lnTo>
                    <a:pt x="8850477" y="1439967"/>
                  </a:lnTo>
                  <a:close/>
                  <a:moveTo>
                    <a:pt x="8615184" y="1435928"/>
                  </a:moveTo>
                  <a:lnTo>
                    <a:pt x="8625095" y="1435928"/>
                  </a:lnTo>
                  <a:lnTo>
                    <a:pt x="8629114" y="1439967"/>
                  </a:lnTo>
                  <a:lnTo>
                    <a:pt x="8629114" y="1449837"/>
                  </a:lnTo>
                  <a:lnTo>
                    <a:pt x="8625095" y="1453877"/>
                  </a:lnTo>
                  <a:lnTo>
                    <a:pt x="8615184" y="1453877"/>
                  </a:lnTo>
                  <a:lnTo>
                    <a:pt x="8611165" y="1449837"/>
                  </a:lnTo>
                  <a:lnTo>
                    <a:pt x="8611165" y="1439967"/>
                  </a:lnTo>
                  <a:close/>
                  <a:moveTo>
                    <a:pt x="1679216" y="1435922"/>
                  </a:moveTo>
                  <a:lnTo>
                    <a:pt x="1689126" y="1435922"/>
                  </a:lnTo>
                  <a:lnTo>
                    <a:pt x="1693146" y="1439960"/>
                  </a:lnTo>
                  <a:lnTo>
                    <a:pt x="1693146" y="1449831"/>
                  </a:lnTo>
                  <a:lnTo>
                    <a:pt x="1689126" y="1453870"/>
                  </a:lnTo>
                  <a:lnTo>
                    <a:pt x="1679216" y="1453870"/>
                  </a:lnTo>
                  <a:lnTo>
                    <a:pt x="1675198" y="1449831"/>
                  </a:lnTo>
                  <a:lnTo>
                    <a:pt x="1675198" y="1439960"/>
                  </a:lnTo>
                  <a:close/>
                  <a:moveTo>
                    <a:pt x="1439900" y="1435922"/>
                  </a:moveTo>
                  <a:lnTo>
                    <a:pt x="1449810" y="1435922"/>
                  </a:lnTo>
                  <a:lnTo>
                    <a:pt x="1453828" y="1439960"/>
                  </a:lnTo>
                  <a:lnTo>
                    <a:pt x="1453828" y="1449831"/>
                  </a:lnTo>
                  <a:lnTo>
                    <a:pt x="1449810" y="1453870"/>
                  </a:lnTo>
                  <a:lnTo>
                    <a:pt x="1439900" y="1453870"/>
                  </a:lnTo>
                  <a:lnTo>
                    <a:pt x="1435880" y="1449831"/>
                  </a:lnTo>
                  <a:lnTo>
                    <a:pt x="1435880" y="1439960"/>
                  </a:lnTo>
                  <a:close/>
                  <a:moveTo>
                    <a:pt x="1200583" y="1435922"/>
                  </a:moveTo>
                  <a:lnTo>
                    <a:pt x="1210493" y="1435922"/>
                  </a:lnTo>
                  <a:lnTo>
                    <a:pt x="1214512" y="1439960"/>
                  </a:lnTo>
                  <a:lnTo>
                    <a:pt x="1214512" y="1449831"/>
                  </a:lnTo>
                  <a:lnTo>
                    <a:pt x="1210493" y="1453870"/>
                  </a:lnTo>
                  <a:lnTo>
                    <a:pt x="1200583" y="1453870"/>
                  </a:lnTo>
                  <a:lnTo>
                    <a:pt x="1196564" y="1449831"/>
                  </a:lnTo>
                  <a:lnTo>
                    <a:pt x="1196564" y="1439960"/>
                  </a:lnTo>
                  <a:close/>
                  <a:moveTo>
                    <a:pt x="961270" y="1435922"/>
                  </a:moveTo>
                  <a:lnTo>
                    <a:pt x="971181" y="1435922"/>
                  </a:lnTo>
                  <a:lnTo>
                    <a:pt x="975200" y="1439960"/>
                  </a:lnTo>
                  <a:lnTo>
                    <a:pt x="975200" y="1449831"/>
                  </a:lnTo>
                  <a:lnTo>
                    <a:pt x="971181" y="1453870"/>
                  </a:lnTo>
                  <a:lnTo>
                    <a:pt x="961270" y="1453870"/>
                  </a:lnTo>
                  <a:lnTo>
                    <a:pt x="957252" y="1449831"/>
                  </a:lnTo>
                  <a:lnTo>
                    <a:pt x="957252" y="1439960"/>
                  </a:lnTo>
                  <a:close/>
                  <a:moveTo>
                    <a:pt x="9572438" y="1435914"/>
                  </a:moveTo>
                  <a:lnTo>
                    <a:pt x="9582349" y="1435914"/>
                  </a:lnTo>
                  <a:lnTo>
                    <a:pt x="9586368" y="1439952"/>
                  </a:lnTo>
                  <a:lnTo>
                    <a:pt x="9586368" y="1449823"/>
                  </a:lnTo>
                  <a:lnTo>
                    <a:pt x="9582349" y="1453862"/>
                  </a:lnTo>
                  <a:lnTo>
                    <a:pt x="9572438" y="1453862"/>
                  </a:lnTo>
                  <a:lnTo>
                    <a:pt x="9568419" y="1449823"/>
                  </a:lnTo>
                  <a:lnTo>
                    <a:pt x="9568419" y="1439952"/>
                  </a:lnTo>
                  <a:close/>
                  <a:moveTo>
                    <a:pt x="1918514" y="1435912"/>
                  </a:moveTo>
                  <a:lnTo>
                    <a:pt x="1928424" y="1435912"/>
                  </a:lnTo>
                  <a:lnTo>
                    <a:pt x="1932443" y="1439950"/>
                  </a:lnTo>
                  <a:lnTo>
                    <a:pt x="1932443" y="1449821"/>
                  </a:lnTo>
                  <a:lnTo>
                    <a:pt x="1928424" y="1453860"/>
                  </a:lnTo>
                  <a:lnTo>
                    <a:pt x="1918514" y="1453860"/>
                  </a:lnTo>
                  <a:lnTo>
                    <a:pt x="1914494" y="1449821"/>
                  </a:lnTo>
                  <a:lnTo>
                    <a:pt x="1914494" y="1439950"/>
                  </a:lnTo>
                  <a:close/>
                  <a:moveTo>
                    <a:pt x="2157823" y="1435909"/>
                  </a:moveTo>
                  <a:lnTo>
                    <a:pt x="2167733" y="1435909"/>
                  </a:lnTo>
                  <a:lnTo>
                    <a:pt x="2171751" y="1439947"/>
                  </a:lnTo>
                  <a:lnTo>
                    <a:pt x="2171751" y="1449818"/>
                  </a:lnTo>
                  <a:lnTo>
                    <a:pt x="2167733" y="1453857"/>
                  </a:lnTo>
                  <a:lnTo>
                    <a:pt x="2157823" y="1453857"/>
                  </a:lnTo>
                  <a:lnTo>
                    <a:pt x="2153803" y="1449818"/>
                  </a:lnTo>
                  <a:lnTo>
                    <a:pt x="2153803" y="1439947"/>
                  </a:lnTo>
                  <a:close/>
                  <a:moveTo>
                    <a:pt x="243347" y="1435883"/>
                  </a:moveTo>
                  <a:lnTo>
                    <a:pt x="253257" y="1435883"/>
                  </a:lnTo>
                  <a:lnTo>
                    <a:pt x="257276" y="1439920"/>
                  </a:lnTo>
                  <a:lnTo>
                    <a:pt x="257276" y="1449791"/>
                  </a:lnTo>
                  <a:lnTo>
                    <a:pt x="253257" y="1453830"/>
                  </a:lnTo>
                  <a:lnTo>
                    <a:pt x="243347" y="1453830"/>
                  </a:lnTo>
                  <a:lnTo>
                    <a:pt x="239328" y="1449791"/>
                  </a:lnTo>
                  <a:lnTo>
                    <a:pt x="239328" y="1439920"/>
                  </a:lnTo>
                  <a:close/>
                  <a:moveTo>
                    <a:pt x="4034" y="1435883"/>
                  </a:moveTo>
                  <a:lnTo>
                    <a:pt x="13944" y="1435883"/>
                  </a:lnTo>
                  <a:lnTo>
                    <a:pt x="17964" y="1439920"/>
                  </a:lnTo>
                  <a:lnTo>
                    <a:pt x="17964" y="1449791"/>
                  </a:lnTo>
                  <a:lnTo>
                    <a:pt x="13944" y="1453830"/>
                  </a:lnTo>
                  <a:lnTo>
                    <a:pt x="4034" y="1453830"/>
                  </a:lnTo>
                  <a:lnTo>
                    <a:pt x="15" y="1449791"/>
                  </a:lnTo>
                  <a:lnTo>
                    <a:pt x="15" y="1439920"/>
                  </a:lnTo>
                  <a:close/>
                  <a:moveTo>
                    <a:pt x="721973" y="1435882"/>
                  </a:moveTo>
                  <a:lnTo>
                    <a:pt x="731883" y="1435882"/>
                  </a:lnTo>
                  <a:lnTo>
                    <a:pt x="735902" y="1439920"/>
                  </a:lnTo>
                  <a:lnTo>
                    <a:pt x="735902" y="1449791"/>
                  </a:lnTo>
                  <a:lnTo>
                    <a:pt x="731883" y="1453830"/>
                  </a:lnTo>
                  <a:lnTo>
                    <a:pt x="721973" y="1453830"/>
                  </a:lnTo>
                  <a:lnTo>
                    <a:pt x="717954" y="1449791"/>
                  </a:lnTo>
                  <a:lnTo>
                    <a:pt x="717954" y="1439920"/>
                  </a:lnTo>
                  <a:close/>
                  <a:moveTo>
                    <a:pt x="482661" y="1435882"/>
                  </a:moveTo>
                  <a:lnTo>
                    <a:pt x="492571" y="1435882"/>
                  </a:lnTo>
                  <a:lnTo>
                    <a:pt x="496590" y="1439920"/>
                  </a:lnTo>
                  <a:lnTo>
                    <a:pt x="496590" y="1449791"/>
                  </a:lnTo>
                  <a:lnTo>
                    <a:pt x="492571" y="1453830"/>
                  </a:lnTo>
                  <a:lnTo>
                    <a:pt x="482661" y="1453830"/>
                  </a:lnTo>
                  <a:lnTo>
                    <a:pt x="478642" y="1449791"/>
                  </a:lnTo>
                  <a:lnTo>
                    <a:pt x="478642" y="1439920"/>
                  </a:lnTo>
                  <a:close/>
                  <a:moveTo>
                    <a:pt x="3350359" y="1196701"/>
                  </a:moveTo>
                  <a:lnTo>
                    <a:pt x="3360268" y="1196701"/>
                  </a:lnTo>
                  <a:lnTo>
                    <a:pt x="3364287" y="1200738"/>
                  </a:lnTo>
                  <a:lnTo>
                    <a:pt x="3364287" y="1210610"/>
                  </a:lnTo>
                  <a:lnTo>
                    <a:pt x="3360268" y="1214650"/>
                  </a:lnTo>
                  <a:lnTo>
                    <a:pt x="3350359" y="1214650"/>
                  </a:lnTo>
                  <a:lnTo>
                    <a:pt x="3346340" y="1210610"/>
                  </a:lnTo>
                  <a:lnTo>
                    <a:pt x="3346340" y="1200738"/>
                  </a:lnTo>
                  <a:close/>
                  <a:moveTo>
                    <a:pt x="3111048" y="1196701"/>
                  </a:moveTo>
                  <a:lnTo>
                    <a:pt x="3120959" y="1196701"/>
                  </a:lnTo>
                  <a:lnTo>
                    <a:pt x="3124977" y="1200738"/>
                  </a:lnTo>
                  <a:lnTo>
                    <a:pt x="3124977" y="1210610"/>
                  </a:lnTo>
                  <a:lnTo>
                    <a:pt x="3120959" y="1214650"/>
                  </a:lnTo>
                  <a:lnTo>
                    <a:pt x="3111048" y="1214650"/>
                  </a:lnTo>
                  <a:lnTo>
                    <a:pt x="3107029" y="1210610"/>
                  </a:lnTo>
                  <a:lnTo>
                    <a:pt x="3107029" y="1200738"/>
                  </a:lnTo>
                  <a:close/>
                  <a:moveTo>
                    <a:pt x="2871737" y="1196701"/>
                  </a:moveTo>
                  <a:lnTo>
                    <a:pt x="2881646" y="1196701"/>
                  </a:lnTo>
                  <a:lnTo>
                    <a:pt x="2885666" y="1200738"/>
                  </a:lnTo>
                  <a:lnTo>
                    <a:pt x="2885666" y="1210610"/>
                  </a:lnTo>
                  <a:lnTo>
                    <a:pt x="2881646" y="1214650"/>
                  </a:lnTo>
                  <a:lnTo>
                    <a:pt x="2871737" y="1214650"/>
                  </a:lnTo>
                  <a:lnTo>
                    <a:pt x="2867717" y="1210610"/>
                  </a:lnTo>
                  <a:lnTo>
                    <a:pt x="2867717" y="1200738"/>
                  </a:lnTo>
                  <a:close/>
                  <a:moveTo>
                    <a:pt x="2632423" y="1196701"/>
                  </a:moveTo>
                  <a:lnTo>
                    <a:pt x="2642334" y="1196701"/>
                  </a:lnTo>
                  <a:lnTo>
                    <a:pt x="2646352" y="1200740"/>
                  </a:lnTo>
                  <a:lnTo>
                    <a:pt x="2646352" y="1210610"/>
                  </a:lnTo>
                  <a:lnTo>
                    <a:pt x="2642334" y="1214650"/>
                  </a:lnTo>
                  <a:lnTo>
                    <a:pt x="2632423" y="1214650"/>
                  </a:lnTo>
                  <a:lnTo>
                    <a:pt x="2628404" y="1210610"/>
                  </a:lnTo>
                  <a:lnTo>
                    <a:pt x="2628404" y="1200740"/>
                  </a:lnTo>
                  <a:close/>
                  <a:moveTo>
                    <a:pt x="2393104" y="1196701"/>
                  </a:moveTo>
                  <a:lnTo>
                    <a:pt x="2403015" y="1196701"/>
                  </a:lnTo>
                  <a:lnTo>
                    <a:pt x="2407034" y="1200740"/>
                  </a:lnTo>
                  <a:lnTo>
                    <a:pt x="2407034" y="1210610"/>
                  </a:lnTo>
                  <a:lnTo>
                    <a:pt x="2403015" y="1214650"/>
                  </a:lnTo>
                  <a:lnTo>
                    <a:pt x="2393104" y="1214650"/>
                  </a:lnTo>
                  <a:lnTo>
                    <a:pt x="2389087" y="1210610"/>
                  </a:lnTo>
                  <a:lnTo>
                    <a:pt x="2389087" y="1200740"/>
                  </a:lnTo>
                  <a:close/>
                  <a:moveTo>
                    <a:pt x="4546929" y="1196689"/>
                  </a:moveTo>
                  <a:lnTo>
                    <a:pt x="4556840" y="1196689"/>
                  </a:lnTo>
                  <a:lnTo>
                    <a:pt x="4560859" y="1200726"/>
                  </a:lnTo>
                  <a:lnTo>
                    <a:pt x="4560859" y="1210598"/>
                  </a:lnTo>
                  <a:lnTo>
                    <a:pt x="4556840" y="1214637"/>
                  </a:lnTo>
                  <a:lnTo>
                    <a:pt x="4546929" y="1214637"/>
                  </a:lnTo>
                  <a:lnTo>
                    <a:pt x="4542910" y="1210598"/>
                  </a:lnTo>
                  <a:lnTo>
                    <a:pt x="4542910" y="1200726"/>
                  </a:lnTo>
                  <a:close/>
                  <a:moveTo>
                    <a:pt x="4307612" y="1196689"/>
                  </a:moveTo>
                  <a:lnTo>
                    <a:pt x="4317523" y="1196689"/>
                  </a:lnTo>
                  <a:lnTo>
                    <a:pt x="4321543" y="1200726"/>
                  </a:lnTo>
                  <a:lnTo>
                    <a:pt x="4321543" y="1210598"/>
                  </a:lnTo>
                  <a:lnTo>
                    <a:pt x="4317523" y="1214637"/>
                  </a:lnTo>
                  <a:lnTo>
                    <a:pt x="4307612" y="1214637"/>
                  </a:lnTo>
                  <a:lnTo>
                    <a:pt x="4303595" y="1210598"/>
                  </a:lnTo>
                  <a:lnTo>
                    <a:pt x="4303595" y="1200726"/>
                  </a:lnTo>
                  <a:close/>
                  <a:moveTo>
                    <a:pt x="4068297" y="1196689"/>
                  </a:moveTo>
                  <a:lnTo>
                    <a:pt x="4078210" y="1196689"/>
                  </a:lnTo>
                  <a:lnTo>
                    <a:pt x="4082229" y="1200726"/>
                  </a:lnTo>
                  <a:lnTo>
                    <a:pt x="4082229" y="1210598"/>
                  </a:lnTo>
                  <a:lnTo>
                    <a:pt x="4078210" y="1214637"/>
                  </a:lnTo>
                  <a:lnTo>
                    <a:pt x="4068297" y="1214637"/>
                  </a:lnTo>
                  <a:lnTo>
                    <a:pt x="4064278" y="1210598"/>
                  </a:lnTo>
                  <a:lnTo>
                    <a:pt x="4064278" y="1200726"/>
                  </a:lnTo>
                  <a:close/>
                  <a:moveTo>
                    <a:pt x="3828990" y="1196689"/>
                  </a:moveTo>
                  <a:lnTo>
                    <a:pt x="3838899" y="1196689"/>
                  </a:lnTo>
                  <a:lnTo>
                    <a:pt x="3842917" y="1200728"/>
                  </a:lnTo>
                  <a:lnTo>
                    <a:pt x="3842917" y="1210598"/>
                  </a:lnTo>
                  <a:lnTo>
                    <a:pt x="3838899" y="1214637"/>
                  </a:lnTo>
                  <a:lnTo>
                    <a:pt x="3828990" y="1214637"/>
                  </a:lnTo>
                  <a:lnTo>
                    <a:pt x="3824971" y="1210598"/>
                  </a:lnTo>
                  <a:lnTo>
                    <a:pt x="3824971" y="1200728"/>
                  </a:lnTo>
                  <a:close/>
                  <a:moveTo>
                    <a:pt x="3589676" y="1196689"/>
                  </a:moveTo>
                  <a:lnTo>
                    <a:pt x="3599585" y="1196689"/>
                  </a:lnTo>
                  <a:lnTo>
                    <a:pt x="3603604" y="1200728"/>
                  </a:lnTo>
                  <a:lnTo>
                    <a:pt x="3603604" y="1210598"/>
                  </a:lnTo>
                  <a:lnTo>
                    <a:pt x="3599585" y="1214637"/>
                  </a:lnTo>
                  <a:lnTo>
                    <a:pt x="3589676" y="1214637"/>
                  </a:lnTo>
                  <a:lnTo>
                    <a:pt x="3585657" y="1210598"/>
                  </a:lnTo>
                  <a:lnTo>
                    <a:pt x="3585657" y="1200728"/>
                  </a:lnTo>
                  <a:close/>
                  <a:moveTo>
                    <a:pt x="5743412" y="1196676"/>
                  </a:moveTo>
                  <a:lnTo>
                    <a:pt x="5753323" y="1196676"/>
                  </a:lnTo>
                  <a:lnTo>
                    <a:pt x="5757342" y="1200714"/>
                  </a:lnTo>
                  <a:lnTo>
                    <a:pt x="5757342" y="1210586"/>
                  </a:lnTo>
                  <a:lnTo>
                    <a:pt x="5753323" y="1214625"/>
                  </a:lnTo>
                  <a:lnTo>
                    <a:pt x="5743412" y="1214625"/>
                  </a:lnTo>
                  <a:lnTo>
                    <a:pt x="5739393" y="1210586"/>
                  </a:lnTo>
                  <a:lnTo>
                    <a:pt x="5739393" y="1200714"/>
                  </a:lnTo>
                  <a:close/>
                  <a:moveTo>
                    <a:pt x="5504099" y="1196676"/>
                  </a:moveTo>
                  <a:lnTo>
                    <a:pt x="5514010" y="1196676"/>
                  </a:lnTo>
                  <a:lnTo>
                    <a:pt x="5518029" y="1200714"/>
                  </a:lnTo>
                  <a:lnTo>
                    <a:pt x="5518029" y="1210586"/>
                  </a:lnTo>
                  <a:lnTo>
                    <a:pt x="5514010" y="1214625"/>
                  </a:lnTo>
                  <a:lnTo>
                    <a:pt x="5504099" y="1214625"/>
                  </a:lnTo>
                  <a:lnTo>
                    <a:pt x="5500080" y="1210586"/>
                  </a:lnTo>
                  <a:lnTo>
                    <a:pt x="5500080" y="1200714"/>
                  </a:lnTo>
                  <a:close/>
                  <a:moveTo>
                    <a:pt x="5264784" y="1196676"/>
                  </a:moveTo>
                  <a:lnTo>
                    <a:pt x="5274694" y="1196676"/>
                  </a:lnTo>
                  <a:lnTo>
                    <a:pt x="5278713" y="1200714"/>
                  </a:lnTo>
                  <a:lnTo>
                    <a:pt x="5278713" y="1210586"/>
                  </a:lnTo>
                  <a:lnTo>
                    <a:pt x="5274694" y="1214625"/>
                  </a:lnTo>
                  <a:lnTo>
                    <a:pt x="5264784" y="1214625"/>
                  </a:lnTo>
                  <a:lnTo>
                    <a:pt x="5260765" y="1210586"/>
                  </a:lnTo>
                  <a:lnTo>
                    <a:pt x="5260765" y="1200714"/>
                  </a:lnTo>
                  <a:close/>
                  <a:moveTo>
                    <a:pt x="5025470" y="1196676"/>
                  </a:moveTo>
                  <a:lnTo>
                    <a:pt x="5035381" y="1196676"/>
                  </a:lnTo>
                  <a:lnTo>
                    <a:pt x="5039400" y="1200715"/>
                  </a:lnTo>
                  <a:lnTo>
                    <a:pt x="5039400" y="1210586"/>
                  </a:lnTo>
                  <a:lnTo>
                    <a:pt x="5035381" y="1214625"/>
                  </a:lnTo>
                  <a:lnTo>
                    <a:pt x="5025470" y="1214625"/>
                  </a:lnTo>
                  <a:lnTo>
                    <a:pt x="5021451" y="1210586"/>
                  </a:lnTo>
                  <a:lnTo>
                    <a:pt x="5021451" y="1200715"/>
                  </a:lnTo>
                  <a:close/>
                  <a:moveTo>
                    <a:pt x="4786241" y="1196676"/>
                  </a:moveTo>
                  <a:lnTo>
                    <a:pt x="4796152" y="1196676"/>
                  </a:lnTo>
                  <a:lnTo>
                    <a:pt x="4800171" y="1200715"/>
                  </a:lnTo>
                  <a:lnTo>
                    <a:pt x="4800171" y="1210586"/>
                  </a:lnTo>
                  <a:lnTo>
                    <a:pt x="4796152" y="1214625"/>
                  </a:lnTo>
                  <a:lnTo>
                    <a:pt x="4786241" y="1214625"/>
                  </a:lnTo>
                  <a:lnTo>
                    <a:pt x="4782224" y="1210586"/>
                  </a:lnTo>
                  <a:lnTo>
                    <a:pt x="4782224" y="1200715"/>
                  </a:lnTo>
                  <a:close/>
                  <a:moveTo>
                    <a:pt x="6222042" y="1196664"/>
                  </a:moveTo>
                  <a:lnTo>
                    <a:pt x="6231952" y="1196664"/>
                  </a:lnTo>
                  <a:lnTo>
                    <a:pt x="6235971" y="1200703"/>
                  </a:lnTo>
                  <a:lnTo>
                    <a:pt x="6235971" y="1210573"/>
                  </a:lnTo>
                  <a:lnTo>
                    <a:pt x="6231952" y="1214612"/>
                  </a:lnTo>
                  <a:lnTo>
                    <a:pt x="6222042" y="1214612"/>
                  </a:lnTo>
                  <a:lnTo>
                    <a:pt x="6218023" y="1210573"/>
                  </a:lnTo>
                  <a:lnTo>
                    <a:pt x="6218023" y="1200703"/>
                  </a:lnTo>
                  <a:close/>
                  <a:moveTo>
                    <a:pt x="5982729" y="1196664"/>
                  </a:moveTo>
                  <a:lnTo>
                    <a:pt x="5992639" y="1196664"/>
                  </a:lnTo>
                  <a:lnTo>
                    <a:pt x="5996658" y="1200703"/>
                  </a:lnTo>
                  <a:lnTo>
                    <a:pt x="5996658" y="1210573"/>
                  </a:lnTo>
                  <a:lnTo>
                    <a:pt x="5992639" y="1214612"/>
                  </a:lnTo>
                  <a:lnTo>
                    <a:pt x="5982729" y="1214612"/>
                  </a:lnTo>
                  <a:lnTo>
                    <a:pt x="5978710" y="1210573"/>
                  </a:lnTo>
                  <a:lnTo>
                    <a:pt x="5978710" y="1200703"/>
                  </a:lnTo>
                  <a:close/>
                  <a:moveTo>
                    <a:pt x="6939983" y="1196664"/>
                  </a:moveTo>
                  <a:lnTo>
                    <a:pt x="6949894" y="1196664"/>
                  </a:lnTo>
                  <a:lnTo>
                    <a:pt x="6953913" y="1200702"/>
                  </a:lnTo>
                  <a:lnTo>
                    <a:pt x="6953913" y="1210573"/>
                  </a:lnTo>
                  <a:lnTo>
                    <a:pt x="6949894" y="1214612"/>
                  </a:lnTo>
                  <a:lnTo>
                    <a:pt x="6939983" y="1214612"/>
                  </a:lnTo>
                  <a:lnTo>
                    <a:pt x="6935964" y="1210573"/>
                  </a:lnTo>
                  <a:lnTo>
                    <a:pt x="6935964" y="1200702"/>
                  </a:lnTo>
                  <a:close/>
                  <a:moveTo>
                    <a:pt x="6700670" y="1196664"/>
                  </a:moveTo>
                  <a:lnTo>
                    <a:pt x="6710581" y="1196664"/>
                  </a:lnTo>
                  <a:lnTo>
                    <a:pt x="6714600" y="1200702"/>
                  </a:lnTo>
                  <a:lnTo>
                    <a:pt x="6714600" y="1210573"/>
                  </a:lnTo>
                  <a:lnTo>
                    <a:pt x="6710581" y="1214612"/>
                  </a:lnTo>
                  <a:lnTo>
                    <a:pt x="6700670" y="1214612"/>
                  </a:lnTo>
                  <a:lnTo>
                    <a:pt x="6696651" y="1210573"/>
                  </a:lnTo>
                  <a:lnTo>
                    <a:pt x="6696651" y="1200702"/>
                  </a:lnTo>
                  <a:close/>
                  <a:moveTo>
                    <a:pt x="6461356" y="1196664"/>
                  </a:moveTo>
                  <a:lnTo>
                    <a:pt x="6471266" y="1196664"/>
                  </a:lnTo>
                  <a:lnTo>
                    <a:pt x="6475285" y="1200702"/>
                  </a:lnTo>
                  <a:lnTo>
                    <a:pt x="6475285" y="1210573"/>
                  </a:lnTo>
                  <a:lnTo>
                    <a:pt x="6471266" y="1214612"/>
                  </a:lnTo>
                  <a:lnTo>
                    <a:pt x="6461356" y="1214612"/>
                  </a:lnTo>
                  <a:lnTo>
                    <a:pt x="6457337" y="1210573"/>
                  </a:lnTo>
                  <a:lnTo>
                    <a:pt x="6457337" y="1200702"/>
                  </a:lnTo>
                  <a:close/>
                  <a:moveTo>
                    <a:pt x="7418611" y="1196652"/>
                  </a:moveTo>
                  <a:lnTo>
                    <a:pt x="7428521" y="1196652"/>
                  </a:lnTo>
                  <a:lnTo>
                    <a:pt x="7432540" y="1200690"/>
                  </a:lnTo>
                  <a:lnTo>
                    <a:pt x="7432540" y="1210561"/>
                  </a:lnTo>
                  <a:lnTo>
                    <a:pt x="7428521" y="1214600"/>
                  </a:lnTo>
                  <a:lnTo>
                    <a:pt x="7418611" y="1214600"/>
                  </a:lnTo>
                  <a:lnTo>
                    <a:pt x="7414592" y="1210561"/>
                  </a:lnTo>
                  <a:lnTo>
                    <a:pt x="7414592" y="1200690"/>
                  </a:lnTo>
                  <a:close/>
                  <a:moveTo>
                    <a:pt x="7179298" y="1196652"/>
                  </a:moveTo>
                  <a:lnTo>
                    <a:pt x="7189209" y="1196652"/>
                  </a:lnTo>
                  <a:lnTo>
                    <a:pt x="7193228" y="1200690"/>
                  </a:lnTo>
                  <a:lnTo>
                    <a:pt x="7193228" y="1210561"/>
                  </a:lnTo>
                  <a:lnTo>
                    <a:pt x="7189209" y="1214600"/>
                  </a:lnTo>
                  <a:lnTo>
                    <a:pt x="7179298" y="1214600"/>
                  </a:lnTo>
                  <a:lnTo>
                    <a:pt x="7175279" y="1210561"/>
                  </a:lnTo>
                  <a:lnTo>
                    <a:pt x="7175279" y="1200690"/>
                  </a:lnTo>
                  <a:close/>
                  <a:moveTo>
                    <a:pt x="8136553" y="1196651"/>
                  </a:moveTo>
                  <a:lnTo>
                    <a:pt x="8146464" y="1196651"/>
                  </a:lnTo>
                  <a:lnTo>
                    <a:pt x="8150483" y="1200689"/>
                  </a:lnTo>
                  <a:lnTo>
                    <a:pt x="8150483" y="1210561"/>
                  </a:lnTo>
                  <a:lnTo>
                    <a:pt x="8146464" y="1214600"/>
                  </a:lnTo>
                  <a:lnTo>
                    <a:pt x="8136553" y="1214600"/>
                  </a:lnTo>
                  <a:lnTo>
                    <a:pt x="8132534" y="1210561"/>
                  </a:lnTo>
                  <a:lnTo>
                    <a:pt x="8132534" y="1200689"/>
                  </a:lnTo>
                  <a:close/>
                  <a:moveTo>
                    <a:pt x="7897241" y="1196651"/>
                  </a:moveTo>
                  <a:lnTo>
                    <a:pt x="7907151" y="1196651"/>
                  </a:lnTo>
                  <a:lnTo>
                    <a:pt x="7911170" y="1200689"/>
                  </a:lnTo>
                  <a:lnTo>
                    <a:pt x="7911170" y="1210561"/>
                  </a:lnTo>
                  <a:lnTo>
                    <a:pt x="7907151" y="1214600"/>
                  </a:lnTo>
                  <a:lnTo>
                    <a:pt x="7897241" y="1214600"/>
                  </a:lnTo>
                  <a:lnTo>
                    <a:pt x="7893222" y="1210561"/>
                  </a:lnTo>
                  <a:lnTo>
                    <a:pt x="7893222" y="1200689"/>
                  </a:lnTo>
                  <a:close/>
                  <a:moveTo>
                    <a:pt x="7657926" y="1196651"/>
                  </a:moveTo>
                  <a:lnTo>
                    <a:pt x="7667836" y="1196651"/>
                  </a:lnTo>
                  <a:lnTo>
                    <a:pt x="7671855" y="1200689"/>
                  </a:lnTo>
                  <a:lnTo>
                    <a:pt x="7671855" y="1210561"/>
                  </a:lnTo>
                  <a:lnTo>
                    <a:pt x="7667836" y="1214600"/>
                  </a:lnTo>
                  <a:lnTo>
                    <a:pt x="7657926" y="1214600"/>
                  </a:lnTo>
                  <a:lnTo>
                    <a:pt x="7653906" y="1210561"/>
                  </a:lnTo>
                  <a:lnTo>
                    <a:pt x="7653906" y="1200689"/>
                  </a:lnTo>
                  <a:close/>
                  <a:moveTo>
                    <a:pt x="8615184" y="1196639"/>
                  </a:moveTo>
                  <a:lnTo>
                    <a:pt x="8625095" y="1196639"/>
                  </a:lnTo>
                  <a:lnTo>
                    <a:pt x="8629114" y="1200678"/>
                  </a:lnTo>
                  <a:lnTo>
                    <a:pt x="8629114" y="1210548"/>
                  </a:lnTo>
                  <a:lnTo>
                    <a:pt x="8625095" y="1214587"/>
                  </a:lnTo>
                  <a:lnTo>
                    <a:pt x="8615184" y="1214587"/>
                  </a:lnTo>
                  <a:lnTo>
                    <a:pt x="8611165" y="1210548"/>
                  </a:lnTo>
                  <a:lnTo>
                    <a:pt x="8611165" y="1200678"/>
                  </a:lnTo>
                  <a:close/>
                  <a:moveTo>
                    <a:pt x="8375869" y="1196639"/>
                  </a:moveTo>
                  <a:lnTo>
                    <a:pt x="8385779" y="1196639"/>
                  </a:lnTo>
                  <a:lnTo>
                    <a:pt x="8389799" y="1200678"/>
                  </a:lnTo>
                  <a:lnTo>
                    <a:pt x="8389799" y="1210549"/>
                  </a:lnTo>
                  <a:lnTo>
                    <a:pt x="8385779" y="1214587"/>
                  </a:lnTo>
                  <a:lnTo>
                    <a:pt x="8375869" y="1214587"/>
                  </a:lnTo>
                  <a:lnTo>
                    <a:pt x="8371850" y="1210549"/>
                  </a:lnTo>
                  <a:lnTo>
                    <a:pt x="8371850" y="1200678"/>
                  </a:lnTo>
                  <a:close/>
                  <a:moveTo>
                    <a:pt x="9333125" y="1196639"/>
                  </a:moveTo>
                  <a:lnTo>
                    <a:pt x="9343036" y="1196639"/>
                  </a:lnTo>
                  <a:lnTo>
                    <a:pt x="9347055" y="1200677"/>
                  </a:lnTo>
                  <a:lnTo>
                    <a:pt x="9347055" y="1210548"/>
                  </a:lnTo>
                  <a:lnTo>
                    <a:pt x="9343036" y="1214587"/>
                  </a:lnTo>
                  <a:lnTo>
                    <a:pt x="9333125" y="1214587"/>
                  </a:lnTo>
                  <a:lnTo>
                    <a:pt x="9329106" y="1210548"/>
                  </a:lnTo>
                  <a:lnTo>
                    <a:pt x="9329106" y="1200677"/>
                  </a:lnTo>
                  <a:close/>
                  <a:moveTo>
                    <a:pt x="9093811" y="1196639"/>
                  </a:moveTo>
                  <a:lnTo>
                    <a:pt x="9103722" y="1196639"/>
                  </a:lnTo>
                  <a:lnTo>
                    <a:pt x="9107741" y="1200677"/>
                  </a:lnTo>
                  <a:lnTo>
                    <a:pt x="9107741" y="1210548"/>
                  </a:lnTo>
                  <a:lnTo>
                    <a:pt x="9103722" y="1214587"/>
                  </a:lnTo>
                  <a:lnTo>
                    <a:pt x="9093811" y="1214587"/>
                  </a:lnTo>
                  <a:lnTo>
                    <a:pt x="9089792" y="1210548"/>
                  </a:lnTo>
                  <a:lnTo>
                    <a:pt x="9089792" y="1200677"/>
                  </a:lnTo>
                  <a:close/>
                  <a:moveTo>
                    <a:pt x="8854496" y="1196639"/>
                  </a:moveTo>
                  <a:lnTo>
                    <a:pt x="8864407" y="1196639"/>
                  </a:lnTo>
                  <a:lnTo>
                    <a:pt x="8868426" y="1200677"/>
                  </a:lnTo>
                  <a:lnTo>
                    <a:pt x="8868426" y="1210548"/>
                  </a:lnTo>
                  <a:lnTo>
                    <a:pt x="8864407" y="1214587"/>
                  </a:lnTo>
                  <a:lnTo>
                    <a:pt x="8854496" y="1214587"/>
                  </a:lnTo>
                  <a:lnTo>
                    <a:pt x="8850477" y="1210548"/>
                  </a:lnTo>
                  <a:lnTo>
                    <a:pt x="8850477" y="1200677"/>
                  </a:lnTo>
                  <a:close/>
                  <a:moveTo>
                    <a:pt x="9572438" y="1196627"/>
                  </a:moveTo>
                  <a:lnTo>
                    <a:pt x="9582349" y="1196627"/>
                  </a:lnTo>
                  <a:lnTo>
                    <a:pt x="9586368" y="1200665"/>
                  </a:lnTo>
                  <a:lnTo>
                    <a:pt x="9586368" y="1210536"/>
                  </a:lnTo>
                  <a:lnTo>
                    <a:pt x="9582349" y="1214575"/>
                  </a:lnTo>
                  <a:lnTo>
                    <a:pt x="9572438" y="1214575"/>
                  </a:lnTo>
                  <a:lnTo>
                    <a:pt x="9568419" y="1210536"/>
                  </a:lnTo>
                  <a:lnTo>
                    <a:pt x="9568419" y="1200665"/>
                  </a:lnTo>
                  <a:close/>
                  <a:moveTo>
                    <a:pt x="4035" y="1196600"/>
                  </a:moveTo>
                  <a:lnTo>
                    <a:pt x="13945" y="1196600"/>
                  </a:lnTo>
                  <a:lnTo>
                    <a:pt x="17964" y="1200638"/>
                  </a:lnTo>
                  <a:lnTo>
                    <a:pt x="17964" y="1210509"/>
                  </a:lnTo>
                  <a:lnTo>
                    <a:pt x="13945" y="1214548"/>
                  </a:lnTo>
                  <a:lnTo>
                    <a:pt x="4035" y="1214548"/>
                  </a:lnTo>
                  <a:lnTo>
                    <a:pt x="16" y="1210509"/>
                  </a:lnTo>
                  <a:lnTo>
                    <a:pt x="16" y="1200638"/>
                  </a:lnTo>
                  <a:close/>
                  <a:moveTo>
                    <a:pt x="721974" y="1196599"/>
                  </a:moveTo>
                  <a:lnTo>
                    <a:pt x="731884" y="1196599"/>
                  </a:lnTo>
                  <a:lnTo>
                    <a:pt x="735903" y="1200638"/>
                  </a:lnTo>
                  <a:lnTo>
                    <a:pt x="735903" y="1210509"/>
                  </a:lnTo>
                  <a:lnTo>
                    <a:pt x="731884" y="1214547"/>
                  </a:lnTo>
                  <a:lnTo>
                    <a:pt x="721974" y="1214547"/>
                  </a:lnTo>
                  <a:lnTo>
                    <a:pt x="717955" y="1210509"/>
                  </a:lnTo>
                  <a:lnTo>
                    <a:pt x="717955" y="1200638"/>
                  </a:lnTo>
                  <a:close/>
                  <a:moveTo>
                    <a:pt x="482661" y="1196599"/>
                  </a:moveTo>
                  <a:lnTo>
                    <a:pt x="492572" y="1196599"/>
                  </a:lnTo>
                  <a:lnTo>
                    <a:pt x="496591" y="1200638"/>
                  </a:lnTo>
                  <a:lnTo>
                    <a:pt x="496591" y="1210509"/>
                  </a:lnTo>
                  <a:lnTo>
                    <a:pt x="492572" y="1214548"/>
                  </a:lnTo>
                  <a:lnTo>
                    <a:pt x="482661" y="1214548"/>
                  </a:lnTo>
                  <a:lnTo>
                    <a:pt x="478642" y="1210509"/>
                  </a:lnTo>
                  <a:lnTo>
                    <a:pt x="478642" y="1200638"/>
                  </a:lnTo>
                  <a:close/>
                  <a:moveTo>
                    <a:pt x="243348" y="1196599"/>
                  </a:moveTo>
                  <a:lnTo>
                    <a:pt x="253258" y="1196599"/>
                  </a:lnTo>
                  <a:lnTo>
                    <a:pt x="257278" y="1200638"/>
                  </a:lnTo>
                  <a:lnTo>
                    <a:pt x="257278" y="1210509"/>
                  </a:lnTo>
                  <a:lnTo>
                    <a:pt x="253258" y="1214548"/>
                  </a:lnTo>
                  <a:lnTo>
                    <a:pt x="243348" y="1214548"/>
                  </a:lnTo>
                  <a:lnTo>
                    <a:pt x="239329" y="1210509"/>
                  </a:lnTo>
                  <a:lnTo>
                    <a:pt x="239329" y="1200638"/>
                  </a:lnTo>
                  <a:close/>
                  <a:moveTo>
                    <a:pt x="1439900" y="1196589"/>
                  </a:moveTo>
                  <a:lnTo>
                    <a:pt x="1449810" y="1196589"/>
                  </a:lnTo>
                  <a:lnTo>
                    <a:pt x="1453829" y="1200628"/>
                  </a:lnTo>
                  <a:lnTo>
                    <a:pt x="1453829" y="1210498"/>
                  </a:lnTo>
                  <a:lnTo>
                    <a:pt x="1449810" y="1214537"/>
                  </a:lnTo>
                  <a:lnTo>
                    <a:pt x="1439900" y="1214537"/>
                  </a:lnTo>
                  <a:lnTo>
                    <a:pt x="1435881" y="1210498"/>
                  </a:lnTo>
                  <a:lnTo>
                    <a:pt x="1435881" y="1200628"/>
                  </a:lnTo>
                  <a:close/>
                  <a:moveTo>
                    <a:pt x="1200584" y="1196589"/>
                  </a:moveTo>
                  <a:lnTo>
                    <a:pt x="1210494" y="1196589"/>
                  </a:lnTo>
                  <a:lnTo>
                    <a:pt x="1214512" y="1200628"/>
                  </a:lnTo>
                  <a:lnTo>
                    <a:pt x="1214512" y="1210498"/>
                  </a:lnTo>
                  <a:lnTo>
                    <a:pt x="1210494" y="1214537"/>
                  </a:lnTo>
                  <a:lnTo>
                    <a:pt x="1200584" y="1214537"/>
                  </a:lnTo>
                  <a:lnTo>
                    <a:pt x="1196565" y="1210498"/>
                  </a:lnTo>
                  <a:lnTo>
                    <a:pt x="1196565" y="1200628"/>
                  </a:lnTo>
                  <a:close/>
                  <a:moveTo>
                    <a:pt x="961271" y="1196589"/>
                  </a:moveTo>
                  <a:lnTo>
                    <a:pt x="971181" y="1196589"/>
                  </a:lnTo>
                  <a:lnTo>
                    <a:pt x="975200" y="1200628"/>
                  </a:lnTo>
                  <a:lnTo>
                    <a:pt x="975200" y="1210499"/>
                  </a:lnTo>
                  <a:lnTo>
                    <a:pt x="971181" y="1214537"/>
                  </a:lnTo>
                  <a:lnTo>
                    <a:pt x="961271" y="1214537"/>
                  </a:lnTo>
                  <a:lnTo>
                    <a:pt x="957253" y="1210499"/>
                  </a:lnTo>
                  <a:lnTo>
                    <a:pt x="957253" y="1200628"/>
                  </a:lnTo>
                  <a:close/>
                  <a:moveTo>
                    <a:pt x="1679217" y="1196589"/>
                  </a:moveTo>
                  <a:lnTo>
                    <a:pt x="1689127" y="1196589"/>
                  </a:lnTo>
                  <a:lnTo>
                    <a:pt x="1693146" y="1200627"/>
                  </a:lnTo>
                  <a:lnTo>
                    <a:pt x="1693146" y="1210498"/>
                  </a:lnTo>
                  <a:lnTo>
                    <a:pt x="1689127" y="1214537"/>
                  </a:lnTo>
                  <a:lnTo>
                    <a:pt x="1679217" y="1214537"/>
                  </a:lnTo>
                  <a:lnTo>
                    <a:pt x="1675198" y="1210498"/>
                  </a:lnTo>
                  <a:lnTo>
                    <a:pt x="1675198" y="1200627"/>
                  </a:lnTo>
                  <a:close/>
                  <a:moveTo>
                    <a:pt x="1918514" y="1196581"/>
                  </a:moveTo>
                  <a:lnTo>
                    <a:pt x="1928424" y="1196581"/>
                  </a:lnTo>
                  <a:lnTo>
                    <a:pt x="1932443" y="1200619"/>
                  </a:lnTo>
                  <a:lnTo>
                    <a:pt x="1932443" y="1210489"/>
                  </a:lnTo>
                  <a:lnTo>
                    <a:pt x="1928424" y="1214528"/>
                  </a:lnTo>
                  <a:lnTo>
                    <a:pt x="1918514" y="1214528"/>
                  </a:lnTo>
                  <a:lnTo>
                    <a:pt x="1914495" y="1210489"/>
                  </a:lnTo>
                  <a:lnTo>
                    <a:pt x="1914495" y="1200619"/>
                  </a:lnTo>
                  <a:close/>
                  <a:moveTo>
                    <a:pt x="2157823" y="1196578"/>
                  </a:moveTo>
                  <a:lnTo>
                    <a:pt x="2167733" y="1196578"/>
                  </a:lnTo>
                  <a:lnTo>
                    <a:pt x="2171751" y="1200617"/>
                  </a:lnTo>
                  <a:lnTo>
                    <a:pt x="2171751" y="1210488"/>
                  </a:lnTo>
                  <a:lnTo>
                    <a:pt x="2167733" y="1214526"/>
                  </a:lnTo>
                  <a:lnTo>
                    <a:pt x="2157823" y="1214526"/>
                  </a:lnTo>
                  <a:lnTo>
                    <a:pt x="2153803" y="1210488"/>
                  </a:lnTo>
                  <a:lnTo>
                    <a:pt x="2153803" y="1200617"/>
                  </a:lnTo>
                  <a:close/>
                  <a:moveTo>
                    <a:pt x="3350359" y="957358"/>
                  </a:moveTo>
                  <a:lnTo>
                    <a:pt x="3360268" y="957358"/>
                  </a:lnTo>
                  <a:lnTo>
                    <a:pt x="3364287" y="961396"/>
                  </a:lnTo>
                  <a:lnTo>
                    <a:pt x="3364287" y="971266"/>
                  </a:lnTo>
                  <a:lnTo>
                    <a:pt x="3360268" y="975304"/>
                  </a:lnTo>
                  <a:lnTo>
                    <a:pt x="3350359" y="975304"/>
                  </a:lnTo>
                  <a:lnTo>
                    <a:pt x="3346340" y="971266"/>
                  </a:lnTo>
                  <a:lnTo>
                    <a:pt x="3346340" y="961396"/>
                  </a:lnTo>
                  <a:close/>
                  <a:moveTo>
                    <a:pt x="3111048" y="957358"/>
                  </a:moveTo>
                  <a:lnTo>
                    <a:pt x="3120959" y="957358"/>
                  </a:lnTo>
                  <a:lnTo>
                    <a:pt x="3124977" y="961396"/>
                  </a:lnTo>
                  <a:lnTo>
                    <a:pt x="3124977" y="971266"/>
                  </a:lnTo>
                  <a:lnTo>
                    <a:pt x="3120959" y="975304"/>
                  </a:lnTo>
                  <a:lnTo>
                    <a:pt x="3111048" y="975304"/>
                  </a:lnTo>
                  <a:lnTo>
                    <a:pt x="3107029" y="971266"/>
                  </a:lnTo>
                  <a:lnTo>
                    <a:pt x="3107029" y="961396"/>
                  </a:lnTo>
                  <a:close/>
                  <a:moveTo>
                    <a:pt x="2871737" y="957358"/>
                  </a:moveTo>
                  <a:lnTo>
                    <a:pt x="2881646" y="957358"/>
                  </a:lnTo>
                  <a:lnTo>
                    <a:pt x="2885666" y="961396"/>
                  </a:lnTo>
                  <a:lnTo>
                    <a:pt x="2885666" y="971266"/>
                  </a:lnTo>
                  <a:lnTo>
                    <a:pt x="2881646" y="975304"/>
                  </a:lnTo>
                  <a:lnTo>
                    <a:pt x="2871737" y="975304"/>
                  </a:lnTo>
                  <a:lnTo>
                    <a:pt x="2867717" y="971266"/>
                  </a:lnTo>
                  <a:lnTo>
                    <a:pt x="2867717" y="961396"/>
                  </a:lnTo>
                  <a:close/>
                  <a:moveTo>
                    <a:pt x="2632423" y="957358"/>
                  </a:moveTo>
                  <a:lnTo>
                    <a:pt x="2642334" y="957358"/>
                  </a:lnTo>
                  <a:lnTo>
                    <a:pt x="2646352" y="961396"/>
                  </a:lnTo>
                  <a:lnTo>
                    <a:pt x="2646352" y="971266"/>
                  </a:lnTo>
                  <a:lnTo>
                    <a:pt x="2642334" y="975305"/>
                  </a:lnTo>
                  <a:lnTo>
                    <a:pt x="2632423" y="975305"/>
                  </a:lnTo>
                  <a:lnTo>
                    <a:pt x="2628404" y="971266"/>
                  </a:lnTo>
                  <a:lnTo>
                    <a:pt x="2628404" y="961396"/>
                  </a:lnTo>
                  <a:close/>
                  <a:moveTo>
                    <a:pt x="2393104" y="957358"/>
                  </a:moveTo>
                  <a:lnTo>
                    <a:pt x="2403015" y="957358"/>
                  </a:lnTo>
                  <a:lnTo>
                    <a:pt x="2407034" y="961396"/>
                  </a:lnTo>
                  <a:lnTo>
                    <a:pt x="2407034" y="971266"/>
                  </a:lnTo>
                  <a:lnTo>
                    <a:pt x="2403015" y="975305"/>
                  </a:lnTo>
                  <a:lnTo>
                    <a:pt x="2393104" y="975305"/>
                  </a:lnTo>
                  <a:lnTo>
                    <a:pt x="2389087" y="971266"/>
                  </a:lnTo>
                  <a:lnTo>
                    <a:pt x="2389087" y="961396"/>
                  </a:lnTo>
                  <a:close/>
                  <a:moveTo>
                    <a:pt x="4546929" y="957347"/>
                  </a:moveTo>
                  <a:lnTo>
                    <a:pt x="4556840" y="957347"/>
                  </a:lnTo>
                  <a:lnTo>
                    <a:pt x="4560859" y="961385"/>
                  </a:lnTo>
                  <a:lnTo>
                    <a:pt x="4560859" y="971255"/>
                  </a:lnTo>
                  <a:lnTo>
                    <a:pt x="4556840" y="975293"/>
                  </a:lnTo>
                  <a:lnTo>
                    <a:pt x="4546929" y="975293"/>
                  </a:lnTo>
                  <a:lnTo>
                    <a:pt x="4542910" y="971255"/>
                  </a:lnTo>
                  <a:lnTo>
                    <a:pt x="4542910" y="961385"/>
                  </a:lnTo>
                  <a:close/>
                  <a:moveTo>
                    <a:pt x="4307612" y="957347"/>
                  </a:moveTo>
                  <a:lnTo>
                    <a:pt x="4317523" y="957347"/>
                  </a:lnTo>
                  <a:lnTo>
                    <a:pt x="4321543" y="961385"/>
                  </a:lnTo>
                  <a:lnTo>
                    <a:pt x="4321543" y="971255"/>
                  </a:lnTo>
                  <a:lnTo>
                    <a:pt x="4317523" y="975293"/>
                  </a:lnTo>
                  <a:lnTo>
                    <a:pt x="4307612" y="975293"/>
                  </a:lnTo>
                  <a:lnTo>
                    <a:pt x="4303595" y="971255"/>
                  </a:lnTo>
                  <a:lnTo>
                    <a:pt x="4303595" y="961385"/>
                  </a:lnTo>
                  <a:close/>
                  <a:moveTo>
                    <a:pt x="4068297" y="957347"/>
                  </a:moveTo>
                  <a:lnTo>
                    <a:pt x="4078210" y="957347"/>
                  </a:lnTo>
                  <a:lnTo>
                    <a:pt x="4082229" y="961385"/>
                  </a:lnTo>
                  <a:lnTo>
                    <a:pt x="4082229" y="971255"/>
                  </a:lnTo>
                  <a:lnTo>
                    <a:pt x="4078210" y="975293"/>
                  </a:lnTo>
                  <a:lnTo>
                    <a:pt x="4068297" y="975293"/>
                  </a:lnTo>
                  <a:lnTo>
                    <a:pt x="4064278" y="971255"/>
                  </a:lnTo>
                  <a:lnTo>
                    <a:pt x="4064278" y="961385"/>
                  </a:lnTo>
                  <a:close/>
                  <a:moveTo>
                    <a:pt x="3828990" y="957347"/>
                  </a:moveTo>
                  <a:lnTo>
                    <a:pt x="3838899" y="957347"/>
                  </a:lnTo>
                  <a:lnTo>
                    <a:pt x="3842917" y="961385"/>
                  </a:lnTo>
                  <a:lnTo>
                    <a:pt x="3842917" y="971255"/>
                  </a:lnTo>
                  <a:lnTo>
                    <a:pt x="3838899" y="975293"/>
                  </a:lnTo>
                  <a:lnTo>
                    <a:pt x="3828990" y="975293"/>
                  </a:lnTo>
                  <a:lnTo>
                    <a:pt x="3824971" y="971255"/>
                  </a:lnTo>
                  <a:lnTo>
                    <a:pt x="3824971" y="961385"/>
                  </a:lnTo>
                  <a:close/>
                  <a:moveTo>
                    <a:pt x="3589676" y="957347"/>
                  </a:moveTo>
                  <a:lnTo>
                    <a:pt x="3599585" y="957347"/>
                  </a:lnTo>
                  <a:lnTo>
                    <a:pt x="3603604" y="961385"/>
                  </a:lnTo>
                  <a:lnTo>
                    <a:pt x="3603604" y="971255"/>
                  </a:lnTo>
                  <a:lnTo>
                    <a:pt x="3599585" y="975293"/>
                  </a:lnTo>
                  <a:lnTo>
                    <a:pt x="3589676" y="975293"/>
                  </a:lnTo>
                  <a:lnTo>
                    <a:pt x="3585657" y="971255"/>
                  </a:lnTo>
                  <a:lnTo>
                    <a:pt x="3585657" y="961385"/>
                  </a:lnTo>
                  <a:close/>
                  <a:moveTo>
                    <a:pt x="5743412" y="957335"/>
                  </a:moveTo>
                  <a:lnTo>
                    <a:pt x="5753323" y="957335"/>
                  </a:lnTo>
                  <a:lnTo>
                    <a:pt x="5757342" y="961373"/>
                  </a:lnTo>
                  <a:lnTo>
                    <a:pt x="5757342" y="971244"/>
                  </a:lnTo>
                  <a:lnTo>
                    <a:pt x="5753323" y="975282"/>
                  </a:lnTo>
                  <a:lnTo>
                    <a:pt x="5743412" y="975282"/>
                  </a:lnTo>
                  <a:lnTo>
                    <a:pt x="5739393" y="971244"/>
                  </a:lnTo>
                  <a:lnTo>
                    <a:pt x="5739393" y="961373"/>
                  </a:lnTo>
                  <a:close/>
                  <a:moveTo>
                    <a:pt x="5504099" y="957335"/>
                  </a:moveTo>
                  <a:lnTo>
                    <a:pt x="5514010" y="957335"/>
                  </a:lnTo>
                  <a:lnTo>
                    <a:pt x="5518029" y="961373"/>
                  </a:lnTo>
                  <a:lnTo>
                    <a:pt x="5518029" y="971244"/>
                  </a:lnTo>
                  <a:lnTo>
                    <a:pt x="5514010" y="975282"/>
                  </a:lnTo>
                  <a:lnTo>
                    <a:pt x="5504099" y="975282"/>
                  </a:lnTo>
                  <a:lnTo>
                    <a:pt x="5500080" y="971244"/>
                  </a:lnTo>
                  <a:lnTo>
                    <a:pt x="5500080" y="961373"/>
                  </a:lnTo>
                  <a:close/>
                  <a:moveTo>
                    <a:pt x="5264784" y="957335"/>
                  </a:moveTo>
                  <a:lnTo>
                    <a:pt x="5274694" y="957335"/>
                  </a:lnTo>
                  <a:lnTo>
                    <a:pt x="5278713" y="961373"/>
                  </a:lnTo>
                  <a:lnTo>
                    <a:pt x="5278713" y="971244"/>
                  </a:lnTo>
                  <a:lnTo>
                    <a:pt x="5274694" y="975282"/>
                  </a:lnTo>
                  <a:lnTo>
                    <a:pt x="5264784" y="975282"/>
                  </a:lnTo>
                  <a:lnTo>
                    <a:pt x="5260765" y="971244"/>
                  </a:lnTo>
                  <a:lnTo>
                    <a:pt x="5260765" y="961373"/>
                  </a:lnTo>
                  <a:close/>
                  <a:moveTo>
                    <a:pt x="5025470" y="957335"/>
                  </a:moveTo>
                  <a:lnTo>
                    <a:pt x="5035381" y="957335"/>
                  </a:lnTo>
                  <a:lnTo>
                    <a:pt x="5039400" y="961373"/>
                  </a:lnTo>
                  <a:lnTo>
                    <a:pt x="5039400" y="971244"/>
                  </a:lnTo>
                  <a:lnTo>
                    <a:pt x="5035381" y="975283"/>
                  </a:lnTo>
                  <a:lnTo>
                    <a:pt x="5025470" y="975283"/>
                  </a:lnTo>
                  <a:lnTo>
                    <a:pt x="5021451" y="971244"/>
                  </a:lnTo>
                  <a:lnTo>
                    <a:pt x="5021451" y="961373"/>
                  </a:lnTo>
                  <a:close/>
                  <a:moveTo>
                    <a:pt x="4786241" y="957335"/>
                  </a:moveTo>
                  <a:lnTo>
                    <a:pt x="4796152" y="957335"/>
                  </a:lnTo>
                  <a:lnTo>
                    <a:pt x="4800171" y="961374"/>
                  </a:lnTo>
                  <a:lnTo>
                    <a:pt x="4800171" y="971244"/>
                  </a:lnTo>
                  <a:lnTo>
                    <a:pt x="4796152" y="975283"/>
                  </a:lnTo>
                  <a:lnTo>
                    <a:pt x="4786241" y="975283"/>
                  </a:lnTo>
                  <a:lnTo>
                    <a:pt x="4782224" y="971244"/>
                  </a:lnTo>
                  <a:lnTo>
                    <a:pt x="4782224" y="961374"/>
                  </a:lnTo>
                  <a:close/>
                  <a:moveTo>
                    <a:pt x="6939983" y="957324"/>
                  </a:moveTo>
                  <a:lnTo>
                    <a:pt x="6949894" y="957324"/>
                  </a:lnTo>
                  <a:lnTo>
                    <a:pt x="6953913" y="961363"/>
                  </a:lnTo>
                  <a:lnTo>
                    <a:pt x="6953913" y="971232"/>
                  </a:lnTo>
                  <a:lnTo>
                    <a:pt x="6949894" y="975271"/>
                  </a:lnTo>
                  <a:lnTo>
                    <a:pt x="6939983" y="975271"/>
                  </a:lnTo>
                  <a:lnTo>
                    <a:pt x="6935964" y="971232"/>
                  </a:lnTo>
                  <a:lnTo>
                    <a:pt x="6935964" y="961363"/>
                  </a:lnTo>
                  <a:close/>
                  <a:moveTo>
                    <a:pt x="6700670" y="957324"/>
                  </a:moveTo>
                  <a:lnTo>
                    <a:pt x="6710581" y="957324"/>
                  </a:lnTo>
                  <a:lnTo>
                    <a:pt x="6714600" y="961363"/>
                  </a:lnTo>
                  <a:lnTo>
                    <a:pt x="6714600" y="971232"/>
                  </a:lnTo>
                  <a:lnTo>
                    <a:pt x="6710581" y="975271"/>
                  </a:lnTo>
                  <a:lnTo>
                    <a:pt x="6700670" y="975271"/>
                  </a:lnTo>
                  <a:lnTo>
                    <a:pt x="6696651" y="971232"/>
                  </a:lnTo>
                  <a:lnTo>
                    <a:pt x="6696651" y="961363"/>
                  </a:lnTo>
                  <a:close/>
                  <a:moveTo>
                    <a:pt x="6461356" y="957324"/>
                  </a:moveTo>
                  <a:lnTo>
                    <a:pt x="6471266" y="957324"/>
                  </a:lnTo>
                  <a:lnTo>
                    <a:pt x="6475285" y="961363"/>
                  </a:lnTo>
                  <a:lnTo>
                    <a:pt x="6475285" y="971232"/>
                  </a:lnTo>
                  <a:lnTo>
                    <a:pt x="6471266" y="975271"/>
                  </a:lnTo>
                  <a:lnTo>
                    <a:pt x="6461356" y="975271"/>
                  </a:lnTo>
                  <a:lnTo>
                    <a:pt x="6457337" y="971232"/>
                  </a:lnTo>
                  <a:lnTo>
                    <a:pt x="6457337" y="961363"/>
                  </a:lnTo>
                  <a:close/>
                  <a:moveTo>
                    <a:pt x="6222042" y="957324"/>
                  </a:moveTo>
                  <a:lnTo>
                    <a:pt x="6231952" y="957324"/>
                  </a:lnTo>
                  <a:lnTo>
                    <a:pt x="6235971" y="961363"/>
                  </a:lnTo>
                  <a:lnTo>
                    <a:pt x="6235971" y="971232"/>
                  </a:lnTo>
                  <a:lnTo>
                    <a:pt x="6231952" y="975271"/>
                  </a:lnTo>
                  <a:lnTo>
                    <a:pt x="6222042" y="975271"/>
                  </a:lnTo>
                  <a:lnTo>
                    <a:pt x="6218023" y="971232"/>
                  </a:lnTo>
                  <a:lnTo>
                    <a:pt x="6218023" y="961363"/>
                  </a:lnTo>
                  <a:close/>
                  <a:moveTo>
                    <a:pt x="5982729" y="957324"/>
                  </a:moveTo>
                  <a:lnTo>
                    <a:pt x="5992639" y="957324"/>
                  </a:lnTo>
                  <a:lnTo>
                    <a:pt x="5996658" y="961363"/>
                  </a:lnTo>
                  <a:lnTo>
                    <a:pt x="5996658" y="971232"/>
                  </a:lnTo>
                  <a:lnTo>
                    <a:pt x="5992639" y="975271"/>
                  </a:lnTo>
                  <a:lnTo>
                    <a:pt x="5982729" y="975271"/>
                  </a:lnTo>
                  <a:lnTo>
                    <a:pt x="5978710" y="971232"/>
                  </a:lnTo>
                  <a:lnTo>
                    <a:pt x="5978710" y="961363"/>
                  </a:lnTo>
                  <a:close/>
                  <a:moveTo>
                    <a:pt x="8136553" y="957313"/>
                  </a:moveTo>
                  <a:lnTo>
                    <a:pt x="8146464" y="957313"/>
                  </a:lnTo>
                  <a:lnTo>
                    <a:pt x="8150483" y="961351"/>
                  </a:lnTo>
                  <a:lnTo>
                    <a:pt x="8150483" y="971222"/>
                  </a:lnTo>
                  <a:lnTo>
                    <a:pt x="8146464" y="975260"/>
                  </a:lnTo>
                  <a:lnTo>
                    <a:pt x="8136553" y="975260"/>
                  </a:lnTo>
                  <a:lnTo>
                    <a:pt x="8132534" y="971222"/>
                  </a:lnTo>
                  <a:lnTo>
                    <a:pt x="8132534" y="961351"/>
                  </a:lnTo>
                  <a:close/>
                  <a:moveTo>
                    <a:pt x="7897241" y="957313"/>
                  </a:moveTo>
                  <a:lnTo>
                    <a:pt x="7907151" y="957313"/>
                  </a:lnTo>
                  <a:lnTo>
                    <a:pt x="7911170" y="961351"/>
                  </a:lnTo>
                  <a:lnTo>
                    <a:pt x="7911170" y="971222"/>
                  </a:lnTo>
                  <a:lnTo>
                    <a:pt x="7907151" y="975260"/>
                  </a:lnTo>
                  <a:lnTo>
                    <a:pt x="7897241" y="975260"/>
                  </a:lnTo>
                  <a:lnTo>
                    <a:pt x="7893222" y="971222"/>
                  </a:lnTo>
                  <a:lnTo>
                    <a:pt x="7893222" y="961351"/>
                  </a:lnTo>
                  <a:close/>
                  <a:moveTo>
                    <a:pt x="7657926" y="957313"/>
                  </a:moveTo>
                  <a:lnTo>
                    <a:pt x="7667836" y="957313"/>
                  </a:lnTo>
                  <a:lnTo>
                    <a:pt x="7671855" y="961351"/>
                  </a:lnTo>
                  <a:lnTo>
                    <a:pt x="7671855" y="971222"/>
                  </a:lnTo>
                  <a:lnTo>
                    <a:pt x="7667836" y="975260"/>
                  </a:lnTo>
                  <a:lnTo>
                    <a:pt x="7657926" y="975260"/>
                  </a:lnTo>
                  <a:lnTo>
                    <a:pt x="7653906" y="971222"/>
                  </a:lnTo>
                  <a:lnTo>
                    <a:pt x="7653906" y="961351"/>
                  </a:lnTo>
                  <a:close/>
                  <a:moveTo>
                    <a:pt x="7418611" y="957313"/>
                  </a:moveTo>
                  <a:lnTo>
                    <a:pt x="7428521" y="957313"/>
                  </a:lnTo>
                  <a:lnTo>
                    <a:pt x="7432540" y="961351"/>
                  </a:lnTo>
                  <a:lnTo>
                    <a:pt x="7432540" y="971222"/>
                  </a:lnTo>
                  <a:lnTo>
                    <a:pt x="7428521" y="975260"/>
                  </a:lnTo>
                  <a:lnTo>
                    <a:pt x="7418611" y="975260"/>
                  </a:lnTo>
                  <a:lnTo>
                    <a:pt x="7414592" y="971222"/>
                  </a:lnTo>
                  <a:lnTo>
                    <a:pt x="7414592" y="961351"/>
                  </a:lnTo>
                  <a:close/>
                  <a:moveTo>
                    <a:pt x="7179298" y="957313"/>
                  </a:moveTo>
                  <a:lnTo>
                    <a:pt x="7189209" y="957313"/>
                  </a:lnTo>
                  <a:lnTo>
                    <a:pt x="7193228" y="961351"/>
                  </a:lnTo>
                  <a:lnTo>
                    <a:pt x="7193228" y="971222"/>
                  </a:lnTo>
                  <a:lnTo>
                    <a:pt x="7189209" y="975260"/>
                  </a:lnTo>
                  <a:lnTo>
                    <a:pt x="7179298" y="975260"/>
                  </a:lnTo>
                  <a:lnTo>
                    <a:pt x="7175279" y="971222"/>
                  </a:lnTo>
                  <a:lnTo>
                    <a:pt x="7175279" y="961351"/>
                  </a:lnTo>
                  <a:close/>
                  <a:moveTo>
                    <a:pt x="1679217" y="957309"/>
                  </a:moveTo>
                  <a:lnTo>
                    <a:pt x="1689128" y="957309"/>
                  </a:lnTo>
                  <a:lnTo>
                    <a:pt x="1693147" y="961347"/>
                  </a:lnTo>
                  <a:lnTo>
                    <a:pt x="1693147" y="971217"/>
                  </a:lnTo>
                  <a:lnTo>
                    <a:pt x="1689128" y="975256"/>
                  </a:lnTo>
                  <a:lnTo>
                    <a:pt x="1679217" y="975256"/>
                  </a:lnTo>
                  <a:lnTo>
                    <a:pt x="1675199" y="971217"/>
                  </a:lnTo>
                  <a:lnTo>
                    <a:pt x="1675199" y="961347"/>
                  </a:lnTo>
                  <a:close/>
                  <a:moveTo>
                    <a:pt x="1439901" y="957309"/>
                  </a:moveTo>
                  <a:lnTo>
                    <a:pt x="1449811" y="957309"/>
                  </a:lnTo>
                  <a:lnTo>
                    <a:pt x="1453829" y="961347"/>
                  </a:lnTo>
                  <a:lnTo>
                    <a:pt x="1453829" y="971217"/>
                  </a:lnTo>
                  <a:lnTo>
                    <a:pt x="1449811" y="975256"/>
                  </a:lnTo>
                  <a:lnTo>
                    <a:pt x="1439901" y="975256"/>
                  </a:lnTo>
                  <a:lnTo>
                    <a:pt x="1435881" y="971217"/>
                  </a:lnTo>
                  <a:lnTo>
                    <a:pt x="1435881" y="961347"/>
                  </a:lnTo>
                  <a:close/>
                  <a:moveTo>
                    <a:pt x="1200584" y="957309"/>
                  </a:moveTo>
                  <a:lnTo>
                    <a:pt x="1210495" y="957309"/>
                  </a:lnTo>
                  <a:lnTo>
                    <a:pt x="1214513" y="961347"/>
                  </a:lnTo>
                  <a:lnTo>
                    <a:pt x="1214513" y="971217"/>
                  </a:lnTo>
                  <a:lnTo>
                    <a:pt x="1210495" y="975256"/>
                  </a:lnTo>
                  <a:lnTo>
                    <a:pt x="1200584" y="975256"/>
                  </a:lnTo>
                  <a:lnTo>
                    <a:pt x="1196566" y="971217"/>
                  </a:lnTo>
                  <a:lnTo>
                    <a:pt x="1196566" y="961347"/>
                  </a:lnTo>
                  <a:close/>
                  <a:moveTo>
                    <a:pt x="961271" y="957309"/>
                  </a:moveTo>
                  <a:lnTo>
                    <a:pt x="971182" y="957309"/>
                  </a:lnTo>
                  <a:lnTo>
                    <a:pt x="975201" y="961347"/>
                  </a:lnTo>
                  <a:lnTo>
                    <a:pt x="975201" y="971218"/>
                  </a:lnTo>
                  <a:lnTo>
                    <a:pt x="971182" y="975256"/>
                  </a:lnTo>
                  <a:lnTo>
                    <a:pt x="961271" y="975256"/>
                  </a:lnTo>
                  <a:lnTo>
                    <a:pt x="957253" y="971218"/>
                  </a:lnTo>
                  <a:lnTo>
                    <a:pt x="957253" y="961347"/>
                  </a:lnTo>
                  <a:close/>
                  <a:moveTo>
                    <a:pt x="9333125" y="957302"/>
                  </a:moveTo>
                  <a:lnTo>
                    <a:pt x="9343036" y="957302"/>
                  </a:lnTo>
                  <a:lnTo>
                    <a:pt x="9347055" y="961340"/>
                  </a:lnTo>
                  <a:lnTo>
                    <a:pt x="9347055" y="971210"/>
                  </a:lnTo>
                  <a:lnTo>
                    <a:pt x="9343036" y="975249"/>
                  </a:lnTo>
                  <a:lnTo>
                    <a:pt x="9333125" y="975249"/>
                  </a:lnTo>
                  <a:lnTo>
                    <a:pt x="9329106" y="971210"/>
                  </a:lnTo>
                  <a:lnTo>
                    <a:pt x="9329106" y="961340"/>
                  </a:lnTo>
                  <a:close/>
                  <a:moveTo>
                    <a:pt x="9093811" y="957302"/>
                  </a:moveTo>
                  <a:lnTo>
                    <a:pt x="9103722" y="957302"/>
                  </a:lnTo>
                  <a:lnTo>
                    <a:pt x="9107741" y="961340"/>
                  </a:lnTo>
                  <a:lnTo>
                    <a:pt x="9107741" y="971210"/>
                  </a:lnTo>
                  <a:lnTo>
                    <a:pt x="9103722" y="975249"/>
                  </a:lnTo>
                  <a:lnTo>
                    <a:pt x="9093811" y="975249"/>
                  </a:lnTo>
                  <a:lnTo>
                    <a:pt x="9089792" y="971210"/>
                  </a:lnTo>
                  <a:lnTo>
                    <a:pt x="9089792" y="961340"/>
                  </a:lnTo>
                  <a:close/>
                  <a:moveTo>
                    <a:pt x="8854496" y="957302"/>
                  </a:moveTo>
                  <a:lnTo>
                    <a:pt x="8864407" y="957302"/>
                  </a:lnTo>
                  <a:lnTo>
                    <a:pt x="8868426" y="961340"/>
                  </a:lnTo>
                  <a:lnTo>
                    <a:pt x="8868426" y="971210"/>
                  </a:lnTo>
                  <a:lnTo>
                    <a:pt x="8864407" y="975249"/>
                  </a:lnTo>
                  <a:lnTo>
                    <a:pt x="8854496" y="975249"/>
                  </a:lnTo>
                  <a:lnTo>
                    <a:pt x="8850477" y="971210"/>
                  </a:lnTo>
                  <a:lnTo>
                    <a:pt x="8850477" y="961340"/>
                  </a:lnTo>
                  <a:close/>
                  <a:moveTo>
                    <a:pt x="8615184" y="957302"/>
                  </a:moveTo>
                  <a:lnTo>
                    <a:pt x="8625095" y="957302"/>
                  </a:lnTo>
                  <a:lnTo>
                    <a:pt x="8629114" y="961340"/>
                  </a:lnTo>
                  <a:lnTo>
                    <a:pt x="8629114" y="971210"/>
                  </a:lnTo>
                  <a:lnTo>
                    <a:pt x="8625095" y="975249"/>
                  </a:lnTo>
                  <a:lnTo>
                    <a:pt x="8615184" y="975249"/>
                  </a:lnTo>
                  <a:lnTo>
                    <a:pt x="8611165" y="971210"/>
                  </a:lnTo>
                  <a:lnTo>
                    <a:pt x="8611165" y="961340"/>
                  </a:lnTo>
                  <a:close/>
                  <a:moveTo>
                    <a:pt x="8375869" y="957302"/>
                  </a:moveTo>
                  <a:lnTo>
                    <a:pt x="8385779" y="957302"/>
                  </a:lnTo>
                  <a:lnTo>
                    <a:pt x="8389799" y="961340"/>
                  </a:lnTo>
                  <a:lnTo>
                    <a:pt x="8389799" y="971210"/>
                  </a:lnTo>
                  <a:lnTo>
                    <a:pt x="8385779" y="975249"/>
                  </a:lnTo>
                  <a:lnTo>
                    <a:pt x="8375869" y="975249"/>
                  </a:lnTo>
                  <a:lnTo>
                    <a:pt x="8371850" y="971210"/>
                  </a:lnTo>
                  <a:lnTo>
                    <a:pt x="8371850" y="961340"/>
                  </a:lnTo>
                  <a:close/>
                  <a:moveTo>
                    <a:pt x="1918514" y="957301"/>
                  </a:moveTo>
                  <a:lnTo>
                    <a:pt x="1928424" y="957301"/>
                  </a:lnTo>
                  <a:lnTo>
                    <a:pt x="1932444" y="961339"/>
                  </a:lnTo>
                  <a:lnTo>
                    <a:pt x="1932444" y="971210"/>
                  </a:lnTo>
                  <a:lnTo>
                    <a:pt x="1928424" y="975249"/>
                  </a:lnTo>
                  <a:lnTo>
                    <a:pt x="1918514" y="975249"/>
                  </a:lnTo>
                  <a:lnTo>
                    <a:pt x="1914495" y="971210"/>
                  </a:lnTo>
                  <a:lnTo>
                    <a:pt x="1914495" y="961339"/>
                  </a:lnTo>
                  <a:close/>
                  <a:moveTo>
                    <a:pt x="2157823" y="957299"/>
                  </a:moveTo>
                  <a:lnTo>
                    <a:pt x="2167733" y="957299"/>
                  </a:lnTo>
                  <a:lnTo>
                    <a:pt x="2171751" y="961337"/>
                  </a:lnTo>
                  <a:lnTo>
                    <a:pt x="2171751" y="971207"/>
                  </a:lnTo>
                  <a:lnTo>
                    <a:pt x="2167733" y="975246"/>
                  </a:lnTo>
                  <a:lnTo>
                    <a:pt x="2157823" y="975246"/>
                  </a:lnTo>
                  <a:lnTo>
                    <a:pt x="2153804" y="971207"/>
                  </a:lnTo>
                  <a:lnTo>
                    <a:pt x="2153804" y="961337"/>
                  </a:lnTo>
                  <a:close/>
                  <a:moveTo>
                    <a:pt x="9572438" y="957291"/>
                  </a:moveTo>
                  <a:lnTo>
                    <a:pt x="9582349" y="957291"/>
                  </a:lnTo>
                  <a:lnTo>
                    <a:pt x="9586368" y="961329"/>
                  </a:lnTo>
                  <a:lnTo>
                    <a:pt x="9586368" y="971199"/>
                  </a:lnTo>
                  <a:lnTo>
                    <a:pt x="9582349" y="975238"/>
                  </a:lnTo>
                  <a:lnTo>
                    <a:pt x="9572438" y="975238"/>
                  </a:lnTo>
                  <a:lnTo>
                    <a:pt x="9568419" y="971199"/>
                  </a:lnTo>
                  <a:lnTo>
                    <a:pt x="9568419" y="961329"/>
                  </a:lnTo>
                  <a:close/>
                  <a:moveTo>
                    <a:pt x="721974" y="957266"/>
                  </a:moveTo>
                  <a:lnTo>
                    <a:pt x="731884" y="957266"/>
                  </a:lnTo>
                  <a:lnTo>
                    <a:pt x="735903" y="961305"/>
                  </a:lnTo>
                  <a:lnTo>
                    <a:pt x="735903" y="971175"/>
                  </a:lnTo>
                  <a:lnTo>
                    <a:pt x="731884" y="975214"/>
                  </a:lnTo>
                  <a:lnTo>
                    <a:pt x="721974" y="975214"/>
                  </a:lnTo>
                  <a:lnTo>
                    <a:pt x="717956" y="971175"/>
                  </a:lnTo>
                  <a:lnTo>
                    <a:pt x="717956" y="961305"/>
                  </a:lnTo>
                  <a:close/>
                  <a:moveTo>
                    <a:pt x="482662" y="957266"/>
                  </a:moveTo>
                  <a:lnTo>
                    <a:pt x="492572" y="957266"/>
                  </a:lnTo>
                  <a:lnTo>
                    <a:pt x="496591" y="961305"/>
                  </a:lnTo>
                  <a:lnTo>
                    <a:pt x="496591" y="971175"/>
                  </a:lnTo>
                  <a:lnTo>
                    <a:pt x="492572" y="975214"/>
                  </a:lnTo>
                  <a:lnTo>
                    <a:pt x="482662" y="975214"/>
                  </a:lnTo>
                  <a:lnTo>
                    <a:pt x="478643" y="971175"/>
                  </a:lnTo>
                  <a:lnTo>
                    <a:pt x="478643" y="961305"/>
                  </a:lnTo>
                  <a:close/>
                  <a:moveTo>
                    <a:pt x="243349" y="957266"/>
                  </a:moveTo>
                  <a:lnTo>
                    <a:pt x="253259" y="957266"/>
                  </a:lnTo>
                  <a:lnTo>
                    <a:pt x="257278" y="961305"/>
                  </a:lnTo>
                  <a:lnTo>
                    <a:pt x="257278" y="971175"/>
                  </a:lnTo>
                  <a:lnTo>
                    <a:pt x="253259" y="975214"/>
                  </a:lnTo>
                  <a:lnTo>
                    <a:pt x="243349" y="975214"/>
                  </a:lnTo>
                  <a:lnTo>
                    <a:pt x="239330" y="971175"/>
                  </a:lnTo>
                  <a:lnTo>
                    <a:pt x="239330" y="961305"/>
                  </a:lnTo>
                  <a:close/>
                  <a:moveTo>
                    <a:pt x="4036" y="957266"/>
                  </a:moveTo>
                  <a:lnTo>
                    <a:pt x="13946" y="957266"/>
                  </a:lnTo>
                  <a:lnTo>
                    <a:pt x="17965" y="961305"/>
                  </a:lnTo>
                  <a:lnTo>
                    <a:pt x="17965" y="971176"/>
                  </a:lnTo>
                  <a:lnTo>
                    <a:pt x="13946" y="975214"/>
                  </a:lnTo>
                  <a:lnTo>
                    <a:pt x="4036" y="975214"/>
                  </a:lnTo>
                  <a:lnTo>
                    <a:pt x="16" y="971176"/>
                  </a:lnTo>
                  <a:lnTo>
                    <a:pt x="16" y="961305"/>
                  </a:lnTo>
                  <a:close/>
                  <a:moveTo>
                    <a:pt x="3350359" y="718040"/>
                  </a:moveTo>
                  <a:lnTo>
                    <a:pt x="3360268" y="718040"/>
                  </a:lnTo>
                  <a:lnTo>
                    <a:pt x="3364287" y="722078"/>
                  </a:lnTo>
                  <a:lnTo>
                    <a:pt x="3364287" y="731948"/>
                  </a:lnTo>
                  <a:lnTo>
                    <a:pt x="3360268" y="735987"/>
                  </a:lnTo>
                  <a:lnTo>
                    <a:pt x="3350359" y="735987"/>
                  </a:lnTo>
                  <a:lnTo>
                    <a:pt x="3346340" y="731948"/>
                  </a:lnTo>
                  <a:lnTo>
                    <a:pt x="3346340" y="722078"/>
                  </a:lnTo>
                  <a:close/>
                  <a:moveTo>
                    <a:pt x="3111048" y="718040"/>
                  </a:moveTo>
                  <a:lnTo>
                    <a:pt x="3120959" y="718040"/>
                  </a:lnTo>
                  <a:lnTo>
                    <a:pt x="3124977" y="722078"/>
                  </a:lnTo>
                  <a:lnTo>
                    <a:pt x="3124977" y="731949"/>
                  </a:lnTo>
                  <a:lnTo>
                    <a:pt x="3120959" y="735987"/>
                  </a:lnTo>
                  <a:lnTo>
                    <a:pt x="3111048" y="735987"/>
                  </a:lnTo>
                  <a:lnTo>
                    <a:pt x="3107029" y="731949"/>
                  </a:lnTo>
                  <a:lnTo>
                    <a:pt x="3107029" y="722078"/>
                  </a:lnTo>
                  <a:close/>
                  <a:moveTo>
                    <a:pt x="2871737" y="718040"/>
                  </a:moveTo>
                  <a:lnTo>
                    <a:pt x="2881646" y="718040"/>
                  </a:lnTo>
                  <a:lnTo>
                    <a:pt x="2885666" y="722078"/>
                  </a:lnTo>
                  <a:lnTo>
                    <a:pt x="2885666" y="731949"/>
                  </a:lnTo>
                  <a:lnTo>
                    <a:pt x="2881646" y="735987"/>
                  </a:lnTo>
                  <a:lnTo>
                    <a:pt x="2871737" y="735987"/>
                  </a:lnTo>
                  <a:lnTo>
                    <a:pt x="2867717" y="731949"/>
                  </a:lnTo>
                  <a:lnTo>
                    <a:pt x="2867717" y="722078"/>
                  </a:lnTo>
                  <a:close/>
                  <a:moveTo>
                    <a:pt x="2632423" y="718040"/>
                  </a:moveTo>
                  <a:lnTo>
                    <a:pt x="2642334" y="718040"/>
                  </a:lnTo>
                  <a:lnTo>
                    <a:pt x="2646352" y="722078"/>
                  </a:lnTo>
                  <a:lnTo>
                    <a:pt x="2646352" y="731949"/>
                  </a:lnTo>
                  <a:lnTo>
                    <a:pt x="2642334" y="735988"/>
                  </a:lnTo>
                  <a:lnTo>
                    <a:pt x="2632423" y="735988"/>
                  </a:lnTo>
                  <a:lnTo>
                    <a:pt x="2628404" y="731949"/>
                  </a:lnTo>
                  <a:lnTo>
                    <a:pt x="2628404" y="722078"/>
                  </a:lnTo>
                  <a:close/>
                  <a:moveTo>
                    <a:pt x="2393104" y="718040"/>
                  </a:moveTo>
                  <a:lnTo>
                    <a:pt x="2403015" y="718040"/>
                  </a:lnTo>
                  <a:lnTo>
                    <a:pt x="2407034" y="722078"/>
                  </a:lnTo>
                  <a:lnTo>
                    <a:pt x="2407034" y="731949"/>
                  </a:lnTo>
                  <a:lnTo>
                    <a:pt x="2403015" y="735988"/>
                  </a:lnTo>
                  <a:lnTo>
                    <a:pt x="2393104" y="735988"/>
                  </a:lnTo>
                  <a:lnTo>
                    <a:pt x="2389087" y="731949"/>
                  </a:lnTo>
                  <a:lnTo>
                    <a:pt x="2389087" y="722078"/>
                  </a:lnTo>
                  <a:close/>
                  <a:moveTo>
                    <a:pt x="4546929" y="718028"/>
                  </a:moveTo>
                  <a:lnTo>
                    <a:pt x="4556840" y="718028"/>
                  </a:lnTo>
                  <a:lnTo>
                    <a:pt x="4560859" y="722066"/>
                  </a:lnTo>
                  <a:lnTo>
                    <a:pt x="4560859" y="731935"/>
                  </a:lnTo>
                  <a:lnTo>
                    <a:pt x="4556840" y="735975"/>
                  </a:lnTo>
                  <a:lnTo>
                    <a:pt x="4546929" y="735975"/>
                  </a:lnTo>
                  <a:lnTo>
                    <a:pt x="4542910" y="731935"/>
                  </a:lnTo>
                  <a:lnTo>
                    <a:pt x="4542910" y="722066"/>
                  </a:lnTo>
                  <a:close/>
                  <a:moveTo>
                    <a:pt x="4307612" y="718028"/>
                  </a:moveTo>
                  <a:lnTo>
                    <a:pt x="4317523" y="718028"/>
                  </a:lnTo>
                  <a:lnTo>
                    <a:pt x="4321543" y="722066"/>
                  </a:lnTo>
                  <a:lnTo>
                    <a:pt x="4321543" y="731936"/>
                  </a:lnTo>
                  <a:lnTo>
                    <a:pt x="4317523" y="735975"/>
                  </a:lnTo>
                  <a:lnTo>
                    <a:pt x="4307612" y="735975"/>
                  </a:lnTo>
                  <a:lnTo>
                    <a:pt x="4303595" y="731936"/>
                  </a:lnTo>
                  <a:lnTo>
                    <a:pt x="4303595" y="722066"/>
                  </a:lnTo>
                  <a:close/>
                  <a:moveTo>
                    <a:pt x="4068297" y="718028"/>
                  </a:moveTo>
                  <a:lnTo>
                    <a:pt x="4078210" y="718028"/>
                  </a:lnTo>
                  <a:lnTo>
                    <a:pt x="4082229" y="722066"/>
                  </a:lnTo>
                  <a:lnTo>
                    <a:pt x="4082229" y="731936"/>
                  </a:lnTo>
                  <a:lnTo>
                    <a:pt x="4078210" y="735975"/>
                  </a:lnTo>
                  <a:lnTo>
                    <a:pt x="4068297" y="735975"/>
                  </a:lnTo>
                  <a:lnTo>
                    <a:pt x="4064278" y="731936"/>
                  </a:lnTo>
                  <a:lnTo>
                    <a:pt x="4064278" y="722066"/>
                  </a:lnTo>
                  <a:close/>
                  <a:moveTo>
                    <a:pt x="3828990" y="718028"/>
                  </a:moveTo>
                  <a:lnTo>
                    <a:pt x="3838899" y="718028"/>
                  </a:lnTo>
                  <a:lnTo>
                    <a:pt x="3842917" y="722066"/>
                  </a:lnTo>
                  <a:lnTo>
                    <a:pt x="3842917" y="731936"/>
                  </a:lnTo>
                  <a:lnTo>
                    <a:pt x="3838899" y="735975"/>
                  </a:lnTo>
                  <a:lnTo>
                    <a:pt x="3828990" y="735975"/>
                  </a:lnTo>
                  <a:lnTo>
                    <a:pt x="3824971" y="731936"/>
                  </a:lnTo>
                  <a:lnTo>
                    <a:pt x="3824971" y="722066"/>
                  </a:lnTo>
                  <a:close/>
                  <a:moveTo>
                    <a:pt x="3589676" y="718028"/>
                  </a:moveTo>
                  <a:lnTo>
                    <a:pt x="3599585" y="718028"/>
                  </a:lnTo>
                  <a:lnTo>
                    <a:pt x="3603604" y="722066"/>
                  </a:lnTo>
                  <a:lnTo>
                    <a:pt x="3603604" y="731936"/>
                  </a:lnTo>
                  <a:lnTo>
                    <a:pt x="3599585" y="735975"/>
                  </a:lnTo>
                  <a:lnTo>
                    <a:pt x="3589676" y="735975"/>
                  </a:lnTo>
                  <a:lnTo>
                    <a:pt x="3585657" y="731936"/>
                  </a:lnTo>
                  <a:lnTo>
                    <a:pt x="3585657" y="722066"/>
                  </a:lnTo>
                  <a:close/>
                  <a:moveTo>
                    <a:pt x="5743412" y="718015"/>
                  </a:moveTo>
                  <a:lnTo>
                    <a:pt x="5753323" y="718015"/>
                  </a:lnTo>
                  <a:lnTo>
                    <a:pt x="5757342" y="722053"/>
                  </a:lnTo>
                  <a:lnTo>
                    <a:pt x="5757342" y="731924"/>
                  </a:lnTo>
                  <a:lnTo>
                    <a:pt x="5753323" y="735963"/>
                  </a:lnTo>
                  <a:lnTo>
                    <a:pt x="5743412" y="735963"/>
                  </a:lnTo>
                  <a:lnTo>
                    <a:pt x="5739393" y="731924"/>
                  </a:lnTo>
                  <a:lnTo>
                    <a:pt x="5739393" y="722053"/>
                  </a:lnTo>
                  <a:close/>
                  <a:moveTo>
                    <a:pt x="5504099" y="718015"/>
                  </a:moveTo>
                  <a:lnTo>
                    <a:pt x="5514010" y="718015"/>
                  </a:lnTo>
                  <a:lnTo>
                    <a:pt x="5518029" y="722053"/>
                  </a:lnTo>
                  <a:lnTo>
                    <a:pt x="5518029" y="731924"/>
                  </a:lnTo>
                  <a:lnTo>
                    <a:pt x="5514010" y="735963"/>
                  </a:lnTo>
                  <a:lnTo>
                    <a:pt x="5504099" y="735963"/>
                  </a:lnTo>
                  <a:lnTo>
                    <a:pt x="5500080" y="731924"/>
                  </a:lnTo>
                  <a:lnTo>
                    <a:pt x="5500080" y="722053"/>
                  </a:lnTo>
                  <a:close/>
                  <a:moveTo>
                    <a:pt x="5264784" y="718015"/>
                  </a:moveTo>
                  <a:lnTo>
                    <a:pt x="5274694" y="718015"/>
                  </a:lnTo>
                  <a:lnTo>
                    <a:pt x="5278713" y="722053"/>
                  </a:lnTo>
                  <a:lnTo>
                    <a:pt x="5278713" y="731924"/>
                  </a:lnTo>
                  <a:lnTo>
                    <a:pt x="5274694" y="735963"/>
                  </a:lnTo>
                  <a:lnTo>
                    <a:pt x="5264784" y="735963"/>
                  </a:lnTo>
                  <a:lnTo>
                    <a:pt x="5260765" y="731924"/>
                  </a:lnTo>
                  <a:lnTo>
                    <a:pt x="5260765" y="722053"/>
                  </a:lnTo>
                  <a:close/>
                  <a:moveTo>
                    <a:pt x="5025470" y="718015"/>
                  </a:moveTo>
                  <a:lnTo>
                    <a:pt x="5035381" y="718015"/>
                  </a:lnTo>
                  <a:lnTo>
                    <a:pt x="5039400" y="722053"/>
                  </a:lnTo>
                  <a:lnTo>
                    <a:pt x="5039400" y="731924"/>
                  </a:lnTo>
                  <a:lnTo>
                    <a:pt x="5035381" y="735963"/>
                  </a:lnTo>
                  <a:lnTo>
                    <a:pt x="5025470" y="735963"/>
                  </a:lnTo>
                  <a:lnTo>
                    <a:pt x="5021451" y="731924"/>
                  </a:lnTo>
                  <a:lnTo>
                    <a:pt x="5021451" y="722053"/>
                  </a:lnTo>
                  <a:close/>
                  <a:moveTo>
                    <a:pt x="4786241" y="718015"/>
                  </a:moveTo>
                  <a:lnTo>
                    <a:pt x="4796152" y="718015"/>
                  </a:lnTo>
                  <a:lnTo>
                    <a:pt x="4800171" y="722053"/>
                  </a:lnTo>
                  <a:lnTo>
                    <a:pt x="4800171" y="731924"/>
                  </a:lnTo>
                  <a:lnTo>
                    <a:pt x="4796152" y="735963"/>
                  </a:lnTo>
                  <a:lnTo>
                    <a:pt x="4786241" y="735963"/>
                  </a:lnTo>
                  <a:lnTo>
                    <a:pt x="4782224" y="731924"/>
                  </a:lnTo>
                  <a:lnTo>
                    <a:pt x="4782224" y="722053"/>
                  </a:lnTo>
                  <a:close/>
                  <a:moveTo>
                    <a:pt x="6939983" y="718003"/>
                  </a:moveTo>
                  <a:lnTo>
                    <a:pt x="6949894" y="718003"/>
                  </a:lnTo>
                  <a:lnTo>
                    <a:pt x="6953913" y="722041"/>
                  </a:lnTo>
                  <a:lnTo>
                    <a:pt x="6953913" y="731911"/>
                  </a:lnTo>
                  <a:lnTo>
                    <a:pt x="6949894" y="735950"/>
                  </a:lnTo>
                  <a:lnTo>
                    <a:pt x="6939983" y="735950"/>
                  </a:lnTo>
                  <a:lnTo>
                    <a:pt x="6935964" y="731911"/>
                  </a:lnTo>
                  <a:lnTo>
                    <a:pt x="6935964" y="722041"/>
                  </a:lnTo>
                  <a:close/>
                  <a:moveTo>
                    <a:pt x="6700670" y="718003"/>
                  </a:moveTo>
                  <a:lnTo>
                    <a:pt x="6710581" y="718003"/>
                  </a:lnTo>
                  <a:lnTo>
                    <a:pt x="6714600" y="722041"/>
                  </a:lnTo>
                  <a:lnTo>
                    <a:pt x="6714600" y="731912"/>
                  </a:lnTo>
                  <a:lnTo>
                    <a:pt x="6710581" y="735950"/>
                  </a:lnTo>
                  <a:lnTo>
                    <a:pt x="6700670" y="735950"/>
                  </a:lnTo>
                  <a:lnTo>
                    <a:pt x="6696651" y="731912"/>
                  </a:lnTo>
                  <a:lnTo>
                    <a:pt x="6696651" y="722041"/>
                  </a:lnTo>
                  <a:close/>
                  <a:moveTo>
                    <a:pt x="6461356" y="718003"/>
                  </a:moveTo>
                  <a:lnTo>
                    <a:pt x="6471266" y="718003"/>
                  </a:lnTo>
                  <a:lnTo>
                    <a:pt x="6475285" y="722041"/>
                  </a:lnTo>
                  <a:lnTo>
                    <a:pt x="6475285" y="731912"/>
                  </a:lnTo>
                  <a:lnTo>
                    <a:pt x="6471266" y="735950"/>
                  </a:lnTo>
                  <a:lnTo>
                    <a:pt x="6461356" y="735950"/>
                  </a:lnTo>
                  <a:lnTo>
                    <a:pt x="6457337" y="731912"/>
                  </a:lnTo>
                  <a:lnTo>
                    <a:pt x="6457337" y="722041"/>
                  </a:lnTo>
                  <a:close/>
                  <a:moveTo>
                    <a:pt x="6222042" y="718003"/>
                  </a:moveTo>
                  <a:lnTo>
                    <a:pt x="6231952" y="718003"/>
                  </a:lnTo>
                  <a:lnTo>
                    <a:pt x="6235971" y="722041"/>
                  </a:lnTo>
                  <a:lnTo>
                    <a:pt x="6235971" y="731912"/>
                  </a:lnTo>
                  <a:lnTo>
                    <a:pt x="6231952" y="735951"/>
                  </a:lnTo>
                  <a:lnTo>
                    <a:pt x="6222042" y="735951"/>
                  </a:lnTo>
                  <a:lnTo>
                    <a:pt x="6218023" y="731912"/>
                  </a:lnTo>
                  <a:lnTo>
                    <a:pt x="6218023" y="722041"/>
                  </a:lnTo>
                  <a:close/>
                  <a:moveTo>
                    <a:pt x="5982729" y="718003"/>
                  </a:moveTo>
                  <a:lnTo>
                    <a:pt x="5992639" y="718003"/>
                  </a:lnTo>
                  <a:lnTo>
                    <a:pt x="5996658" y="722041"/>
                  </a:lnTo>
                  <a:lnTo>
                    <a:pt x="5996658" y="731912"/>
                  </a:lnTo>
                  <a:lnTo>
                    <a:pt x="5992639" y="735951"/>
                  </a:lnTo>
                  <a:lnTo>
                    <a:pt x="5982729" y="735951"/>
                  </a:lnTo>
                  <a:lnTo>
                    <a:pt x="5978710" y="731912"/>
                  </a:lnTo>
                  <a:lnTo>
                    <a:pt x="5978710" y="722041"/>
                  </a:lnTo>
                  <a:close/>
                  <a:moveTo>
                    <a:pt x="8136553" y="717990"/>
                  </a:moveTo>
                  <a:lnTo>
                    <a:pt x="8146464" y="717990"/>
                  </a:lnTo>
                  <a:lnTo>
                    <a:pt x="8150483" y="722028"/>
                  </a:lnTo>
                  <a:lnTo>
                    <a:pt x="8150483" y="731899"/>
                  </a:lnTo>
                  <a:lnTo>
                    <a:pt x="8146464" y="735938"/>
                  </a:lnTo>
                  <a:lnTo>
                    <a:pt x="8136553" y="735938"/>
                  </a:lnTo>
                  <a:lnTo>
                    <a:pt x="8132534" y="731899"/>
                  </a:lnTo>
                  <a:lnTo>
                    <a:pt x="8132534" y="722028"/>
                  </a:lnTo>
                  <a:close/>
                  <a:moveTo>
                    <a:pt x="7897241" y="717990"/>
                  </a:moveTo>
                  <a:lnTo>
                    <a:pt x="7907151" y="717990"/>
                  </a:lnTo>
                  <a:lnTo>
                    <a:pt x="7911170" y="722029"/>
                  </a:lnTo>
                  <a:lnTo>
                    <a:pt x="7911170" y="731899"/>
                  </a:lnTo>
                  <a:lnTo>
                    <a:pt x="7907151" y="735938"/>
                  </a:lnTo>
                  <a:lnTo>
                    <a:pt x="7897241" y="735938"/>
                  </a:lnTo>
                  <a:lnTo>
                    <a:pt x="7893222" y="731899"/>
                  </a:lnTo>
                  <a:lnTo>
                    <a:pt x="7893222" y="722029"/>
                  </a:lnTo>
                  <a:close/>
                  <a:moveTo>
                    <a:pt x="7657926" y="717990"/>
                  </a:moveTo>
                  <a:lnTo>
                    <a:pt x="7667836" y="717990"/>
                  </a:lnTo>
                  <a:lnTo>
                    <a:pt x="7671855" y="722029"/>
                  </a:lnTo>
                  <a:lnTo>
                    <a:pt x="7671855" y="731899"/>
                  </a:lnTo>
                  <a:lnTo>
                    <a:pt x="7667836" y="735938"/>
                  </a:lnTo>
                  <a:lnTo>
                    <a:pt x="7657926" y="735938"/>
                  </a:lnTo>
                  <a:lnTo>
                    <a:pt x="7653906" y="731899"/>
                  </a:lnTo>
                  <a:lnTo>
                    <a:pt x="7653906" y="722029"/>
                  </a:lnTo>
                  <a:close/>
                  <a:moveTo>
                    <a:pt x="7418611" y="717990"/>
                  </a:moveTo>
                  <a:lnTo>
                    <a:pt x="7428521" y="717990"/>
                  </a:lnTo>
                  <a:lnTo>
                    <a:pt x="7432540" y="722029"/>
                  </a:lnTo>
                  <a:lnTo>
                    <a:pt x="7432540" y="731899"/>
                  </a:lnTo>
                  <a:lnTo>
                    <a:pt x="7428521" y="735938"/>
                  </a:lnTo>
                  <a:lnTo>
                    <a:pt x="7418611" y="735938"/>
                  </a:lnTo>
                  <a:lnTo>
                    <a:pt x="7414592" y="731899"/>
                  </a:lnTo>
                  <a:lnTo>
                    <a:pt x="7414592" y="722029"/>
                  </a:lnTo>
                  <a:close/>
                  <a:moveTo>
                    <a:pt x="7179298" y="717990"/>
                  </a:moveTo>
                  <a:lnTo>
                    <a:pt x="7189209" y="717990"/>
                  </a:lnTo>
                  <a:lnTo>
                    <a:pt x="7193228" y="722029"/>
                  </a:lnTo>
                  <a:lnTo>
                    <a:pt x="7193228" y="731899"/>
                  </a:lnTo>
                  <a:lnTo>
                    <a:pt x="7189209" y="735938"/>
                  </a:lnTo>
                  <a:lnTo>
                    <a:pt x="7179298" y="735938"/>
                  </a:lnTo>
                  <a:lnTo>
                    <a:pt x="7175279" y="731899"/>
                  </a:lnTo>
                  <a:lnTo>
                    <a:pt x="7175279" y="722029"/>
                  </a:lnTo>
                  <a:close/>
                  <a:moveTo>
                    <a:pt x="961272" y="717980"/>
                  </a:moveTo>
                  <a:lnTo>
                    <a:pt x="971182" y="717980"/>
                  </a:lnTo>
                  <a:lnTo>
                    <a:pt x="975202" y="722018"/>
                  </a:lnTo>
                  <a:lnTo>
                    <a:pt x="975202" y="731889"/>
                  </a:lnTo>
                  <a:lnTo>
                    <a:pt x="971182" y="735928"/>
                  </a:lnTo>
                  <a:lnTo>
                    <a:pt x="961272" y="735928"/>
                  </a:lnTo>
                  <a:lnTo>
                    <a:pt x="957254" y="731889"/>
                  </a:lnTo>
                  <a:lnTo>
                    <a:pt x="957254" y="722018"/>
                  </a:lnTo>
                  <a:close/>
                  <a:moveTo>
                    <a:pt x="1679219" y="717979"/>
                  </a:moveTo>
                  <a:lnTo>
                    <a:pt x="1689128" y="717979"/>
                  </a:lnTo>
                  <a:lnTo>
                    <a:pt x="1693149" y="722018"/>
                  </a:lnTo>
                  <a:lnTo>
                    <a:pt x="1693149" y="731889"/>
                  </a:lnTo>
                  <a:lnTo>
                    <a:pt x="1689128" y="735927"/>
                  </a:lnTo>
                  <a:lnTo>
                    <a:pt x="1679219" y="735927"/>
                  </a:lnTo>
                  <a:lnTo>
                    <a:pt x="1675200" y="731889"/>
                  </a:lnTo>
                  <a:lnTo>
                    <a:pt x="1675200" y="722018"/>
                  </a:lnTo>
                  <a:close/>
                  <a:moveTo>
                    <a:pt x="1439901" y="717979"/>
                  </a:moveTo>
                  <a:lnTo>
                    <a:pt x="1449811" y="717979"/>
                  </a:lnTo>
                  <a:lnTo>
                    <a:pt x="1453831" y="722018"/>
                  </a:lnTo>
                  <a:lnTo>
                    <a:pt x="1453831" y="731889"/>
                  </a:lnTo>
                  <a:lnTo>
                    <a:pt x="1449811" y="735927"/>
                  </a:lnTo>
                  <a:lnTo>
                    <a:pt x="1439901" y="735927"/>
                  </a:lnTo>
                  <a:lnTo>
                    <a:pt x="1435883" y="731889"/>
                  </a:lnTo>
                  <a:lnTo>
                    <a:pt x="1435883" y="722018"/>
                  </a:lnTo>
                  <a:close/>
                  <a:moveTo>
                    <a:pt x="1200585" y="717979"/>
                  </a:moveTo>
                  <a:lnTo>
                    <a:pt x="1210495" y="717979"/>
                  </a:lnTo>
                  <a:lnTo>
                    <a:pt x="1214513" y="722018"/>
                  </a:lnTo>
                  <a:lnTo>
                    <a:pt x="1214513" y="731889"/>
                  </a:lnTo>
                  <a:lnTo>
                    <a:pt x="1210495" y="735927"/>
                  </a:lnTo>
                  <a:lnTo>
                    <a:pt x="1200585" y="735927"/>
                  </a:lnTo>
                  <a:lnTo>
                    <a:pt x="1196566" y="731889"/>
                  </a:lnTo>
                  <a:lnTo>
                    <a:pt x="1196566" y="722018"/>
                  </a:lnTo>
                  <a:close/>
                  <a:moveTo>
                    <a:pt x="9333125" y="717978"/>
                  </a:moveTo>
                  <a:lnTo>
                    <a:pt x="9343036" y="717978"/>
                  </a:lnTo>
                  <a:lnTo>
                    <a:pt x="9347055" y="722016"/>
                  </a:lnTo>
                  <a:lnTo>
                    <a:pt x="9347055" y="731887"/>
                  </a:lnTo>
                  <a:lnTo>
                    <a:pt x="9343036" y="735926"/>
                  </a:lnTo>
                  <a:lnTo>
                    <a:pt x="9333125" y="735926"/>
                  </a:lnTo>
                  <a:lnTo>
                    <a:pt x="9329106" y="731887"/>
                  </a:lnTo>
                  <a:lnTo>
                    <a:pt x="9329106" y="722016"/>
                  </a:lnTo>
                  <a:close/>
                  <a:moveTo>
                    <a:pt x="9093811" y="717978"/>
                  </a:moveTo>
                  <a:lnTo>
                    <a:pt x="9103722" y="717978"/>
                  </a:lnTo>
                  <a:lnTo>
                    <a:pt x="9107741" y="722016"/>
                  </a:lnTo>
                  <a:lnTo>
                    <a:pt x="9107741" y="731887"/>
                  </a:lnTo>
                  <a:lnTo>
                    <a:pt x="9103722" y="735926"/>
                  </a:lnTo>
                  <a:lnTo>
                    <a:pt x="9093811" y="735926"/>
                  </a:lnTo>
                  <a:lnTo>
                    <a:pt x="9089792" y="731887"/>
                  </a:lnTo>
                  <a:lnTo>
                    <a:pt x="9089792" y="722016"/>
                  </a:lnTo>
                  <a:close/>
                  <a:moveTo>
                    <a:pt x="8854496" y="717978"/>
                  </a:moveTo>
                  <a:lnTo>
                    <a:pt x="8864407" y="717978"/>
                  </a:lnTo>
                  <a:lnTo>
                    <a:pt x="8868426" y="722016"/>
                  </a:lnTo>
                  <a:lnTo>
                    <a:pt x="8868426" y="731887"/>
                  </a:lnTo>
                  <a:lnTo>
                    <a:pt x="8864407" y="735926"/>
                  </a:lnTo>
                  <a:lnTo>
                    <a:pt x="8854496" y="735926"/>
                  </a:lnTo>
                  <a:lnTo>
                    <a:pt x="8850477" y="731887"/>
                  </a:lnTo>
                  <a:lnTo>
                    <a:pt x="8850477" y="722016"/>
                  </a:lnTo>
                  <a:close/>
                  <a:moveTo>
                    <a:pt x="8615184" y="717978"/>
                  </a:moveTo>
                  <a:lnTo>
                    <a:pt x="8625095" y="717978"/>
                  </a:lnTo>
                  <a:lnTo>
                    <a:pt x="8629114" y="722016"/>
                  </a:lnTo>
                  <a:lnTo>
                    <a:pt x="8629114" y="731887"/>
                  </a:lnTo>
                  <a:lnTo>
                    <a:pt x="8625095" y="735926"/>
                  </a:lnTo>
                  <a:lnTo>
                    <a:pt x="8615184" y="735926"/>
                  </a:lnTo>
                  <a:lnTo>
                    <a:pt x="8611165" y="731887"/>
                  </a:lnTo>
                  <a:lnTo>
                    <a:pt x="8611165" y="722016"/>
                  </a:lnTo>
                  <a:close/>
                  <a:moveTo>
                    <a:pt x="8375869" y="717978"/>
                  </a:moveTo>
                  <a:lnTo>
                    <a:pt x="8385779" y="717978"/>
                  </a:lnTo>
                  <a:lnTo>
                    <a:pt x="8389799" y="722016"/>
                  </a:lnTo>
                  <a:lnTo>
                    <a:pt x="8389799" y="731887"/>
                  </a:lnTo>
                  <a:lnTo>
                    <a:pt x="8385779" y="735926"/>
                  </a:lnTo>
                  <a:lnTo>
                    <a:pt x="8375869" y="735926"/>
                  </a:lnTo>
                  <a:lnTo>
                    <a:pt x="8371850" y="731887"/>
                  </a:lnTo>
                  <a:lnTo>
                    <a:pt x="8371850" y="722016"/>
                  </a:lnTo>
                  <a:close/>
                  <a:moveTo>
                    <a:pt x="1918514" y="717970"/>
                  </a:moveTo>
                  <a:lnTo>
                    <a:pt x="1928424" y="717970"/>
                  </a:lnTo>
                  <a:lnTo>
                    <a:pt x="1932444" y="722009"/>
                  </a:lnTo>
                  <a:lnTo>
                    <a:pt x="1932444" y="731879"/>
                  </a:lnTo>
                  <a:lnTo>
                    <a:pt x="1928424" y="735918"/>
                  </a:lnTo>
                  <a:lnTo>
                    <a:pt x="1918514" y="735918"/>
                  </a:lnTo>
                  <a:lnTo>
                    <a:pt x="1914495" y="731879"/>
                  </a:lnTo>
                  <a:lnTo>
                    <a:pt x="1914495" y="722009"/>
                  </a:lnTo>
                  <a:close/>
                  <a:moveTo>
                    <a:pt x="2157823" y="717968"/>
                  </a:moveTo>
                  <a:lnTo>
                    <a:pt x="2167733" y="717968"/>
                  </a:lnTo>
                  <a:lnTo>
                    <a:pt x="2171753" y="722006"/>
                  </a:lnTo>
                  <a:lnTo>
                    <a:pt x="2171753" y="731877"/>
                  </a:lnTo>
                  <a:lnTo>
                    <a:pt x="2167733" y="735916"/>
                  </a:lnTo>
                  <a:lnTo>
                    <a:pt x="2157823" y="735916"/>
                  </a:lnTo>
                  <a:lnTo>
                    <a:pt x="2153804" y="731877"/>
                  </a:lnTo>
                  <a:lnTo>
                    <a:pt x="2153804" y="722006"/>
                  </a:lnTo>
                  <a:close/>
                  <a:moveTo>
                    <a:pt x="9572438" y="717966"/>
                  </a:moveTo>
                  <a:lnTo>
                    <a:pt x="9582349" y="717966"/>
                  </a:lnTo>
                  <a:lnTo>
                    <a:pt x="9586368" y="722004"/>
                  </a:lnTo>
                  <a:lnTo>
                    <a:pt x="9586368" y="731875"/>
                  </a:lnTo>
                  <a:lnTo>
                    <a:pt x="9582349" y="735914"/>
                  </a:lnTo>
                  <a:lnTo>
                    <a:pt x="9572438" y="735914"/>
                  </a:lnTo>
                  <a:lnTo>
                    <a:pt x="9568419" y="731875"/>
                  </a:lnTo>
                  <a:lnTo>
                    <a:pt x="9568419" y="722004"/>
                  </a:lnTo>
                  <a:close/>
                  <a:moveTo>
                    <a:pt x="243349" y="717939"/>
                  </a:moveTo>
                  <a:lnTo>
                    <a:pt x="253260" y="717939"/>
                  </a:lnTo>
                  <a:lnTo>
                    <a:pt x="257279" y="721977"/>
                  </a:lnTo>
                  <a:lnTo>
                    <a:pt x="257279" y="731847"/>
                  </a:lnTo>
                  <a:lnTo>
                    <a:pt x="253260" y="735886"/>
                  </a:lnTo>
                  <a:lnTo>
                    <a:pt x="243349" y="735886"/>
                  </a:lnTo>
                  <a:lnTo>
                    <a:pt x="239330" y="731847"/>
                  </a:lnTo>
                  <a:lnTo>
                    <a:pt x="239330" y="721977"/>
                  </a:lnTo>
                  <a:close/>
                  <a:moveTo>
                    <a:pt x="4036" y="717939"/>
                  </a:moveTo>
                  <a:lnTo>
                    <a:pt x="13947" y="717939"/>
                  </a:lnTo>
                  <a:lnTo>
                    <a:pt x="17965" y="721978"/>
                  </a:lnTo>
                  <a:lnTo>
                    <a:pt x="17965" y="731848"/>
                  </a:lnTo>
                  <a:lnTo>
                    <a:pt x="13947" y="735886"/>
                  </a:lnTo>
                  <a:lnTo>
                    <a:pt x="4036" y="735886"/>
                  </a:lnTo>
                  <a:lnTo>
                    <a:pt x="17" y="731848"/>
                  </a:lnTo>
                  <a:lnTo>
                    <a:pt x="17" y="721978"/>
                  </a:lnTo>
                  <a:close/>
                  <a:moveTo>
                    <a:pt x="721975" y="717939"/>
                  </a:moveTo>
                  <a:lnTo>
                    <a:pt x="731885" y="717939"/>
                  </a:lnTo>
                  <a:lnTo>
                    <a:pt x="735904" y="721977"/>
                  </a:lnTo>
                  <a:lnTo>
                    <a:pt x="735904" y="731847"/>
                  </a:lnTo>
                  <a:lnTo>
                    <a:pt x="731885" y="735886"/>
                  </a:lnTo>
                  <a:lnTo>
                    <a:pt x="721975" y="735886"/>
                  </a:lnTo>
                  <a:lnTo>
                    <a:pt x="717956" y="731847"/>
                  </a:lnTo>
                  <a:lnTo>
                    <a:pt x="717956" y="721977"/>
                  </a:lnTo>
                  <a:close/>
                  <a:moveTo>
                    <a:pt x="482663" y="717939"/>
                  </a:moveTo>
                  <a:lnTo>
                    <a:pt x="492573" y="717939"/>
                  </a:lnTo>
                  <a:lnTo>
                    <a:pt x="496593" y="721977"/>
                  </a:lnTo>
                  <a:lnTo>
                    <a:pt x="496593" y="731847"/>
                  </a:lnTo>
                  <a:lnTo>
                    <a:pt x="492573" y="735886"/>
                  </a:lnTo>
                  <a:lnTo>
                    <a:pt x="482663" y="735886"/>
                  </a:lnTo>
                  <a:lnTo>
                    <a:pt x="478643" y="731847"/>
                  </a:lnTo>
                  <a:lnTo>
                    <a:pt x="478643" y="721977"/>
                  </a:lnTo>
                  <a:close/>
                  <a:moveTo>
                    <a:pt x="3350359" y="478760"/>
                  </a:moveTo>
                  <a:lnTo>
                    <a:pt x="3360268" y="478760"/>
                  </a:lnTo>
                  <a:lnTo>
                    <a:pt x="3364287" y="482801"/>
                  </a:lnTo>
                  <a:lnTo>
                    <a:pt x="3364287" y="492670"/>
                  </a:lnTo>
                  <a:lnTo>
                    <a:pt x="3360268" y="496707"/>
                  </a:lnTo>
                  <a:lnTo>
                    <a:pt x="3350359" y="496707"/>
                  </a:lnTo>
                  <a:lnTo>
                    <a:pt x="3346340" y="492670"/>
                  </a:lnTo>
                  <a:lnTo>
                    <a:pt x="3346340" y="482801"/>
                  </a:lnTo>
                  <a:close/>
                  <a:moveTo>
                    <a:pt x="3111048" y="478760"/>
                  </a:moveTo>
                  <a:lnTo>
                    <a:pt x="3120959" y="478760"/>
                  </a:lnTo>
                  <a:lnTo>
                    <a:pt x="3124977" y="482801"/>
                  </a:lnTo>
                  <a:lnTo>
                    <a:pt x="3124977" y="492670"/>
                  </a:lnTo>
                  <a:lnTo>
                    <a:pt x="3120959" y="496707"/>
                  </a:lnTo>
                  <a:lnTo>
                    <a:pt x="3111048" y="496707"/>
                  </a:lnTo>
                  <a:lnTo>
                    <a:pt x="3107029" y="492670"/>
                  </a:lnTo>
                  <a:lnTo>
                    <a:pt x="3107029" y="482801"/>
                  </a:lnTo>
                  <a:close/>
                  <a:moveTo>
                    <a:pt x="2871737" y="478760"/>
                  </a:moveTo>
                  <a:lnTo>
                    <a:pt x="2881646" y="478760"/>
                  </a:lnTo>
                  <a:lnTo>
                    <a:pt x="2885666" y="482801"/>
                  </a:lnTo>
                  <a:lnTo>
                    <a:pt x="2885666" y="492670"/>
                  </a:lnTo>
                  <a:lnTo>
                    <a:pt x="2881646" y="496707"/>
                  </a:lnTo>
                  <a:lnTo>
                    <a:pt x="2871737" y="496707"/>
                  </a:lnTo>
                  <a:lnTo>
                    <a:pt x="2867717" y="492670"/>
                  </a:lnTo>
                  <a:lnTo>
                    <a:pt x="2867717" y="482801"/>
                  </a:lnTo>
                  <a:close/>
                  <a:moveTo>
                    <a:pt x="2632423" y="478760"/>
                  </a:moveTo>
                  <a:lnTo>
                    <a:pt x="2642334" y="478760"/>
                  </a:lnTo>
                  <a:lnTo>
                    <a:pt x="2646352" y="482801"/>
                  </a:lnTo>
                  <a:lnTo>
                    <a:pt x="2646352" y="492670"/>
                  </a:lnTo>
                  <a:lnTo>
                    <a:pt x="2642334" y="496707"/>
                  </a:lnTo>
                  <a:lnTo>
                    <a:pt x="2632423" y="496707"/>
                  </a:lnTo>
                  <a:lnTo>
                    <a:pt x="2628404" y="492670"/>
                  </a:lnTo>
                  <a:lnTo>
                    <a:pt x="2628404" y="482801"/>
                  </a:lnTo>
                  <a:close/>
                  <a:moveTo>
                    <a:pt x="2393104" y="478760"/>
                  </a:moveTo>
                  <a:lnTo>
                    <a:pt x="2403015" y="478760"/>
                  </a:lnTo>
                  <a:lnTo>
                    <a:pt x="2407034" y="482801"/>
                  </a:lnTo>
                  <a:lnTo>
                    <a:pt x="2407034" y="492670"/>
                  </a:lnTo>
                  <a:lnTo>
                    <a:pt x="2403015" y="496707"/>
                  </a:lnTo>
                  <a:lnTo>
                    <a:pt x="2393104" y="496707"/>
                  </a:lnTo>
                  <a:lnTo>
                    <a:pt x="2389087" y="492670"/>
                  </a:lnTo>
                  <a:lnTo>
                    <a:pt x="2389087" y="482801"/>
                  </a:lnTo>
                  <a:close/>
                  <a:moveTo>
                    <a:pt x="4546929" y="478748"/>
                  </a:moveTo>
                  <a:lnTo>
                    <a:pt x="4556840" y="478748"/>
                  </a:lnTo>
                  <a:lnTo>
                    <a:pt x="4560859" y="482789"/>
                  </a:lnTo>
                  <a:lnTo>
                    <a:pt x="4560859" y="492657"/>
                  </a:lnTo>
                  <a:lnTo>
                    <a:pt x="4556840" y="496695"/>
                  </a:lnTo>
                  <a:lnTo>
                    <a:pt x="4546929" y="496695"/>
                  </a:lnTo>
                  <a:lnTo>
                    <a:pt x="4542910" y="492657"/>
                  </a:lnTo>
                  <a:lnTo>
                    <a:pt x="4542910" y="482789"/>
                  </a:lnTo>
                  <a:close/>
                  <a:moveTo>
                    <a:pt x="4307612" y="478748"/>
                  </a:moveTo>
                  <a:lnTo>
                    <a:pt x="4317523" y="478748"/>
                  </a:lnTo>
                  <a:lnTo>
                    <a:pt x="4321543" y="482789"/>
                  </a:lnTo>
                  <a:lnTo>
                    <a:pt x="4321543" y="492657"/>
                  </a:lnTo>
                  <a:lnTo>
                    <a:pt x="4317523" y="496695"/>
                  </a:lnTo>
                  <a:lnTo>
                    <a:pt x="4307612" y="496695"/>
                  </a:lnTo>
                  <a:lnTo>
                    <a:pt x="4303595" y="492657"/>
                  </a:lnTo>
                  <a:lnTo>
                    <a:pt x="4303595" y="482789"/>
                  </a:lnTo>
                  <a:close/>
                  <a:moveTo>
                    <a:pt x="4068297" y="478748"/>
                  </a:moveTo>
                  <a:lnTo>
                    <a:pt x="4078210" y="478748"/>
                  </a:lnTo>
                  <a:lnTo>
                    <a:pt x="4082229" y="482789"/>
                  </a:lnTo>
                  <a:lnTo>
                    <a:pt x="4082229" y="492657"/>
                  </a:lnTo>
                  <a:lnTo>
                    <a:pt x="4078210" y="496695"/>
                  </a:lnTo>
                  <a:lnTo>
                    <a:pt x="4068297" y="496695"/>
                  </a:lnTo>
                  <a:lnTo>
                    <a:pt x="4064278" y="492657"/>
                  </a:lnTo>
                  <a:lnTo>
                    <a:pt x="4064278" y="482789"/>
                  </a:lnTo>
                  <a:close/>
                  <a:moveTo>
                    <a:pt x="3828990" y="478748"/>
                  </a:moveTo>
                  <a:lnTo>
                    <a:pt x="3838899" y="478748"/>
                  </a:lnTo>
                  <a:lnTo>
                    <a:pt x="3842917" y="482789"/>
                  </a:lnTo>
                  <a:lnTo>
                    <a:pt x="3842917" y="492657"/>
                  </a:lnTo>
                  <a:lnTo>
                    <a:pt x="3838899" y="496695"/>
                  </a:lnTo>
                  <a:lnTo>
                    <a:pt x="3828990" y="496695"/>
                  </a:lnTo>
                  <a:lnTo>
                    <a:pt x="3824971" y="492657"/>
                  </a:lnTo>
                  <a:lnTo>
                    <a:pt x="3824971" y="482789"/>
                  </a:lnTo>
                  <a:close/>
                  <a:moveTo>
                    <a:pt x="3589676" y="478748"/>
                  </a:moveTo>
                  <a:lnTo>
                    <a:pt x="3599585" y="478748"/>
                  </a:lnTo>
                  <a:lnTo>
                    <a:pt x="3603604" y="482789"/>
                  </a:lnTo>
                  <a:lnTo>
                    <a:pt x="3603604" y="492657"/>
                  </a:lnTo>
                  <a:lnTo>
                    <a:pt x="3599585" y="496695"/>
                  </a:lnTo>
                  <a:lnTo>
                    <a:pt x="3589676" y="496695"/>
                  </a:lnTo>
                  <a:lnTo>
                    <a:pt x="3585657" y="492657"/>
                  </a:lnTo>
                  <a:lnTo>
                    <a:pt x="3585657" y="482789"/>
                  </a:lnTo>
                  <a:close/>
                  <a:moveTo>
                    <a:pt x="5743412" y="478736"/>
                  </a:moveTo>
                  <a:lnTo>
                    <a:pt x="5753323" y="478736"/>
                  </a:lnTo>
                  <a:lnTo>
                    <a:pt x="5757342" y="482776"/>
                  </a:lnTo>
                  <a:lnTo>
                    <a:pt x="5757342" y="492645"/>
                  </a:lnTo>
                  <a:lnTo>
                    <a:pt x="5753323" y="496683"/>
                  </a:lnTo>
                  <a:lnTo>
                    <a:pt x="5743412" y="496683"/>
                  </a:lnTo>
                  <a:lnTo>
                    <a:pt x="5739393" y="492645"/>
                  </a:lnTo>
                  <a:lnTo>
                    <a:pt x="5739393" y="482776"/>
                  </a:lnTo>
                  <a:close/>
                  <a:moveTo>
                    <a:pt x="5504099" y="478736"/>
                  </a:moveTo>
                  <a:lnTo>
                    <a:pt x="5514010" y="478736"/>
                  </a:lnTo>
                  <a:lnTo>
                    <a:pt x="5518029" y="482776"/>
                  </a:lnTo>
                  <a:lnTo>
                    <a:pt x="5518029" y="492645"/>
                  </a:lnTo>
                  <a:lnTo>
                    <a:pt x="5514010" y="496683"/>
                  </a:lnTo>
                  <a:lnTo>
                    <a:pt x="5504099" y="496683"/>
                  </a:lnTo>
                  <a:lnTo>
                    <a:pt x="5500080" y="492645"/>
                  </a:lnTo>
                  <a:lnTo>
                    <a:pt x="5500080" y="482776"/>
                  </a:lnTo>
                  <a:close/>
                  <a:moveTo>
                    <a:pt x="5264784" y="478736"/>
                  </a:moveTo>
                  <a:lnTo>
                    <a:pt x="5274694" y="478736"/>
                  </a:lnTo>
                  <a:lnTo>
                    <a:pt x="5278713" y="482776"/>
                  </a:lnTo>
                  <a:lnTo>
                    <a:pt x="5278713" y="492645"/>
                  </a:lnTo>
                  <a:lnTo>
                    <a:pt x="5274694" y="496683"/>
                  </a:lnTo>
                  <a:lnTo>
                    <a:pt x="5264784" y="496683"/>
                  </a:lnTo>
                  <a:lnTo>
                    <a:pt x="5260765" y="492645"/>
                  </a:lnTo>
                  <a:lnTo>
                    <a:pt x="5260765" y="482776"/>
                  </a:lnTo>
                  <a:close/>
                  <a:moveTo>
                    <a:pt x="5025470" y="478736"/>
                  </a:moveTo>
                  <a:lnTo>
                    <a:pt x="5035381" y="478736"/>
                  </a:lnTo>
                  <a:lnTo>
                    <a:pt x="5039400" y="482776"/>
                  </a:lnTo>
                  <a:lnTo>
                    <a:pt x="5039400" y="492645"/>
                  </a:lnTo>
                  <a:lnTo>
                    <a:pt x="5035381" y="496683"/>
                  </a:lnTo>
                  <a:lnTo>
                    <a:pt x="5025470" y="496683"/>
                  </a:lnTo>
                  <a:lnTo>
                    <a:pt x="5021451" y="492645"/>
                  </a:lnTo>
                  <a:lnTo>
                    <a:pt x="5021451" y="482776"/>
                  </a:lnTo>
                  <a:close/>
                  <a:moveTo>
                    <a:pt x="4786241" y="478736"/>
                  </a:moveTo>
                  <a:lnTo>
                    <a:pt x="4796152" y="478736"/>
                  </a:lnTo>
                  <a:lnTo>
                    <a:pt x="4800171" y="482776"/>
                  </a:lnTo>
                  <a:lnTo>
                    <a:pt x="4800171" y="492645"/>
                  </a:lnTo>
                  <a:lnTo>
                    <a:pt x="4796152" y="496683"/>
                  </a:lnTo>
                  <a:lnTo>
                    <a:pt x="4786241" y="496683"/>
                  </a:lnTo>
                  <a:lnTo>
                    <a:pt x="4782224" y="492645"/>
                  </a:lnTo>
                  <a:lnTo>
                    <a:pt x="4782224" y="482776"/>
                  </a:lnTo>
                  <a:close/>
                  <a:moveTo>
                    <a:pt x="6939983" y="478724"/>
                  </a:moveTo>
                  <a:lnTo>
                    <a:pt x="6949894" y="478724"/>
                  </a:lnTo>
                  <a:lnTo>
                    <a:pt x="6953913" y="482764"/>
                  </a:lnTo>
                  <a:lnTo>
                    <a:pt x="6953913" y="492633"/>
                  </a:lnTo>
                  <a:lnTo>
                    <a:pt x="6949894" y="496671"/>
                  </a:lnTo>
                  <a:lnTo>
                    <a:pt x="6939983" y="496671"/>
                  </a:lnTo>
                  <a:lnTo>
                    <a:pt x="6935964" y="492633"/>
                  </a:lnTo>
                  <a:lnTo>
                    <a:pt x="6935964" y="482764"/>
                  </a:lnTo>
                  <a:close/>
                  <a:moveTo>
                    <a:pt x="6700670" y="478724"/>
                  </a:moveTo>
                  <a:lnTo>
                    <a:pt x="6710581" y="478724"/>
                  </a:lnTo>
                  <a:lnTo>
                    <a:pt x="6714600" y="482764"/>
                  </a:lnTo>
                  <a:lnTo>
                    <a:pt x="6714600" y="492633"/>
                  </a:lnTo>
                  <a:lnTo>
                    <a:pt x="6710581" y="496671"/>
                  </a:lnTo>
                  <a:lnTo>
                    <a:pt x="6700670" y="496671"/>
                  </a:lnTo>
                  <a:lnTo>
                    <a:pt x="6696651" y="492633"/>
                  </a:lnTo>
                  <a:lnTo>
                    <a:pt x="6696651" y="482764"/>
                  </a:lnTo>
                  <a:close/>
                  <a:moveTo>
                    <a:pt x="6461356" y="478724"/>
                  </a:moveTo>
                  <a:lnTo>
                    <a:pt x="6471266" y="478724"/>
                  </a:lnTo>
                  <a:lnTo>
                    <a:pt x="6475285" y="482764"/>
                  </a:lnTo>
                  <a:lnTo>
                    <a:pt x="6475285" y="492633"/>
                  </a:lnTo>
                  <a:lnTo>
                    <a:pt x="6471266" y="496671"/>
                  </a:lnTo>
                  <a:lnTo>
                    <a:pt x="6461356" y="496671"/>
                  </a:lnTo>
                  <a:lnTo>
                    <a:pt x="6457337" y="492633"/>
                  </a:lnTo>
                  <a:lnTo>
                    <a:pt x="6457337" y="482764"/>
                  </a:lnTo>
                  <a:close/>
                  <a:moveTo>
                    <a:pt x="6222042" y="478724"/>
                  </a:moveTo>
                  <a:lnTo>
                    <a:pt x="6231952" y="478724"/>
                  </a:lnTo>
                  <a:lnTo>
                    <a:pt x="6235971" y="482764"/>
                  </a:lnTo>
                  <a:lnTo>
                    <a:pt x="6235971" y="492633"/>
                  </a:lnTo>
                  <a:lnTo>
                    <a:pt x="6231952" y="496671"/>
                  </a:lnTo>
                  <a:lnTo>
                    <a:pt x="6222042" y="496671"/>
                  </a:lnTo>
                  <a:lnTo>
                    <a:pt x="6218023" y="492633"/>
                  </a:lnTo>
                  <a:lnTo>
                    <a:pt x="6218023" y="482764"/>
                  </a:lnTo>
                  <a:close/>
                  <a:moveTo>
                    <a:pt x="5982729" y="478724"/>
                  </a:moveTo>
                  <a:lnTo>
                    <a:pt x="5992639" y="478724"/>
                  </a:lnTo>
                  <a:lnTo>
                    <a:pt x="5996658" y="482764"/>
                  </a:lnTo>
                  <a:lnTo>
                    <a:pt x="5996658" y="492633"/>
                  </a:lnTo>
                  <a:lnTo>
                    <a:pt x="5992639" y="496671"/>
                  </a:lnTo>
                  <a:lnTo>
                    <a:pt x="5982729" y="496671"/>
                  </a:lnTo>
                  <a:lnTo>
                    <a:pt x="5978710" y="492633"/>
                  </a:lnTo>
                  <a:lnTo>
                    <a:pt x="5978710" y="482764"/>
                  </a:lnTo>
                  <a:close/>
                  <a:moveTo>
                    <a:pt x="7897241" y="478712"/>
                  </a:moveTo>
                  <a:lnTo>
                    <a:pt x="7907151" y="478712"/>
                  </a:lnTo>
                  <a:lnTo>
                    <a:pt x="7911170" y="482751"/>
                  </a:lnTo>
                  <a:lnTo>
                    <a:pt x="7911170" y="492620"/>
                  </a:lnTo>
                  <a:lnTo>
                    <a:pt x="7907151" y="496658"/>
                  </a:lnTo>
                  <a:lnTo>
                    <a:pt x="7897241" y="496658"/>
                  </a:lnTo>
                  <a:lnTo>
                    <a:pt x="7893222" y="492620"/>
                  </a:lnTo>
                  <a:lnTo>
                    <a:pt x="7893222" y="482751"/>
                  </a:lnTo>
                  <a:close/>
                  <a:moveTo>
                    <a:pt x="7657926" y="478712"/>
                  </a:moveTo>
                  <a:lnTo>
                    <a:pt x="7667836" y="478712"/>
                  </a:lnTo>
                  <a:lnTo>
                    <a:pt x="7671855" y="482751"/>
                  </a:lnTo>
                  <a:lnTo>
                    <a:pt x="7671855" y="492620"/>
                  </a:lnTo>
                  <a:lnTo>
                    <a:pt x="7667836" y="496659"/>
                  </a:lnTo>
                  <a:lnTo>
                    <a:pt x="7657926" y="496659"/>
                  </a:lnTo>
                  <a:lnTo>
                    <a:pt x="7653906" y="492620"/>
                  </a:lnTo>
                  <a:lnTo>
                    <a:pt x="7653906" y="482751"/>
                  </a:lnTo>
                  <a:close/>
                  <a:moveTo>
                    <a:pt x="7418611" y="478712"/>
                  </a:moveTo>
                  <a:lnTo>
                    <a:pt x="7428521" y="478712"/>
                  </a:lnTo>
                  <a:lnTo>
                    <a:pt x="7432540" y="482751"/>
                  </a:lnTo>
                  <a:lnTo>
                    <a:pt x="7432540" y="492620"/>
                  </a:lnTo>
                  <a:lnTo>
                    <a:pt x="7428521" y="496659"/>
                  </a:lnTo>
                  <a:lnTo>
                    <a:pt x="7418611" y="496659"/>
                  </a:lnTo>
                  <a:lnTo>
                    <a:pt x="7414592" y="492620"/>
                  </a:lnTo>
                  <a:lnTo>
                    <a:pt x="7414592" y="482751"/>
                  </a:lnTo>
                  <a:close/>
                  <a:moveTo>
                    <a:pt x="7179298" y="478712"/>
                  </a:moveTo>
                  <a:lnTo>
                    <a:pt x="7189209" y="478712"/>
                  </a:lnTo>
                  <a:lnTo>
                    <a:pt x="7193228" y="482751"/>
                  </a:lnTo>
                  <a:lnTo>
                    <a:pt x="7193228" y="492620"/>
                  </a:lnTo>
                  <a:lnTo>
                    <a:pt x="7189209" y="496659"/>
                  </a:lnTo>
                  <a:lnTo>
                    <a:pt x="7179298" y="496659"/>
                  </a:lnTo>
                  <a:lnTo>
                    <a:pt x="7175279" y="492620"/>
                  </a:lnTo>
                  <a:lnTo>
                    <a:pt x="7175279" y="482751"/>
                  </a:lnTo>
                  <a:close/>
                  <a:moveTo>
                    <a:pt x="8136553" y="478711"/>
                  </a:moveTo>
                  <a:lnTo>
                    <a:pt x="8146464" y="478711"/>
                  </a:lnTo>
                  <a:lnTo>
                    <a:pt x="8150483" y="482751"/>
                  </a:lnTo>
                  <a:lnTo>
                    <a:pt x="8150483" y="492620"/>
                  </a:lnTo>
                  <a:lnTo>
                    <a:pt x="8146464" y="496658"/>
                  </a:lnTo>
                  <a:lnTo>
                    <a:pt x="8136553" y="496658"/>
                  </a:lnTo>
                  <a:lnTo>
                    <a:pt x="8132534" y="492620"/>
                  </a:lnTo>
                  <a:lnTo>
                    <a:pt x="8132534" y="482751"/>
                  </a:lnTo>
                  <a:close/>
                  <a:moveTo>
                    <a:pt x="9093811" y="478699"/>
                  </a:moveTo>
                  <a:lnTo>
                    <a:pt x="9103722" y="478699"/>
                  </a:lnTo>
                  <a:lnTo>
                    <a:pt x="9107741" y="482738"/>
                  </a:lnTo>
                  <a:lnTo>
                    <a:pt x="9107741" y="492608"/>
                  </a:lnTo>
                  <a:lnTo>
                    <a:pt x="9103722" y="496646"/>
                  </a:lnTo>
                  <a:lnTo>
                    <a:pt x="9093811" y="496646"/>
                  </a:lnTo>
                  <a:lnTo>
                    <a:pt x="9089792" y="492608"/>
                  </a:lnTo>
                  <a:lnTo>
                    <a:pt x="9089792" y="482738"/>
                  </a:lnTo>
                  <a:close/>
                  <a:moveTo>
                    <a:pt x="8854496" y="478699"/>
                  </a:moveTo>
                  <a:lnTo>
                    <a:pt x="8864407" y="478699"/>
                  </a:lnTo>
                  <a:lnTo>
                    <a:pt x="8868426" y="482738"/>
                  </a:lnTo>
                  <a:lnTo>
                    <a:pt x="8868426" y="492608"/>
                  </a:lnTo>
                  <a:lnTo>
                    <a:pt x="8864407" y="496647"/>
                  </a:lnTo>
                  <a:lnTo>
                    <a:pt x="8854496" y="496647"/>
                  </a:lnTo>
                  <a:lnTo>
                    <a:pt x="8850477" y="492608"/>
                  </a:lnTo>
                  <a:lnTo>
                    <a:pt x="8850477" y="482738"/>
                  </a:lnTo>
                  <a:close/>
                  <a:moveTo>
                    <a:pt x="8615184" y="478699"/>
                  </a:moveTo>
                  <a:lnTo>
                    <a:pt x="8625095" y="478699"/>
                  </a:lnTo>
                  <a:lnTo>
                    <a:pt x="8629114" y="482739"/>
                  </a:lnTo>
                  <a:lnTo>
                    <a:pt x="8629114" y="492608"/>
                  </a:lnTo>
                  <a:lnTo>
                    <a:pt x="8625095" y="496647"/>
                  </a:lnTo>
                  <a:lnTo>
                    <a:pt x="8615184" y="496647"/>
                  </a:lnTo>
                  <a:lnTo>
                    <a:pt x="8611165" y="492608"/>
                  </a:lnTo>
                  <a:lnTo>
                    <a:pt x="8611165" y="482739"/>
                  </a:lnTo>
                  <a:close/>
                  <a:moveTo>
                    <a:pt x="8375869" y="478699"/>
                  </a:moveTo>
                  <a:lnTo>
                    <a:pt x="8385779" y="478699"/>
                  </a:lnTo>
                  <a:lnTo>
                    <a:pt x="8389799" y="482739"/>
                  </a:lnTo>
                  <a:lnTo>
                    <a:pt x="8389799" y="492608"/>
                  </a:lnTo>
                  <a:lnTo>
                    <a:pt x="8385779" y="496647"/>
                  </a:lnTo>
                  <a:lnTo>
                    <a:pt x="8375869" y="496647"/>
                  </a:lnTo>
                  <a:lnTo>
                    <a:pt x="8371850" y="492608"/>
                  </a:lnTo>
                  <a:lnTo>
                    <a:pt x="8371850" y="482739"/>
                  </a:lnTo>
                  <a:close/>
                  <a:moveTo>
                    <a:pt x="9333125" y="478698"/>
                  </a:moveTo>
                  <a:lnTo>
                    <a:pt x="9343036" y="478698"/>
                  </a:lnTo>
                  <a:lnTo>
                    <a:pt x="9347055" y="482738"/>
                  </a:lnTo>
                  <a:lnTo>
                    <a:pt x="9347055" y="492608"/>
                  </a:lnTo>
                  <a:lnTo>
                    <a:pt x="9343036" y="496646"/>
                  </a:lnTo>
                  <a:lnTo>
                    <a:pt x="9333125" y="496646"/>
                  </a:lnTo>
                  <a:lnTo>
                    <a:pt x="9329106" y="492608"/>
                  </a:lnTo>
                  <a:lnTo>
                    <a:pt x="9329106" y="482738"/>
                  </a:lnTo>
                  <a:close/>
                  <a:moveTo>
                    <a:pt x="9572438" y="478687"/>
                  </a:moveTo>
                  <a:lnTo>
                    <a:pt x="9582349" y="478687"/>
                  </a:lnTo>
                  <a:lnTo>
                    <a:pt x="9586368" y="482726"/>
                  </a:lnTo>
                  <a:lnTo>
                    <a:pt x="9586368" y="492596"/>
                  </a:lnTo>
                  <a:lnTo>
                    <a:pt x="9582349" y="496634"/>
                  </a:lnTo>
                  <a:lnTo>
                    <a:pt x="9572438" y="496634"/>
                  </a:lnTo>
                  <a:lnTo>
                    <a:pt x="9568419" y="492596"/>
                  </a:lnTo>
                  <a:lnTo>
                    <a:pt x="9568419" y="482726"/>
                  </a:lnTo>
                  <a:close/>
                  <a:moveTo>
                    <a:pt x="721976" y="478660"/>
                  </a:moveTo>
                  <a:lnTo>
                    <a:pt x="731886" y="478660"/>
                  </a:lnTo>
                  <a:lnTo>
                    <a:pt x="735905" y="482698"/>
                  </a:lnTo>
                  <a:lnTo>
                    <a:pt x="735905" y="492569"/>
                  </a:lnTo>
                  <a:lnTo>
                    <a:pt x="731886" y="496608"/>
                  </a:lnTo>
                  <a:lnTo>
                    <a:pt x="721976" y="496608"/>
                  </a:lnTo>
                  <a:lnTo>
                    <a:pt x="717957" y="492569"/>
                  </a:lnTo>
                  <a:lnTo>
                    <a:pt x="717957" y="482698"/>
                  </a:lnTo>
                  <a:close/>
                  <a:moveTo>
                    <a:pt x="482664" y="478660"/>
                  </a:moveTo>
                  <a:lnTo>
                    <a:pt x="492574" y="478660"/>
                  </a:lnTo>
                  <a:lnTo>
                    <a:pt x="496593" y="482698"/>
                  </a:lnTo>
                  <a:lnTo>
                    <a:pt x="496593" y="492569"/>
                  </a:lnTo>
                  <a:lnTo>
                    <a:pt x="492574" y="496608"/>
                  </a:lnTo>
                  <a:lnTo>
                    <a:pt x="482664" y="496608"/>
                  </a:lnTo>
                  <a:lnTo>
                    <a:pt x="478645" y="492569"/>
                  </a:lnTo>
                  <a:lnTo>
                    <a:pt x="478645" y="482698"/>
                  </a:lnTo>
                  <a:close/>
                  <a:moveTo>
                    <a:pt x="243350" y="478660"/>
                  </a:moveTo>
                  <a:lnTo>
                    <a:pt x="253260" y="478660"/>
                  </a:lnTo>
                  <a:lnTo>
                    <a:pt x="257279" y="482698"/>
                  </a:lnTo>
                  <a:lnTo>
                    <a:pt x="257279" y="492569"/>
                  </a:lnTo>
                  <a:lnTo>
                    <a:pt x="253260" y="496608"/>
                  </a:lnTo>
                  <a:lnTo>
                    <a:pt x="243350" y="496608"/>
                  </a:lnTo>
                  <a:lnTo>
                    <a:pt x="239331" y="492569"/>
                  </a:lnTo>
                  <a:lnTo>
                    <a:pt x="239331" y="482698"/>
                  </a:lnTo>
                  <a:close/>
                  <a:moveTo>
                    <a:pt x="4037" y="478660"/>
                  </a:moveTo>
                  <a:lnTo>
                    <a:pt x="13947" y="478660"/>
                  </a:lnTo>
                  <a:lnTo>
                    <a:pt x="17966" y="482698"/>
                  </a:lnTo>
                  <a:lnTo>
                    <a:pt x="17966" y="492569"/>
                  </a:lnTo>
                  <a:lnTo>
                    <a:pt x="13947" y="496608"/>
                  </a:lnTo>
                  <a:lnTo>
                    <a:pt x="4037" y="496608"/>
                  </a:lnTo>
                  <a:lnTo>
                    <a:pt x="18" y="492569"/>
                  </a:lnTo>
                  <a:lnTo>
                    <a:pt x="18" y="482698"/>
                  </a:lnTo>
                  <a:close/>
                  <a:moveTo>
                    <a:pt x="1679220" y="478650"/>
                  </a:moveTo>
                  <a:lnTo>
                    <a:pt x="1689130" y="478650"/>
                  </a:lnTo>
                  <a:lnTo>
                    <a:pt x="1693149" y="482688"/>
                  </a:lnTo>
                  <a:lnTo>
                    <a:pt x="1693149" y="492559"/>
                  </a:lnTo>
                  <a:lnTo>
                    <a:pt x="1689130" y="496598"/>
                  </a:lnTo>
                  <a:lnTo>
                    <a:pt x="1679220" y="496598"/>
                  </a:lnTo>
                  <a:lnTo>
                    <a:pt x="1675200" y="492559"/>
                  </a:lnTo>
                  <a:lnTo>
                    <a:pt x="1675200" y="482688"/>
                  </a:lnTo>
                  <a:close/>
                  <a:moveTo>
                    <a:pt x="1439902" y="478650"/>
                  </a:moveTo>
                  <a:lnTo>
                    <a:pt x="1449812" y="478650"/>
                  </a:lnTo>
                  <a:lnTo>
                    <a:pt x="1453831" y="482688"/>
                  </a:lnTo>
                  <a:lnTo>
                    <a:pt x="1453831" y="492559"/>
                  </a:lnTo>
                  <a:lnTo>
                    <a:pt x="1449812" y="496598"/>
                  </a:lnTo>
                  <a:lnTo>
                    <a:pt x="1439902" y="496598"/>
                  </a:lnTo>
                  <a:lnTo>
                    <a:pt x="1435883" y="492559"/>
                  </a:lnTo>
                  <a:lnTo>
                    <a:pt x="1435883" y="482688"/>
                  </a:lnTo>
                  <a:close/>
                  <a:moveTo>
                    <a:pt x="1200585" y="478650"/>
                  </a:moveTo>
                  <a:lnTo>
                    <a:pt x="1210496" y="478650"/>
                  </a:lnTo>
                  <a:lnTo>
                    <a:pt x="1214515" y="482689"/>
                  </a:lnTo>
                  <a:lnTo>
                    <a:pt x="1214515" y="492559"/>
                  </a:lnTo>
                  <a:lnTo>
                    <a:pt x="1210496" y="496598"/>
                  </a:lnTo>
                  <a:lnTo>
                    <a:pt x="1200585" y="496598"/>
                  </a:lnTo>
                  <a:lnTo>
                    <a:pt x="1196567" y="492559"/>
                  </a:lnTo>
                  <a:lnTo>
                    <a:pt x="1196567" y="482689"/>
                  </a:lnTo>
                  <a:close/>
                  <a:moveTo>
                    <a:pt x="961273" y="478650"/>
                  </a:moveTo>
                  <a:lnTo>
                    <a:pt x="971183" y="478650"/>
                  </a:lnTo>
                  <a:lnTo>
                    <a:pt x="975202" y="482689"/>
                  </a:lnTo>
                  <a:lnTo>
                    <a:pt x="975202" y="492559"/>
                  </a:lnTo>
                  <a:lnTo>
                    <a:pt x="971183" y="496598"/>
                  </a:lnTo>
                  <a:lnTo>
                    <a:pt x="961273" y="496598"/>
                  </a:lnTo>
                  <a:lnTo>
                    <a:pt x="957254" y="492559"/>
                  </a:lnTo>
                  <a:lnTo>
                    <a:pt x="957254" y="482689"/>
                  </a:lnTo>
                  <a:close/>
                  <a:moveTo>
                    <a:pt x="1918515" y="478641"/>
                  </a:moveTo>
                  <a:lnTo>
                    <a:pt x="1928425" y="478641"/>
                  </a:lnTo>
                  <a:lnTo>
                    <a:pt x="1932444" y="482679"/>
                  </a:lnTo>
                  <a:lnTo>
                    <a:pt x="1932444" y="492550"/>
                  </a:lnTo>
                  <a:lnTo>
                    <a:pt x="1928425" y="496589"/>
                  </a:lnTo>
                  <a:lnTo>
                    <a:pt x="1918515" y="496589"/>
                  </a:lnTo>
                  <a:lnTo>
                    <a:pt x="1914495" y="492550"/>
                  </a:lnTo>
                  <a:lnTo>
                    <a:pt x="1914495" y="482679"/>
                  </a:lnTo>
                  <a:close/>
                  <a:moveTo>
                    <a:pt x="2157823" y="478638"/>
                  </a:moveTo>
                  <a:lnTo>
                    <a:pt x="2167734" y="478638"/>
                  </a:lnTo>
                  <a:lnTo>
                    <a:pt x="2171753" y="482677"/>
                  </a:lnTo>
                  <a:lnTo>
                    <a:pt x="2171753" y="492548"/>
                  </a:lnTo>
                  <a:lnTo>
                    <a:pt x="2167734" y="496587"/>
                  </a:lnTo>
                  <a:lnTo>
                    <a:pt x="2157823" y="496587"/>
                  </a:lnTo>
                  <a:lnTo>
                    <a:pt x="2153804" y="492548"/>
                  </a:lnTo>
                  <a:lnTo>
                    <a:pt x="2153804" y="482677"/>
                  </a:lnTo>
                  <a:close/>
                  <a:moveTo>
                    <a:pt x="2632423" y="239432"/>
                  </a:moveTo>
                  <a:lnTo>
                    <a:pt x="2642334" y="239432"/>
                  </a:lnTo>
                  <a:lnTo>
                    <a:pt x="2646352" y="243470"/>
                  </a:lnTo>
                  <a:lnTo>
                    <a:pt x="2646352" y="253341"/>
                  </a:lnTo>
                  <a:lnTo>
                    <a:pt x="2642334" y="257380"/>
                  </a:lnTo>
                  <a:lnTo>
                    <a:pt x="2632423" y="257380"/>
                  </a:lnTo>
                  <a:lnTo>
                    <a:pt x="2628404" y="253341"/>
                  </a:lnTo>
                  <a:lnTo>
                    <a:pt x="2628404" y="243470"/>
                  </a:lnTo>
                  <a:close/>
                  <a:moveTo>
                    <a:pt x="2393104" y="239432"/>
                  </a:moveTo>
                  <a:lnTo>
                    <a:pt x="2403015" y="239432"/>
                  </a:lnTo>
                  <a:lnTo>
                    <a:pt x="2407034" y="243470"/>
                  </a:lnTo>
                  <a:lnTo>
                    <a:pt x="2407034" y="253341"/>
                  </a:lnTo>
                  <a:lnTo>
                    <a:pt x="2403015" y="257380"/>
                  </a:lnTo>
                  <a:lnTo>
                    <a:pt x="2393104" y="257380"/>
                  </a:lnTo>
                  <a:lnTo>
                    <a:pt x="2389087" y="253341"/>
                  </a:lnTo>
                  <a:lnTo>
                    <a:pt x="2389087" y="243470"/>
                  </a:lnTo>
                  <a:close/>
                  <a:moveTo>
                    <a:pt x="3350359" y="239432"/>
                  </a:moveTo>
                  <a:lnTo>
                    <a:pt x="3360268" y="239432"/>
                  </a:lnTo>
                  <a:lnTo>
                    <a:pt x="3364287" y="243470"/>
                  </a:lnTo>
                  <a:lnTo>
                    <a:pt x="3364287" y="253341"/>
                  </a:lnTo>
                  <a:lnTo>
                    <a:pt x="3360268" y="257380"/>
                  </a:lnTo>
                  <a:lnTo>
                    <a:pt x="3350359" y="257380"/>
                  </a:lnTo>
                  <a:lnTo>
                    <a:pt x="3346340" y="253341"/>
                  </a:lnTo>
                  <a:lnTo>
                    <a:pt x="3346340" y="243470"/>
                  </a:lnTo>
                  <a:close/>
                  <a:moveTo>
                    <a:pt x="3111048" y="239432"/>
                  </a:moveTo>
                  <a:lnTo>
                    <a:pt x="3120959" y="239432"/>
                  </a:lnTo>
                  <a:lnTo>
                    <a:pt x="3124977" y="243470"/>
                  </a:lnTo>
                  <a:lnTo>
                    <a:pt x="3124977" y="253341"/>
                  </a:lnTo>
                  <a:lnTo>
                    <a:pt x="3120959" y="257380"/>
                  </a:lnTo>
                  <a:lnTo>
                    <a:pt x="3111048" y="257380"/>
                  </a:lnTo>
                  <a:lnTo>
                    <a:pt x="3107029" y="253341"/>
                  </a:lnTo>
                  <a:lnTo>
                    <a:pt x="3107029" y="243470"/>
                  </a:lnTo>
                  <a:close/>
                  <a:moveTo>
                    <a:pt x="2871737" y="239432"/>
                  </a:moveTo>
                  <a:lnTo>
                    <a:pt x="2881646" y="239432"/>
                  </a:lnTo>
                  <a:lnTo>
                    <a:pt x="2885666" y="243470"/>
                  </a:lnTo>
                  <a:lnTo>
                    <a:pt x="2885666" y="253341"/>
                  </a:lnTo>
                  <a:lnTo>
                    <a:pt x="2881646" y="257380"/>
                  </a:lnTo>
                  <a:lnTo>
                    <a:pt x="2871737" y="257380"/>
                  </a:lnTo>
                  <a:lnTo>
                    <a:pt x="2867717" y="253341"/>
                  </a:lnTo>
                  <a:lnTo>
                    <a:pt x="2867717" y="243470"/>
                  </a:lnTo>
                  <a:close/>
                  <a:moveTo>
                    <a:pt x="3828990" y="239420"/>
                  </a:moveTo>
                  <a:lnTo>
                    <a:pt x="3838899" y="239420"/>
                  </a:lnTo>
                  <a:lnTo>
                    <a:pt x="3842917" y="243457"/>
                  </a:lnTo>
                  <a:lnTo>
                    <a:pt x="3842917" y="253328"/>
                  </a:lnTo>
                  <a:lnTo>
                    <a:pt x="3838899" y="257367"/>
                  </a:lnTo>
                  <a:lnTo>
                    <a:pt x="3828990" y="257367"/>
                  </a:lnTo>
                  <a:lnTo>
                    <a:pt x="3824971" y="253328"/>
                  </a:lnTo>
                  <a:lnTo>
                    <a:pt x="3824971" y="243457"/>
                  </a:lnTo>
                  <a:close/>
                  <a:moveTo>
                    <a:pt x="3589676" y="239420"/>
                  </a:moveTo>
                  <a:lnTo>
                    <a:pt x="3599585" y="239420"/>
                  </a:lnTo>
                  <a:lnTo>
                    <a:pt x="3603604" y="243457"/>
                  </a:lnTo>
                  <a:lnTo>
                    <a:pt x="3603604" y="253328"/>
                  </a:lnTo>
                  <a:lnTo>
                    <a:pt x="3599585" y="257367"/>
                  </a:lnTo>
                  <a:lnTo>
                    <a:pt x="3589676" y="257367"/>
                  </a:lnTo>
                  <a:lnTo>
                    <a:pt x="3585657" y="253328"/>
                  </a:lnTo>
                  <a:lnTo>
                    <a:pt x="3585657" y="243457"/>
                  </a:lnTo>
                  <a:close/>
                  <a:moveTo>
                    <a:pt x="4546929" y="239419"/>
                  </a:moveTo>
                  <a:lnTo>
                    <a:pt x="4556840" y="239419"/>
                  </a:lnTo>
                  <a:lnTo>
                    <a:pt x="4560859" y="243457"/>
                  </a:lnTo>
                  <a:lnTo>
                    <a:pt x="4560859" y="253328"/>
                  </a:lnTo>
                  <a:lnTo>
                    <a:pt x="4556840" y="257367"/>
                  </a:lnTo>
                  <a:lnTo>
                    <a:pt x="4546929" y="257367"/>
                  </a:lnTo>
                  <a:lnTo>
                    <a:pt x="4542910" y="253328"/>
                  </a:lnTo>
                  <a:lnTo>
                    <a:pt x="4542910" y="243457"/>
                  </a:lnTo>
                  <a:close/>
                  <a:moveTo>
                    <a:pt x="4307612" y="239419"/>
                  </a:moveTo>
                  <a:lnTo>
                    <a:pt x="4317523" y="239419"/>
                  </a:lnTo>
                  <a:lnTo>
                    <a:pt x="4321543" y="243457"/>
                  </a:lnTo>
                  <a:lnTo>
                    <a:pt x="4321543" y="253328"/>
                  </a:lnTo>
                  <a:lnTo>
                    <a:pt x="4317523" y="257367"/>
                  </a:lnTo>
                  <a:lnTo>
                    <a:pt x="4307612" y="257367"/>
                  </a:lnTo>
                  <a:lnTo>
                    <a:pt x="4303595" y="253328"/>
                  </a:lnTo>
                  <a:lnTo>
                    <a:pt x="4303595" y="243457"/>
                  </a:lnTo>
                  <a:close/>
                  <a:moveTo>
                    <a:pt x="4068297" y="239419"/>
                  </a:moveTo>
                  <a:lnTo>
                    <a:pt x="4078210" y="239419"/>
                  </a:lnTo>
                  <a:lnTo>
                    <a:pt x="4082229" y="243457"/>
                  </a:lnTo>
                  <a:lnTo>
                    <a:pt x="4082229" y="253328"/>
                  </a:lnTo>
                  <a:lnTo>
                    <a:pt x="4078210" y="257367"/>
                  </a:lnTo>
                  <a:lnTo>
                    <a:pt x="4068297" y="257367"/>
                  </a:lnTo>
                  <a:lnTo>
                    <a:pt x="4064278" y="253328"/>
                  </a:lnTo>
                  <a:lnTo>
                    <a:pt x="4064278" y="243457"/>
                  </a:lnTo>
                  <a:close/>
                  <a:moveTo>
                    <a:pt x="5025470" y="239407"/>
                  </a:moveTo>
                  <a:lnTo>
                    <a:pt x="5035381" y="239407"/>
                  </a:lnTo>
                  <a:lnTo>
                    <a:pt x="5039400" y="243445"/>
                  </a:lnTo>
                  <a:lnTo>
                    <a:pt x="5039400" y="253316"/>
                  </a:lnTo>
                  <a:lnTo>
                    <a:pt x="5035381" y="257355"/>
                  </a:lnTo>
                  <a:lnTo>
                    <a:pt x="5025470" y="257355"/>
                  </a:lnTo>
                  <a:lnTo>
                    <a:pt x="5021451" y="253316"/>
                  </a:lnTo>
                  <a:lnTo>
                    <a:pt x="5021451" y="243445"/>
                  </a:lnTo>
                  <a:close/>
                  <a:moveTo>
                    <a:pt x="4786241" y="239407"/>
                  </a:moveTo>
                  <a:lnTo>
                    <a:pt x="4796152" y="239407"/>
                  </a:lnTo>
                  <a:lnTo>
                    <a:pt x="4800171" y="243445"/>
                  </a:lnTo>
                  <a:lnTo>
                    <a:pt x="4800171" y="253316"/>
                  </a:lnTo>
                  <a:lnTo>
                    <a:pt x="4796152" y="257355"/>
                  </a:lnTo>
                  <a:lnTo>
                    <a:pt x="4786241" y="257355"/>
                  </a:lnTo>
                  <a:lnTo>
                    <a:pt x="4782224" y="253316"/>
                  </a:lnTo>
                  <a:lnTo>
                    <a:pt x="4782224" y="243445"/>
                  </a:lnTo>
                  <a:close/>
                  <a:moveTo>
                    <a:pt x="5743412" y="239407"/>
                  </a:moveTo>
                  <a:lnTo>
                    <a:pt x="5753323" y="239407"/>
                  </a:lnTo>
                  <a:lnTo>
                    <a:pt x="5757342" y="243445"/>
                  </a:lnTo>
                  <a:lnTo>
                    <a:pt x="5757342" y="253316"/>
                  </a:lnTo>
                  <a:lnTo>
                    <a:pt x="5753323" y="257355"/>
                  </a:lnTo>
                  <a:lnTo>
                    <a:pt x="5743412" y="257355"/>
                  </a:lnTo>
                  <a:lnTo>
                    <a:pt x="5739393" y="253316"/>
                  </a:lnTo>
                  <a:lnTo>
                    <a:pt x="5739393" y="243445"/>
                  </a:lnTo>
                  <a:close/>
                  <a:moveTo>
                    <a:pt x="5504099" y="239407"/>
                  </a:moveTo>
                  <a:lnTo>
                    <a:pt x="5514010" y="239407"/>
                  </a:lnTo>
                  <a:lnTo>
                    <a:pt x="5518029" y="243445"/>
                  </a:lnTo>
                  <a:lnTo>
                    <a:pt x="5518029" y="253316"/>
                  </a:lnTo>
                  <a:lnTo>
                    <a:pt x="5514010" y="257355"/>
                  </a:lnTo>
                  <a:lnTo>
                    <a:pt x="5504099" y="257355"/>
                  </a:lnTo>
                  <a:lnTo>
                    <a:pt x="5500080" y="253316"/>
                  </a:lnTo>
                  <a:lnTo>
                    <a:pt x="5500080" y="243445"/>
                  </a:lnTo>
                  <a:close/>
                  <a:moveTo>
                    <a:pt x="5264784" y="239407"/>
                  </a:moveTo>
                  <a:lnTo>
                    <a:pt x="5274694" y="239407"/>
                  </a:lnTo>
                  <a:lnTo>
                    <a:pt x="5278713" y="243445"/>
                  </a:lnTo>
                  <a:lnTo>
                    <a:pt x="5278713" y="253316"/>
                  </a:lnTo>
                  <a:lnTo>
                    <a:pt x="5274694" y="257355"/>
                  </a:lnTo>
                  <a:lnTo>
                    <a:pt x="5264784" y="257355"/>
                  </a:lnTo>
                  <a:lnTo>
                    <a:pt x="5260765" y="253316"/>
                  </a:lnTo>
                  <a:lnTo>
                    <a:pt x="5260765" y="243445"/>
                  </a:lnTo>
                  <a:close/>
                  <a:moveTo>
                    <a:pt x="6222042" y="239395"/>
                  </a:moveTo>
                  <a:lnTo>
                    <a:pt x="6231952" y="239395"/>
                  </a:lnTo>
                  <a:lnTo>
                    <a:pt x="6235971" y="243432"/>
                  </a:lnTo>
                  <a:lnTo>
                    <a:pt x="6235971" y="253303"/>
                  </a:lnTo>
                  <a:lnTo>
                    <a:pt x="6231952" y="257342"/>
                  </a:lnTo>
                  <a:lnTo>
                    <a:pt x="6222042" y="257342"/>
                  </a:lnTo>
                  <a:lnTo>
                    <a:pt x="6218023" y="253303"/>
                  </a:lnTo>
                  <a:lnTo>
                    <a:pt x="6218023" y="243432"/>
                  </a:lnTo>
                  <a:close/>
                  <a:moveTo>
                    <a:pt x="5982729" y="239395"/>
                  </a:moveTo>
                  <a:lnTo>
                    <a:pt x="5992639" y="239395"/>
                  </a:lnTo>
                  <a:lnTo>
                    <a:pt x="5996658" y="243433"/>
                  </a:lnTo>
                  <a:lnTo>
                    <a:pt x="5996658" y="253303"/>
                  </a:lnTo>
                  <a:lnTo>
                    <a:pt x="5992639" y="257342"/>
                  </a:lnTo>
                  <a:lnTo>
                    <a:pt x="5982729" y="257342"/>
                  </a:lnTo>
                  <a:lnTo>
                    <a:pt x="5978710" y="253303"/>
                  </a:lnTo>
                  <a:lnTo>
                    <a:pt x="5978710" y="243433"/>
                  </a:lnTo>
                  <a:close/>
                  <a:moveTo>
                    <a:pt x="6939983" y="239394"/>
                  </a:moveTo>
                  <a:lnTo>
                    <a:pt x="6949894" y="239394"/>
                  </a:lnTo>
                  <a:lnTo>
                    <a:pt x="6953913" y="243432"/>
                  </a:lnTo>
                  <a:lnTo>
                    <a:pt x="6953913" y="253303"/>
                  </a:lnTo>
                  <a:lnTo>
                    <a:pt x="6949894" y="257342"/>
                  </a:lnTo>
                  <a:lnTo>
                    <a:pt x="6939983" y="257342"/>
                  </a:lnTo>
                  <a:lnTo>
                    <a:pt x="6935964" y="253303"/>
                  </a:lnTo>
                  <a:lnTo>
                    <a:pt x="6935964" y="243432"/>
                  </a:lnTo>
                  <a:close/>
                  <a:moveTo>
                    <a:pt x="6700670" y="239394"/>
                  </a:moveTo>
                  <a:lnTo>
                    <a:pt x="6710581" y="239394"/>
                  </a:lnTo>
                  <a:lnTo>
                    <a:pt x="6714600" y="243432"/>
                  </a:lnTo>
                  <a:lnTo>
                    <a:pt x="6714600" y="253303"/>
                  </a:lnTo>
                  <a:lnTo>
                    <a:pt x="6710581" y="257342"/>
                  </a:lnTo>
                  <a:lnTo>
                    <a:pt x="6700670" y="257342"/>
                  </a:lnTo>
                  <a:lnTo>
                    <a:pt x="6696651" y="253303"/>
                  </a:lnTo>
                  <a:lnTo>
                    <a:pt x="6696651" y="243432"/>
                  </a:lnTo>
                  <a:close/>
                  <a:moveTo>
                    <a:pt x="6461356" y="239394"/>
                  </a:moveTo>
                  <a:lnTo>
                    <a:pt x="6471266" y="239394"/>
                  </a:lnTo>
                  <a:lnTo>
                    <a:pt x="6475285" y="243432"/>
                  </a:lnTo>
                  <a:lnTo>
                    <a:pt x="6475285" y="253303"/>
                  </a:lnTo>
                  <a:lnTo>
                    <a:pt x="6471266" y="257342"/>
                  </a:lnTo>
                  <a:lnTo>
                    <a:pt x="6461356" y="257342"/>
                  </a:lnTo>
                  <a:lnTo>
                    <a:pt x="6457337" y="253303"/>
                  </a:lnTo>
                  <a:lnTo>
                    <a:pt x="6457337" y="243432"/>
                  </a:lnTo>
                  <a:close/>
                  <a:moveTo>
                    <a:pt x="7418611" y="239382"/>
                  </a:moveTo>
                  <a:lnTo>
                    <a:pt x="7428521" y="239382"/>
                  </a:lnTo>
                  <a:lnTo>
                    <a:pt x="7432540" y="243420"/>
                  </a:lnTo>
                  <a:lnTo>
                    <a:pt x="7432540" y="253291"/>
                  </a:lnTo>
                  <a:lnTo>
                    <a:pt x="7428521" y="257330"/>
                  </a:lnTo>
                  <a:lnTo>
                    <a:pt x="7418611" y="257330"/>
                  </a:lnTo>
                  <a:lnTo>
                    <a:pt x="7414592" y="253291"/>
                  </a:lnTo>
                  <a:lnTo>
                    <a:pt x="7414592" y="243420"/>
                  </a:lnTo>
                  <a:close/>
                  <a:moveTo>
                    <a:pt x="7179298" y="239382"/>
                  </a:moveTo>
                  <a:lnTo>
                    <a:pt x="7189209" y="239382"/>
                  </a:lnTo>
                  <a:lnTo>
                    <a:pt x="7193228" y="243421"/>
                  </a:lnTo>
                  <a:lnTo>
                    <a:pt x="7193228" y="253292"/>
                  </a:lnTo>
                  <a:lnTo>
                    <a:pt x="7189209" y="257330"/>
                  </a:lnTo>
                  <a:lnTo>
                    <a:pt x="7179298" y="257330"/>
                  </a:lnTo>
                  <a:lnTo>
                    <a:pt x="7175279" y="253292"/>
                  </a:lnTo>
                  <a:lnTo>
                    <a:pt x="7175279" y="243421"/>
                  </a:lnTo>
                  <a:close/>
                  <a:moveTo>
                    <a:pt x="8136553" y="239382"/>
                  </a:moveTo>
                  <a:lnTo>
                    <a:pt x="8146464" y="239382"/>
                  </a:lnTo>
                  <a:lnTo>
                    <a:pt x="8150483" y="243420"/>
                  </a:lnTo>
                  <a:lnTo>
                    <a:pt x="8150483" y="253291"/>
                  </a:lnTo>
                  <a:lnTo>
                    <a:pt x="8146464" y="257330"/>
                  </a:lnTo>
                  <a:lnTo>
                    <a:pt x="8136553" y="257330"/>
                  </a:lnTo>
                  <a:lnTo>
                    <a:pt x="8132534" y="253291"/>
                  </a:lnTo>
                  <a:lnTo>
                    <a:pt x="8132534" y="243420"/>
                  </a:lnTo>
                  <a:close/>
                  <a:moveTo>
                    <a:pt x="7897241" y="239382"/>
                  </a:moveTo>
                  <a:lnTo>
                    <a:pt x="7907151" y="239382"/>
                  </a:lnTo>
                  <a:lnTo>
                    <a:pt x="7911170" y="243420"/>
                  </a:lnTo>
                  <a:lnTo>
                    <a:pt x="7911170" y="253291"/>
                  </a:lnTo>
                  <a:lnTo>
                    <a:pt x="7907151" y="257330"/>
                  </a:lnTo>
                  <a:lnTo>
                    <a:pt x="7897241" y="257330"/>
                  </a:lnTo>
                  <a:lnTo>
                    <a:pt x="7893222" y="253291"/>
                  </a:lnTo>
                  <a:lnTo>
                    <a:pt x="7893222" y="243420"/>
                  </a:lnTo>
                  <a:close/>
                  <a:moveTo>
                    <a:pt x="7657926" y="239382"/>
                  </a:moveTo>
                  <a:lnTo>
                    <a:pt x="7667836" y="239382"/>
                  </a:lnTo>
                  <a:lnTo>
                    <a:pt x="7671855" y="243420"/>
                  </a:lnTo>
                  <a:lnTo>
                    <a:pt x="7671855" y="253291"/>
                  </a:lnTo>
                  <a:lnTo>
                    <a:pt x="7667836" y="257330"/>
                  </a:lnTo>
                  <a:lnTo>
                    <a:pt x="7657926" y="257330"/>
                  </a:lnTo>
                  <a:lnTo>
                    <a:pt x="7653906" y="253291"/>
                  </a:lnTo>
                  <a:lnTo>
                    <a:pt x="7653906" y="243420"/>
                  </a:lnTo>
                  <a:close/>
                  <a:moveTo>
                    <a:pt x="1679220" y="239371"/>
                  </a:moveTo>
                  <a:lnTo>
                    <a:pt x="1689131" y="239371"/>
                  </a:lnTo>
                  <a:lnTo>
                    <a:pt x="1693150" y="243409"/>
                  </a:lnTo>
                  <a:lnTo>
                    <a:pt x="1693150" y="253280"/>
                  </a:lnTo>
                  <a:lnTo>
                    <a:pt x="1689131" y="257319"/>
                  </a:lnTo>
                  <a:lnTo>
                    <a:pt x="1679220" y="257319"/>
                  </a:lnTo>
                  <a:lnTo>
                    <a:pt x="1675202" y="253280"/>
                  </a:lnTo>
                  <a:lnTo>
                    <a:pt x="1675202" y="243409"/>
                  </a:lnTo>
                  <a:close/>
                  <a:moveTo>
                    <a:pt x="1439902" y="239371"/>
                  </a:moveTo>
                  <a:lnTo>
                    <a:pt x="1449813" y="239371"/>
                  </a:lnTo>
                  <a:lnTo>
                    <a:pt x="1453832" y="243409"/>
                  </a:lnTo>
                  <a:lnTo>
                    <a:pt x="1453832" y="253280"/>
                  </a:lnTo>
                  <a:lnTo>
                    <a:pt x="1449813" y="257319"/>
                  </a:lnTo>
                  <a:lnTo>
                    <a:pt x="1439902" y="257319"/>
                  </a:lnTo>
                  <a:lnTo>
                    <a:pt x="1435884" y="253280"/>
                  </a:lnTo>
                  <a:lnTo>
                    <a:pt x="1435884" y="243409"/>
                  </a:lnTo>
                  <a:close/>
                  <a:moveTo>
                    <a:pt x="1200587" y="239371"/>
                  </a:moveTo>
                  <a:lnTo>
                    <a:pt x="1210496" y="239371"/>
                  </a:lnTo>
                  <a:lnTo>
                    <a:pt x="1214515" y="243409"/>
                  </a:lnTo>
                  <a:lnTo>
                    <a:pt x="1214515" y="253280"/>
                  </a:lnTo>
                  <a:lnTo>
                    <a:pt x="1210496" y="257319"/>
                  </a:lnTo>
                  <a:lnTo>
                    <a:pt x="1200587" y="257319"/>
                  </a:lnTo>
                  <a:lnTo>
                    <a:pt x="1196567" y="253280"/>
                  </a:lnTo>
                  <a:lnTo>
                    <a:pt x="1196567" y="243409"/>
                  </a:lnTo>
                  <a:close/>
                  <a:moveTo>
                    <a:pt x="961273" y="239371"/>
                  </a:moveTo>
                  <a:lnTo>
                    <a:pt x="971184" y="239371"/>
                  </a:lnTo>
                  <a:lnTo>
                    <a:pt x="975203" y="243409"/>
                  </a:lnTo>
                  <a:lnTo>
                    <a:pt x="975203" y="253280"/>
                  </a:lnTo>
                  <a:lnTo>
                    <a:pt x="971184" y="257319"/>
                  </a:lnTo>
                  <a:lnTo>
                    <a:pt x="961273" y="257319"/>
                  </a:lnTo>
                  <a:lnTo>
                    <a:pt x="957255" y="253280"/>
                  </a:lnTo>
                  <a:lnTo>
                    <a:pt x="957255" y="243409"/>
                  </a:lnTo>
                  <a:close/>
                  <a:moveTo>
                    <a:pt x="8615184" y="239370"/>
                  </a:moveTo>
                  <a:lnTo>
                    <a:pt x="8625095" y="239370"/>
                  </a:lnTo>
                  <a:lnTo>
                    <a:pt x="8629114" y="243408"/>
                  </a:lnTo>
                  <a:lnTo>
                    <a:pt x="8629114" y="253278"/>
                  </a:lnTo>
                  <a:lnTo>
                    <a:pt x="8625095" y="257317"/>
                  </a:lnTo>
                  <a:lnTo>
                    <a:pt x="8615184" y="257317"/>
                  </a:lnTo>
                  <a:lnTo>
                    <a:pt x="8611165" y="253278"/>
                  </a:lnTo>
                  <a:lnTo>
                    <a:pt x="8611165" y="243408"/>
                  </a:lnTo>
                  <a:close/>
                  <a:moveTo>
                    <a:pt x="8375869" y="239370"/>
                  </a:moveTo>
                  <a:lnTo>
                    <a:pt x="8385779" y="239370"/>
                  </a:lnTo>
                  <a:lnTo>
                    <a:pt x="8389799" y="243408"/>
                  </a:lnTo>
                  <a:lnTo>
                    <a:pt x="8389799" y="253279"/>
                  </a:lnTo>
                  <a:lnTo>
                    <a:pt x="8385779" y="257318"/>
                  </a:lnTo>
                  <a:lnTo>
                    <a:pt x="8375869" y="257318"/>
                  </a:lnTo>
                  <a:lnTo>
                    <a:pt x="8371850" y="253279"/>
                  </a:lnTo>
                  <a:lnTo>
                    <a:pt x="8371850" y="243408"/>
                  </a:lnTo>
                  <a:close/>
                  <a:moveTo>
                    <a:pt x="9333125" y="239369"/>
                  </a:moveTo>
                  <a:lnTo>
                    <a:pt x="9343036" y="239369"/>
                  </a:lnTo>
                  <a:lnTo>
                    <a:pt x="9347055" y="243407"/>
                  </a:lnTo>
                  <a:lnTo>
                    <a:pt x="9347055" y="253278"/>
                  </a:lnTo>
                  <a:lnTo>
                    <a:pt x="9343036" y="257317"/>
                  </a:lnTo>
                  <a:lnTo>
                    <a:pt x="9333125" y="257317"/>
                  </a:lnTo>
                  <a:lnTo>
                    <a:pt x="9329106" y="253278"/>
                  </a:lnTo>
                  <a:lnTo>
                    <a:pt x="9329106" y="243407"/>
                  </a:lnTo>
                  <a:close/>
                  <a:moveTo>
                    <a:pt x="9093811" y="239369"/>
                  </a:moveTo>
                  <a:lnTo>
                    <a:pt x="9103722" y="239369"/>
                  </a:lnTo>
                  <a:lnTo>
                    <a:pt x="9107741" y="243407"/>
                  </a:lnTo>
                  <a:lnTo>
                    <a:pt x="9107741" y="253278"/>
                  </a:lnTo>
                  <a:lnTo>
                    <a:pt x="9103722" y="257317"/>
                  </a:lnTo>
                  <a:lnTo>
                    <a:pt x="9093811" y="257317"/>
                  </a:lnTo>
                  <a:lnTo>
                    <a:pt x="9089792" y="253278"/>
                  </a:lnTo>
                  <a:lnTo>
                    <a:pt x="9089792" y="243407"/>
                  </a:lnTo>
                  <a:close/>
                  <a:moveTo>
                    <a:pt x="8854496" y="239369"/>
                  </a:moveTo>
                  <a:lnTo>
                    <a:pt x="8864407" y="239369"/>
                  </a:lnTo>
                  <a:lnTo>
                    <a:pt x="8868426" y="243407"/>
                  </a:lnTo>
                  <a:lnTo>
                    <a:pt x="8868426" y="253278"/>
                  </a:lnTo>
                  <a:lnTo>
                    <a:pt x="8864407" y="257317"/>
                  </a:lnTo>
                  <a:lnTo>
                    <a:pt x="8854496" y="257317"/>
                  </a:lnTo>
                  <a:lnTo>
                    <a:pt x="8850477" y="253278"/>
                  </a:lnTo>
                  <a:lnTo>
                    <a:pt x="8850477" y="243407"/>
                  </a:lnTo>
                  <a:close/>
                  <a:moveTo>
                    <a:pt x="1918515" y="239361"/>
                  </a:moveTo>
                  <a:lnTo>
                    <a:pt x="1928425" y="239361"/>
                  </a:lnTo>
                  <a:lnTo>
                    <a:pt x="1932444" y="243400"/>
                  </a:lnTo>
                  <a:lnTo>
                    <a:pt x="1932444" y="253271"/>
                  </a:lnTo>
                  <a:lnTo>
                    <a:pt x="1928425" y="257310"/>
                  </a:lnTo>
                  <a:lnTo>
                    <a:pt x="1918515" y="257310"/>
                  </a:lnTo>
                  <a:lnTo>
                    <a:pt x="1914495" y="253271"/>
                  </a:lnTo>
                  <a:lnTo>
                    <a:pt x="1914495" y="243400"/>
                  </a:lnTo>
                  <a:close/>
                  <a:moveTo>
                    <a:pt x="2157824" y="239359"/>
                  </a:moveTo>
                  <a:lnTo>
                    <a:pt x="2167734" y="239359"/>
                  </a:lnTo>
                  <a:lnTo>
                    <a:pt x="2171753" y="243397"/>
                  </a:lnTo>
                  <a:lnTo>
                    <a:pt x="2171753" y="253268"/>
                  </a:lnTo>
                  <a:lnTo>
                    <a:pt x="2167734" y="257307"/>
                  </a:lnTo>
                  <a:lnTo>
                    <a:pt x="2157824" y="257307"/>
                  </a:lnTo>
                  <a:lnTo>
                    <a:pt x="2153804" y="253268"/>
                  </a:lnTo>
                  <a:lnTo>
                    <a:pt x="2153804" y="243397"/>
                  </a:lnTo>
                  <a:close/>
                  <a:moveTo>
                    <a:pt x="9572438" y="239357"/>
                  </a:moveTo>
                  <a:lnTo>
                    <a:pt x="9582349" y="239357"/>
                  </a:lnTo>
                  <a:lnTo>
                    <a:pt x="9586368" y="243395"/>
                  </a:lnTo>
                  <a:lnTo>
                    <a:pt x="9586368" y="253267"/>
                  </a:lnTo>
                  <a:lnTo>
                    <a:pt x="9582349" y="257306"/>
                  </a:lnTo>
                  <a:lnTo>
                    <a:pt x="9572438" y="257306"/>
                  </a:lnTo>
                  <a:lnTo>
                    <a:pt x="9568419" y="253267"/>
                  </a:lnTo>
                  <a:lnTo>
                    <a:pt x="9568419" y="243395"/>
                  </a:lnTo>
                  <a:close/>
                  <a:moveTo>
                    <a:pt x="721976" y="239330"/>
                  </a:moveTo>
                  <a:lnTo>
                    <a:pt x="731887" y="239330"/>
                  </a:lnTo>
                  <a:lnTo>
                    <a:pt x="735906" y="243368"/>
                  </a:lnTo>
                  <a:lnTo>
                    <a:pt x="735906" y="253239"/>
                  </a:lnTo>
                  <a:lnTo>
                    <a:pt x="731887" y="257278"/>
                  </a:lnTo>
                  <a:lnTo>
                    <a:pt x="721976" y="257278"/>
                  </a:lnTo>
                  <a:lnTo>
                    <a:pt x="717958" y="253239"/>
                  </a:lnTo>
                  <a:lnTo>
                    <a:pt x="717958" y="243368"/>
                  </a:lnTo>
                  <a:close/>
                  <a:moveTo>
                    <a:pt x="482664" y="239330"/>
                  </a:moveTo>
                  <a:lnTo>
                    <a:pt x="492575" y="239330"/>
                  </a:lnTo>
                  <a:lnTo>
                    <a:pt x="496594" y="243368"/>
                  </a:lnTo>
                  <a:lnTo>
                    <a:pt x="496594" y="253239"/>
                  </a:lnTo>
                  <a:lnTo>
                    <a:pt x="492575" y="257278"/>
                  </a:lnTo>
                  <a:lnTo>
                    <a:pt x="482664" y="257278"/>
                  </a:lnTo>
                  <a:lnTo>
                    <a:pt x="478645" y="253239"/>
                  </a:lnTo>
                  <a:lnTo>
                    <a:pt x="478645" y="243368"/>
                  </a:lnTo>
                  <a:close/>
                  <a:moveTo>
                    <a:pt x="243350" y="239330"/>
                  </a:moveTo>
                  <a:lnTo>
                    <a:pt x="253261" y="239330"/>
                  </a:lnTo>
                  <a:lnTo>
                    <a:pt x="257280" y="243368"/>
                  </a:lnTo>
                  <a:lnTo>
                    <a:pt x="257280" y="253239"/>
                  </a:lnTo>
                  <a:lnTo>
                    <a:pt x="253261" y="257278"/>
                  </a:lnTo>
                  <a:lnTo>
                    <a:pt x="243350" y="257278"/>
                  </a:lnTo>
                  <a:lnTo>
                    <a:pt x="239332" y="253239"/>
                  </a:lnTo>
                  <a:lnTo>
                    <a:pt x="239332" y="243368"/>
                  </a:lnTo>
                  <a:close/>
                  <a:moveTo>
                    <a:pt x="4037" y="239330"/>
                  </a:moveTo>
                  <a:lnTo>
                    <a:pt x="13948" y="239330"/>
                  </a:lnTo>
                  <a:lnTo>
                    <a:pt x="17967" y="243368"/>
                  </a:lnTo>
                  <a:lnTo>
                    <a:pt x="17967" y="253239"/>
                  </a:lnTo>
                  <a:lnTo>
                    <a:pt x="13948" y="257278"/>
                  </a:lnTo>
                  <a:lnTo>
                    <a:pt x="4037" y="257278"/>
                  </a:lnTo>
                  <a:lnTo>
                    <a:pt x="18" y="253239"/>
                  </a:lnTo>
                  <a:lnTo>
                    <a:pt x="18" y="243368"/>
                  </a:lnTo>
                  <a:close/>
                  <a:moveTo>
                    <a:pt x="3111048" y="106"/>
                  </a:moveTo>
                  <a:lnTo>
                    <a:pt x="3120959" y="106"/>
                  </a:lnTo>
                  <a:lnTo>
                    <a:pt x="3124977" y="4144"/>
                  </a:lnTo>
                  <a:lnTo>
                    <a:pt x="3124977" y="14015"/>
                  </a:lnTo>
                  <a:lnTo>
                    <a:pt x="3120959" y="18054"/>
                  </a:lnTo>
                  <a:lnTo>
                    <a:pt x="3111048" y="18054"/>
                  </a:lnTo>
                  <a:lnTo>
                    <a:pt x="3107029" y="14015"/>
                  </a:lnTo>
                  <a:lnTo>
                    <a:pt x="3107029" y="4144"/>
                  </a:lnTo>
                  <a:close/>
                  <a:moveTo>
                    <a:pt x="2871737" y="106"/>
                  </a:moveTo>
                  <a:lnTo>
                    <a:pt x="2881646" y="106"/>
                  </a:lnTo>
                  <a:lnTo>
                    <a:pt x="2885666" y="4145"/>
                  </a:lnTo>
                  <a:lnTo>
                    <a:pt x="2885666" y="14015"/>
                  </a:lnTo>
                  <a:lnTo>
                    <a:pt x="2881646" y="18054"/>
                  </a:lnTo>
                  <a:lnTo>
                    <a:pt x="2871737" y="18054"/>
                  </a:lnTo>
                  <a:lnTo>
                    <a:pt x="2867717" y="14015"/>
                  </a:lnTo>
                  <a:lnTo>
                    <a:pt x="2867717" y="4145"/>
                  </a:lnTo>
                  <a:close/>
                  <a:moveTo>
                    <a:pt x="2632423" y="106"/>
                  </a:moveTo>
                  <a:lnTo>
                    <a:pt x="2642334" y="106"/>
                  </a:lnTo>
                  <a:lnTo>
                    <a:pt x="2646352" y="4145"/>
                  </a:lnTo>
                  <a:lnTo>
                    <a:pt x="2646352" y="14016"/>
                  </a:lnTo>
                  <a:lnTo>
                    <a:pt x="2642334" y="18055"/>
                  </a:lnTo>
                  <a:lnTo>
                    <a:pt x="2632423" y="18055"/>
                  </a:lnTo>
                  <a:lnTo>
                    <a:pt x="2628404" y="14016"/>
                  </a:lnTo>
                  <a:lnTo>
                    <a:pt x="2628404" y="4145"/>
                  </a:lnTo>
                  <a:close/>
                  <a:moveTo>
                    <a:pt x="2393104" y="106"/>
                  </a:moveTo>
                  <a:lnTo>
                    <a:pt x="2403015" y="106"/>
                  </a:lnTo>
                  <a:lnTo>
                    <a:pt x="2407034" y="4145"/>
                  </a:lnTo>
                  <a:lnTo>
                    <a:pt x="2407034" y="14016"/>
                  </a:lnTo>
                  <a:lnTo>
                    <a:pt x="2403015" y="18055"/>
                  </a:lnTo>
                  <a:lnTo>
                    <a:pt x="2393104" y="18055"/>
                  </a:lnTo>
                  <a:lnTo>
                    <a:pt x="2389087" y="14016"/>
                  </a:lnTo>
                  <a:lnTo>
                    <a:pt x="2389087" y="4145"/>
                  </a:lnTo>
                  <a:close/>
                  <a:moveTo>
                    <a:pt x="3350359" y="106"/>
                  </a:moveTo>
                  <a:lnTo>
                    <a:pt x="3360268" y="106"/>
                  </a:lnTo>
                  <a:lnTo>
                    <a:pt x="3364287" y="4144"/>
                  </a:lnTo>
                  <a:lnTo>
                    <a:pt x="3364287" y="14015"/>
                  </a:lnTo>
                  <a:lnTo>
                    <a:pt x="3360268" y="18054"/>
                  </a:lnTo>
                  <a:lnTo>
                    <a:pt x="3350359" y="18054"/>
                  </a:lnTo>
                  <a:lnTo>
                    <a:pt x="3346340" y="14015"/>
                  </a:lnTo>
                  <a:lnTo>
                    <a:pt x="3346340" y="4144"/>
                  </a:lnTo>
                  <a:close/>
                  <a:moveTo>
                    <a:pt x="4546929" y="93"/>
                  </a:moveTo>
                  <a:lnTo>
                    <a:pt x="4556840" y="93"/>
                  </a:lnTo>
                  <a:lnTo>
                    <a:pt x="4560859" y="4132"/>
                  </a:lnTo>
                  <a:lnTo>
                    <a:pt x="4560859" y="14002"/>
                  </a:lnTo>
                  <a:lnTo>
                    <a:pt x="4556840" y="18041"/>
                  </a:lnTo>
                  <a:lnTo>
                    <a:pt x="4546929" y="18041"/>
                  </a:lnTo>
                  <a:lnTo>
                    <a:pt x="4542910" y="14002"/>
                  </a:lnTo>
                  <a:lnTo>
                    <a:pt x="4542910" y="4132"/>
                  </a:lnTo>
                  <a:close/>
                  <a:moveTo>
                    <a:pt x="4307612" y="93"/>
                  </a:moveTo>
                  <a:lnTo>
                    <a:pt x="4317523" y="93"/>
                  </a:lnTo>
                  <a:lnTo>
                    <a:pt x="4321543" y="4132"/>
                  </a:lnTo>
                  <a:lnTo>
                    <a:pt x="4321543" y="14003"/>
                  </a:lnTo>
                  <a:lnTo>
                    <a:pt x="4317523" y="18042"/>
                  </a:lnTo>
                  <a:lnTo>
                    <a:pt x="4307612" y="18042"/>
                  </a:lnTo>
                  <a:lnTo>
                    <a:pt x="4303595" y="14003"/>
                  </a:lnTo>
                  <a:lnTo>
                    <a:pt x="4303595" y="4132"/>
                  </a:lnTo>
                  <a:close/>
                  <a:moveTo>
                    <a:pt x="4068297" y="93"/>
                  </a:moveTo>
                  <a:lnTo>
                    <a:pt x="4078210" y="93"/>
                  </a:lnTo>
                  <a:lnTo>
                    <a:pt x="4082229" y="4132"/>
                  </a:lnTo>
                  <a:lnTo>
                    <a:pt x="4082229" y="14003"/>
                  </a:lnTo>
                  <a:lnTo>
                    <a:pt x="4078210" y="18042"/>
                  </a:lnTo>
                  <a:lnTo>
                    <a:pt x="4068297" y="18042"/>
                  </a:lnTo>
                  <a:lnTo>
                    <a:pt x="4064278" y="14003"/>
                  </a:lnTo>
                  <a:lnTo>
                    <a:pt x="4064278" y="4132"/>
                  </a:lnTo>
                  <a:close/>
                  <a:moveTo>
                    <a:pt x="3828990" y="93"/>
                  </a:moveTo>
                  <a:lnTo>
                    <a:pt x="3838899" y="93"/>
                  </a:lnTo>
                  <a:lnTo>
                    <a:pt x="3842917" y="4132"/>
                  </a:lnTo>
                  <a:lnTo>
                    <a:pt x="3842917" y="14003"/>
                  </a:lnTo>
                  <a:lnTo>
                    <a:pt x="3838899" y="18042"/>
                  </a:lnTo>
                  <a:lnTo>
                    <a:pt x="3828990" y="18042"/>
                  </a:lnTo>
                  <a:lnTo>
                    <a:pt x="3824971" y="14003"/>
                  </a:lnTo>
                  <a:lnTo>
                    <a:pt x="3824971" y="4132"/>
                  </a:lnTo>
                  <a:close/>
                  <a:moveTo>
                    <a:pt x="3589676" y="93"/>
                  </a:moveTo>
                  <a:lnTo>
                    <a:pt x="3599585" y="93"/>
                  </a:lnTo>
                  <a:lnTo>
                    <a:pt x="3603604" y="4132"/>
                  </a:lnTo>
                  <a:lnTo>
                    <a:pt x="3603604" y="14003"/>
                  </a:lnTo>
                  <a:lnTo>
                    <a:pt x="3599585" y="18042"/>
                  </a:lnTo>
                  <a:lnTo>
                    <a:pt x="3589676" y="18042"/>
                  </a:lnTo>
                  <a:lnTo>
                    <a:pt x="3585657" y="14003"/>
                  </a:lnTo>
                  <a:lnTo>
                    <a:pt x="3585657" y="4132"/>
                  </a:lnTo>
                  <a:close/>
                  <a:moveTo>
                    <a:pt x="4786241" y="81"/>
                  </a:moveTo>
                  <a:lnTo>
                    <a:pt x="4796152" y="81"/>
                  </a:lnTo>
                  <a:lnTo>
                    <a:pt x="4800171" y="4119"/>
                  </a:lnTo>
                  <a:lnTo>
                    <a:pt x="4800171" y="13990"/>
                  </a:lnTo>
                  <a:lnTo>
                    <a:pt x="4796152" y="18029"/>
                  </a:lnTo>
                  <a:lnTo>
                    <a:pt x="4786241" y="18029"/>
                  </a:lnTo>
                  <a:lnTo>
                    <a:pt x="4782224" y="13990"/>
                  </a:lnTo>
                  <a:lnTo>
                    <a:pt x="4782224" y="4119"/>
                  </a:lnTo>
                  <a:close/>
                  <a:moveTo>
                    <a:pt x="5743412" y="80"/>
                  </a:moveTo>
                  <a:lnTo>
                    <a:pt x="5753323" y="80"/>
                  </a:lnTo>
                  <a:lnTo>
                    <a:pt x="5757342" y="4119"/>
                  </a:lnTo>
                  <a:lnTo>
                    <a:pt x="5757342" y="13990"/>
                  </a:lnTo>
                  <a:lnTo>
                    <a:pt x="5753323" y="18029"/>
                  </a:lnTo>
                  <a:lnTo>
                    <a:pt x="5743412" y="18029"/>
                  </a:lnTo>
                  <a:lnTo>
                    <a:pt x="5739393" y="13990"/>
                  </a:lnTo>
                  <a:lnTo>
                    <a:pt x="5739393" y="4119"/>
                  </a:lnTo>
                  <a:close/>
                  <a:moveTo>
                    <a:pt x="5504099" y="80"/>
                  </a:moveTo>
                  <a:lnTo>
                    <a:pt x="5514010" y="80"/>
                  </a:lnTo>
                  <a:lnTo>
                    <a:pt x="5518029" y="4119"/>
                  </a:lnTo>
                  <a:lnTo>
                    <a:pt x="5518029" y="13990"/>
                  </a:lnTo>
                  <a:lnTo>
                    <a:pt x="5514010" y="18029"/>
                  </a:lnTo>
                  <a:lnTo>
                    <a:pt x="5504099" y="18029"/>
                  </a:lnTo>
                  <a:lnTo>
                    <a:pt x="5500080" y="13990"/>
                  </a:lnTo>
                  <a:lnTo>
                    <a:pt x="5500080" y="4119"/>
                  </a:lnTo>
                  <a:close/>
                  <a:moveTo>
                    <a:pt x="5264784" y="80"/>
                  </a:moveTo>
                  <a:lnTo>
                    <a:pt x="5274694" y="80"/>
                  </a:lnTo>
                  <a:lnTo>
                    <a:pt x="5278713" y="4119"/>
                  </a:lnTo>
                  <a:lnTo>
                    <a:pt x="5278713" y="13990"/>
                  </a:lnTo>
                  <a:lnTo>
                    <a:pt x="5274694" y="18029"/>
                  </a:lnTo>
                  <a:lnTo>
                    <a:pt x="5264784" y="18029"/>
                  </a:lnTo>
                  <a:lnTo>
                    <a:pt x="5260765" y="13990"/>
                  </a:lnTo>
                  <a:lnTo>
                    <a:pt x="5260765" y="4119"/>
                  </a:lnTo>
                  <a:close/>
                  <a:moveTo>
                    <a:pt x="5025470" y="80"/>
                  </a:moveTo>
                  <a:lnTo>
                    <a:pt x="5035381" y="80"/>
                  </a:lnTo>
                  <a:lnTo>
                    <a:pt x="5039400" y="4119"/>
                  </a:lnTo>
                  <a:lnTo>
                    <a:pt x="5039400" y="13990"/>
                  </a:lnTo>
                  <a:lnTo>
                    <a:pt x="5035381" y="18029"/>
                  </a:lnTo>
                  <a:lnTo>
                    <a:pt x="5025470" y="18029"/>
                  </a:lnTo>
                  <a:lnTo>
                    <a:pt x="5021451" y="13990"/>
                  </a:lnTo>
                  <a:lnTo>
                    <a:pt x="5021451" y="4119"/>
                  </a:lnTo>
                  <a:close/>
                  <a:moveTo>
                    <a:pt x="6461356" y="68"/>
                  </a:moveTo>
                  <a:lnTo>
                    <a:pt x="6471266" y="68"/>
                  </a:lnTo>
                  <a:lnTo>
                    <a:pt x="6475285" y="4106"/>
                  </a:lnTo>
                  <a:lnTo>
                    <a:pt x="6475285" y="13976"/>
                  </a:lnTo>
                  <a:lnTo>
                    <a:pt x="6471266" y="18015"/>
                  </a:lnTo>
                  <a:lnTo>
                    <a:pt x="6461356" y="18015"/>
                  </a:lnTo>
                  <a:lnTo>
                    <a:pt x="6457337" y="13976"/>
                  </a:lnTo>
                  <a:lnTo>
                    <a:pt x="6457337" y="4106"/>
                  </a:lnTo>
                  <a:close/>
                  <a:moveTo>
                    <a:pt x="6222042" y="68"/>
                  </a:moveTo>
                  <a:lnTo>
                    <a:pt x="6231952" y="68"/>
                  </a:lnTo>
                  <a:lnTo>
                    <a:pt x="6235971" y="4106"/>
                  </a:lnTo>
                  <a:lnTo>
                    <a:pt x="6235971" y="13977"/>
                  </a:lnTo>
                  <a:lnTo>
                    <a:pt x="6231952" y="18016"/>
                  </a:lnTo>
                  <a:lnTo>
                    <a:pt x="6222042" y="18016"/>
                  </a:lnTo>
                  <a:lnTo>
                    <a:pt x="6218023" y="13977"/>
                  </a:lnTo>
                  <a:lnTo>
                    <a:pt x="6218023" y="4106"/>
                  </a:lnTo>
                  <a:close/>
                  <a:moveTo>
                    <a:pt x="5982729" y="68"/>
                  </a:moveTo>
                  <a:lnTo>
                    <a:pt x="5992639" y="68"/>
                  </a:lnTo>
                  <a:lnTo>
                    <a:pt x="5996658" y="4106"/>
                  </a:lnTo>
                  <a:lnTo>
                    <a:pt x="5996658" y="13977"/>
                  </a:lnTo>
                  <a:lnTo>
                    <a:pt x="5992639" y="18016"/>
                  </a:lnTo>
                  <a:lnTo>
                    <a:pt x="5982729" y="18016"/>
                  </a:lnTo>
                  <a:lnTo>
                    <a:pt x="5978710" y="13977"/>
                  </a:lnTo>
                  <a:lnTo>
                    <a:pt x="5978710" y="4106"/>
                  </a:lnTo>
                  <a:close/>
                  <a:moveTo>
                    <a:pt x="6939983" y="67"/>
                  </a:moveTo>
                  <a:lnTo>
                    <a:pt x="6949894" y="67"/>
                  </a:lnTo>
                  <a:lnTo>
                    <a:pt x="6953913" y="4105"/>
                  </a:lnTo>
                  <a:lnTo>
                    <a:pt x="6953913" y="13976"/>
                  </a:lnTo>
                  <a:lnTo>
                    <a:pt x="6949894" y="18015"/>
                  </a:lnTo>
                  <a:lnTo>
                    <a:pt x="6939983" y="18015"/>
                  </a:lnTo>
                  <a:lnTo>
                    <a:pt x="6935964" y="13976"/>
                  </a:lnTo>
                  <a:lnTo>
                    <a:pt x="6935964" y="4105"/>
                  </a:lnTo>
                  <a:close/>
                  <a:moveTo>
                    <a:pt x="6700670" y="67"/>
                  </a:moveTo>
                  <a:lnTo>
                    <a:pt x="6710581" y="67"/>
                  </a:lnTo>
                  <a:lnTo>
                    <a:pt x="6714600" y="4105"/>
                  </a:lnTo>
                  <a:lnTo>
                    <a:pt x="6714600" y="13976"/>
                  </a:lnTo>
                  <a:lnTo>
                    <a:pt x="6710581" y="18015"/>
                  </a:lnTo>
                  <a:lnTo>
                    <a:pt x="6700670" y="18015"/>
                  </a:lnTo>
                  <a:lnTo>
                    <a:pt x="6696651" y="13976"/>
                  </a:lnTo>
                  <a:lnTo>
                    <a:pt x="6696651" y="4105"/>
                  </a:lnTo>
                  <a:close/>
                  <a:moveTo>
                    <a:pt x="8136553" y="54"/>
                  </a:moveTo>
                  <a:lnTo>
                    <a:pt x="8146464" y="54"/>
                  </a:lnTo>
                  <a:lnTo>
                    <a:pt x="8150483" y="4093"/>
                  </a:lnTo>
                  <a:lnTo>
                    <a:pt x="8150483" y="13963"/>
                  </a:lnTo>
                  <a:lnTo>
                    <a:pt x="8146464" y="18002"/>
                  </a:lnTo>
                  <a:lnTo>
                    <a:pt x="8136553" y="18002"/>
                  </a:lnTo>
                  <a:lnTo>
                    <a:pt x="8132534" y="13963"/>
                  </a:lnTo>
                  <a:lnTo>
                    <a:pt x="8132534" y="4093"/>
                  </a:lnTo>
                  <a:close/>
                  <a:moveTo>
                    <a:pt x="7897241" y="54"/>
                  </a:moveTo>
                  <a:lnTo>
                    <a:pt x="7907151" y="54"/>
                  </a:lnTo>
                  <a:lnTo>
                    <a:pt x="7911170" y="4093"/>
                  </a:lnTo>
                  <a:lnTo>
                    <a:pt x="7911170" y="13964"/>
                  </a:lnTo>
                  <a:lnTo>
                    <a:pt x="7907151" y="18003"/>
                  </a:lnTo>
                  <a:lnTo>
                    <a:pt x="7897241" y="18003"/>
                  </a:lnTo>
                  <a:lnTo>
                    <a:pt x="7893222" y="13964"/>
                  </a:lnTo>
                  <a:lnTo>
                    <a:pt x="7893222" y="4093"/>
                  </a:lnTo>
                  <a:close/>
                  <a:moveTo>
                    <a:pt x="7657926" y="54"/>
                  </a:moveTo>
                  <a:lnTo>
                    <a:pt x="7667836" y="54"/>
                  </a:lnTo>
                  <a:lnTo>
                    <a:pt x="7671855" y="4093"/>
                  </a:lnTo>
                  <a:lnTo>
                    <a:pt x="7671855" y="13964"/>
                  </a:lnTo>
                  <a:lnTo>
                    <a:pt x="7667836" y="18003"/>
                  </a:lnTo>
                  <a:lnTo>
                    <a:pt x="7657926" y="18003"/>
                  </a:lnTo>
                  <a:lnTo>
                    <a:pt x="7653906" y="13964"/>
                  </a:lnTo>
                  <a:lnTo>
                    <a:pt x="7653906" y="4093"/>
                  </a:lnTo>
                  <a:close/>
                  <a:moveTo>
                    <a:pt x="7418611" y="54"/>
                  </a:moveTo>
                  <a:lnTo>
                    <a:pt x="7428521" y="54"/>
                  </a:lnTo>
                  <a:lnTo>
                    <a:pt x="7432540" y="4093"/>
                  </a:lnTo>
                  <a:lnTo>
                    <a:pt x="7432540" y="13964"/>
                  </a:lnTo>
                  <a:lnTo>
                    <a:pt x="7428521" y="18003"/>
                  </a:lnTo>
                  <a:lnTo>
                    <a:pt x="7418611" y="18003"/>
                  </a:lnTo>
                  <a:lnTo>
                    <a:pt x="7414592" y="13964"/>
                  </a:lnTo>
                  <a:lnTo>
                    <a:pt x="7414592" y="4093"/>
                  </a:lnTo>
                  <a:close/>
                  <a:moveTo>
                    <a:pt x="7179298" y="54"/>
                  </a:moveTo>
                  <a:lnTo>
                    <a:pt x="7189209" y="54"/>
                  </a:lnTo>
                  <a:lnTo>
                    <a:pt x="7193228" y="4093"/>
                  </a:lnTo>
                  <a:lnTo>
                    <a:pt x="7193228" y="13964"/>
                  </a:lnTo>
                  <a:lnTo>
                    <a:pt x="7189209" y="18003"/>
                  </a:lnTo>
                  <a:lnTo>
                    <a:pt x="7179298" y="18003"/>
                  </a:lnTo>
                  <a:lnTo>
                    <a:pt x="7175279" y="13964"/>
                  </a:lnTo>
                  <a:lnTo>
                    <a:pt x="7175279" y="4093"/>
                  </a:lnTo>
                  <a:close/>
                  <a:moveTo>
                    <a:pt x="8375869" y="42"/>
                  </a:moveTo>
                  <a:lnTo>
                    <a:pt x="8385779" y="42"/>
                  </a:lnTo>
                  <a:lnTo>
                    <a:pt x="8389799" y="4080"/>
                  </a:lnTo>
                  <a:lnTo>
                    <a:pt x="8389799" y="13951"/>
                  </a:lnTo>
                  <a:lnTo>
                    <a:pt x="8385779" y="17990"/>
                  </a:lnTo>
                  <a:lnTo>
                    <a:pt x="8375869" y="17990"/>
                  </a:lnTo>
                  <a:lnTo>
                    <a:pt x="8371850" y="13951"/>
                  </a:lnTo>
                  <a:lnTo>
                    <a:pt x="8371850" y="4080"/>
                  </a:lnTo>
                  <a:close/>
                  <a:moveTo>
                    <a:pt x="9333125" y="41"/>
                  </a:moveTo>
                  <a:lnTo>
                    <a:pt x="9343036" y="41"/>
                  </a:lnTo>
                  <a:lnTo>
                    <a:pt x="9347055" y="4080"/>
                  </a:lnTo>
                  <a:lnTo>
                    <a:pt x="9347055" y="13951"/>
                  </a:lnTo>
                  <a:lnTo>
                    <a:pt x="9343036" y="17990"/>
                  </a:lnTo>
                  <a:lnTo>
                    <a:pt x="9333125" y="17990"/>
                  </a:lnTo>
                  <a:lnTo>
                    <a:pt x="9329106" y="13951"/>
                  </a:lnTo>
                  <a:lnTo>
                    <a:pt x="9329106" y="4080"/>
                  </a:lnTo>
                  <a:close/>
                  <a:moveTo>
                    <a:pt x="9093811" y="41"/>
                  </a:moveTo>
                  <a:lnTo>
                    <a:pt x="9103722" y="41"/>
                  </a:lnTo>
                  <a:lnTo>
                    <a:pt x="9107741" y="4080"/>
                  </a:lnTo>
                  <a:lnTo>
                    <a:pt x="9107741" y="13951"/>
                  </a:lnTo>
                  <a:lnTo>
                    <a:pt x="9103722" y="17990"/>
                  </a:lnTo>
                  <a:lnTo>
                    <a:pt x="9093811" y="17990"/>
                  </a:lnTo>
                  <a:lnTo>
                    <a:pt x="9089792" y="13951"/>
                  </a:lnTo>
                  <a:lnTo>
                    <a:pt x="9089792" y="4080"/>
                  </a:lnTo>
                  <a:close/>
                  <a:moveTo>
                    <a:pt x="8854496" y="41"/>
                  </a:moveTo>
                  <a:lnTo>
                    <a:pt x="8864407" y="41"/>
                  </a:lnTo>
                  <a:lnTo>
                    <a:pt x="8868426" y="4080"/>
                  </a:lnTo>
                  <a:lnTo>
                    <a:pt x="8868426" y="13951"/>
                  </a:lnTo>
                  <a:lnTo>
                    <a:pt x="8864407" y="17990"/>
                  </a:lnTo>
                  <a:lnTo>
                    <a:pt x="8854496" y="17990"/>
                  </a:lnTo>
                  <a:lnTo>
                    <a:pt x="8850477" y="13951"/>
                  </a:lnTo>
                  <a:lnTo>
                    <a:pt x="8850477" y="4080"/>
                  </a:lnTo>
                  <a:close/>
                  <a:moveTo>
                    <a:pt x="8615184" y="41"/>
                  </a:moveTo>
                  <a:lnTo>
                    <a:pt x="8625095" y="41"/>
                  </a:lnTo>
                  <a:lnTo>
                    <a:pt x="8629114" y="4080"/>
                  </a:lnTo>
                  <a:lnTo>
                    <a:pt x="8629114" y="13951"/>
                  </a:lnTo>
                  <a:lnTo>
                    <a:pt x="8625095" y="17990"/>
                  </a:lnTo>
                  <a:lnTo>
                    <a:pt x="8615184" y="17990"/>
                  </a:lnTo>
                  <a:lnTo>
                    <a:pt x="8611165" y="13951"/>
                  </a:lnTo>
                  <a:lnTo>
                    <a:pt x="8611165" y="4080"/>
                  </a:lnTo>
                  <a:close/>
                  <a:moveTo>
                    <a:pt x="961275" y="41"/>
                  </a:moveTo>
                  <a:lnTo>
                    <a:pt x="971184" y="41"/>
                  </a:lnTo>
                  <a:lnTo>
                    <a:pt x="975204" y="4080"/>
                  </a:lnTo>
                  <a:lnTo>
                    <a:pt x="975204" y="13951"/>
                  </a:lnTo>
                  <a:lnTo>
                    <a:pt x="971184" y="17990"/>
                  </a:lnTo>
                  <a:lnTo>
                    <a:pt x="961275" y="17990"/>
                  </a:lnTo>
                  <a:lnTo>
                    <a:pt x="957256" y="13951"/>
                  </a:lnTo>
                  <a:lnTo>
                    <a:pt x="957256" y="4080"/>
                  </a:lnTo>
                  <a:close/>
                  <a:moveTo>
                    <a:pt x="1679221" y="41"/>
                  </a:moveTo>
                  <a:lnTo>
                    <a:pt x="1689131" y="41"/>
                  </a:lnTo>
                  <a:lnTo>
                    <a:pt x="1693151" y="4079"/>
                  </a:lnTo>
                  <a:lnTo>
                    <a:pt x="1693151" y="13950"/>
                  </a:lnTo>
                  <a:lnTo>
                    <a:pt x="1689131" y="17989"/>
                  </a:lnTo>
                  <a:lnTo>
                    <a:pt x="1679221" y="17989"/>
                  </a:lnTo>
                  <a:lnTo>
                    <a:pt x="1675203" y="13950"/>
                  </a:lnTo>
                  <a:lnTo>
                    <a:pt x="1675203" y="4079"/>
                  </a:lnTo>
                  <a:close/>
                  <a:moveTo>
                    <a:pt x="1439904" y="41"/>
                  </a:moveTo>
                  <a:lnTo>
                    <a:pt x="1449813" y="41"/>
                  </a:lnTo>
                  <a:lnTo>
                    <a:pt x="1453833" y="4079"/>
                  </a:lnTo>
                  <a:lnTo>
                    <a:pt x="1453833" y="13950"/>
                  </a:lnTo>
                  <a:lnTo>
                    <a:pt x="1449813" y="17989"/>
                  </a:lnTo>
                  <a:lnTo>
                    <a:pt x="1439904" y="17989"/>
                  </a:lnTo>
                  <a:lnTo>
                    <a:pt x="1435885" y="13950"/>
                  </a:lnTo>
                  <a:lnTo>
                    <a:pt x="1435885" y="4079"/>
                  </a:lnTo>
                  <a:close/>
                  <a:moveTo>
                    <a:pt x="1200587" y="41"/>
                  </a:moveTo>
                  <a:lnTo>
                    <a:pt x="1210497" y="41"/>
                  </a:lnTo>
                  <a:lnTo>
                    <a:pt x="1214516" y="4080"/>
                  </a:lnTo>
                  <a:lnTo>
                    <a:pt x="1214516" y="13951"/>
                  </a:lnTo>
                  <a:lnTo>
                    <a:pt x="1210497" y="17989"/>
                  </a:lnTo>
                  <a:lnTo>
                    <a:pt x="1200587" y="17989"/>
                  </a:lnTo>
                  <a:lnTo>
                    <a:pt x="1196568" y="13951"/>
                  </a:lnTo>
                  <a:lnTo>
                    <a:pt x="1196568" y="4080"/>
                  </a:lnTo>
                  <a:close/>
                  <a:moveTo>
                    <a:pt x="1918515" y="31"/>
                  </a:moveTo>
                  <a:lnTo>
                    <a:pt x="1928425" y="31"/>
                  </a:lnTo>
                  <a:lnTo>
                    <a:pt x="1932444" y="4069"/>
                  </a:lnTo>
                  <a:lnTo>
                    <a:pt x="1932444" y="13940"/>
                  </a:lnTo>
                  <a:lnTo>
                    <a:pt x="1928425" y="17979"/>
                  </a:lnTo>
                  <a:lnTo>
                    <a:pt x="1918515" y="17979"/>
                  </a:lnTo>
                  <a:lnTo>
                    <a:pt x="1914497" y="13940"/>
                  </a:lnTo>
                  <a:lnTo>
                    <a:pt x="1914497" y="4069"/>
                  </a:lnTo>
                  <a:close/>
                  <a:moveTo>
                    <a:pt x="9572438" y="29"/>
                  </a:moveTo>
                  <a:lnTo>
                    <a:pt x="9582349" y="29"/>
                  </a:lnTo>
                  <a:lnTo>
                    <a:pt x="9586368" y="4067"/>
                  </a:lnTo>
                  <a:lnTo>
                    <a:pt x="9586368" y="13938"/>
                  </a:lnTo>
                  <a:lnTo>
                    <a:pt x="9582349" y="17977"/>
                  </a:lnTo>
                  <a:lnTo>
                    <a:pt x="9572438" y="17977"/>
                  </a:lnTo>
                  <a:lnTo>
                    <a:pt x="9568419" y="13938"/>
                  </a:lnTo>
                  <a:lnTo>
                    <a:pt x="9568419" y="4067"/>
                  </a:lnTo>
                  <a:close/>
                  <a:moveTo>
                    <a:pt x="2157824" y="28"/>
                  </a:moveTo>
                  <a:lnTo>
                    <a:pt x="2167734" y="28"/>
                  </a:lnTo>
                  <a:lnTo>
                    <a:pt x="2171753" y="4067"/>
                  </a:lnTo>
                  <a:lnTo>
                    <a:pt x="2171753" y="13938"/>
                  </a:lnTo>
                  <a:lnTo>
                    <a:pt x="2167734" y="17977"/>
                  </a:lnTo>
                  <a:lnTo>
                    <a:pt x="2157824" y="17977"/>
                  </a:lnTo>
                  <a:lnTo>
                    <a:pt x="2153804" y="13938"/>
                  </a:lnTo>
                  <a:lnTo>
                    <a:pt x="2153804" y="4067"/>
                  </a:lnTo>
                  <a:close/>
                  <a:moveTo>
                    <a:pt x="721977" y="0"/>
                  </a:moveTo>
                  <a:lnTo>
                    <a:pt x="731887" y="0"/>
                  </a:lnTo>
                  <a:lnTo>
                    <a:pt x="735906" y="4039"/>
                  </a:lnTo>
                  <a:lnTo>
                    <a:pt x="735906" y="13910"/>
                  </a:lnTo>
                  <a:lnTo>
                    <a:pt x="731887" y="17949"/>
                  </a:lnTo>
                  <a:lnTo>
                    <a:pt x="721977" y="17949"/>
                  </a:lnTo>
                  <a:lnTo>
                    <a:pt x="717959" y="13910"/>
                  </a:lnTo>
                  <a:lnTo>
                    <a:pt x="717959" y="4039"/>
                  </a:lnTo>
                  <a:close/>
                  <a:moveTo>
                    <a:pt x="482665" y="0"/>
                  </a:moveTo>
                  <a:lnTo>
                    <a:pt x="492575" y="0"/>
                  </a:lnTo>
                  <a:lnTo>
                    <a:pt x="496594" y="4039"/>
                  </a:lnTo>
                  <a:lnTo>
                    <a:pt x="496594" y="13910"/>
                  </a:lnTo>
                  <a:lnTo>
                    <a:pt x="492575" y="17949"/>
                  </a:lnTo>
                  <a:lnTo>
                    <a:pt x="482665" y="17949"/>
                  </a:lnTo>
                  <a:lnTo>
                    <a:pt x="478646" y="13910"/>
                  </a:lnTo>
                  <a:lnTo>
                    <a:pt x="478646" y="4039"/>
                  </a:lnTo>
                  <a:close/>
                  <a:moveTo>
                    <a:pt x="243351" y="0"/>
                  </a:moveTo>
                  <a:lnTo>
                    <a:pt x="253261" y="0"/>
                  </a:lnTo>
                  <a:lnTo>
                    <a:pt x="257281" y="4039"/>
                  </a:lnTo>
                  <a:lnTo>
                    <a:pt x="257281" y="13910"/>
                  </a:lnTo>
                  <a:lnTo>
                    <a:pt x="253261" y="17949"/>
                  </a:lnTo>
                  <a:lnTo>
                    <a:pt x="243351" y="17949"/>
                  </a:lnTo>
                  <a:lnTo>
                    <a:pt x="239332" y="13910"/>
                  </a:lnTo>
                  <a:lnTo>
                    <a:pt x="239332" y="4039"/>
                  </a:lnTo>
                  <a:close/>
                  <a:moveTo>
                    <a:pt x="4039" y="0"/>
                  </a:moveTo>
                  <a:lnTo>
                    <a:pt x="13948" y="0"/>
                  </a:lnTo>
                  <a:lnTo>
                    <a:pt x="17967" y="4039"/>
                  </a:lnTo>
                  <a:lnTo>
                    <a:pt x="17967" y="13910"/>
                  </a:lnTo>
                  <a:lnTo>
                    <a:pt x="13948" y="17949"/>
                  </a:lnTo>
                  <a:lnTo>
                    <a:pt x="4039" y="17949"/>
                  </a:lnTo>
                  <a:lnTo>
                    <a:pt x="19" y="13910"/>
                  </a:lnTo>
                  <a:lnTo>
                    <a:pt x="19" y="4039"/>
                  </a:lnTo>
                  <a:close/>
                </a:path>
              </a:pathLst>
            </a:custGeom>
            <a:solidFill>
              <a:srgbClr val="30373B">
                <a:alpha val="29998"/>
              </a:srgbClr>
            </a:solidFill>
          </p:spPr>
          <p:txBody>
            <a:bodyPr wrap="square" lIns="0" tIns="0" rIns="0" bIns="0" rtlCol="0">
              <a:noAutofit/>
            </a:bodyPr>
            <a:lstStyle/>
            <a:p>
              <a:endParaRPr lang="en-GB">
                <a:solidFill>
                  <a:srgbClr val="1F2023"/>
                </a:solidFill>
              </a:endParaRPr>
            </a:p>
          </p:txBody>
        </p:sp>
        <p:sp>
          <p:nvSpPr>
            <p:cNvPr id="24" name="White blocker to highlight logo">
              <a:extLst>
                <a:ext uri="{FF2B5EF4-FFF2-40B4-BE49-F238E27FC236}">
                  <a16:creationId xmlns:a16="http://schemas.microsoft.com/office/drawing/2014/main" id="{7687E9C5-7867-450F-B7D3-7F14202E697D}"/>
                </a:ext>
              </a:extLst>
            </p:cNvPr>
            <p:cNvSpPr txBox="1"/>
            <p:nvPr userDrawn="1"/>
          </p:nvSpPr>
          <p:spPr>
            <a:xfrm>
              <a:off x="9276000" y="0"/>
              <a:ext cx="630000" cy="1620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en-GB">
                <a:sym typeface="Arial" panose="020B0604020202020204" pitchFamily="34" charset="0"/>
              </a:endParaRPr>
            </a:p>
          </p:txBody>
        </p:sp>
      </p:grpSp>
      <p:sp>
        <p:nvSpPr>
          <p:cNvPr id="21" name="Colour block 1">
            <a:extLst>
              <a:ext uri="{FF2B5EF4-FFF2-40B4-BE49-F238E27FC236}">
                <a16:creationId xmlns:a16="http://schemas.microsoft.com/office/drawing/2014/main" id="{55546BB0-F964-4CFA-A631-C62781668FE0}"/>
              </a:ext>
            </a:extLst>
          </p:cNvPr>
          <p:cNvSpPr txBox="1"/>
          <p:nvPr userDrawn="1"/>
        </p:nvSpPr>
        <p:spPr>
          <a:xfrm>
            <a:off x="0" y="3081297"/>
            <a:ext cx="9632951" cy="3776703"/>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en-GB">
              <a:sym typeface="Arial" panose="020B0604020202020204" pitchFamily="34" charset="0"/>
            </a:endParaRPr>
          </a:p>
        </p:txBody>
      </p:sp>
      <p:sp>
        <p:nvSpPr>
          <p:cNvPr id="22" name="Colour block 2">
            <a:extLst>
              <a:ext uri="{FF2B5EF4-FFF2-40B4-BE49-F238E27FC236}">
                <a16:creationId xmlns:a16="http://schemas.microsoft.com/office/drawing/2014/main" id="{5A51B767-8122-46EE-A61C-6F1D4EA90A0C}"/>
              </a:ext>
            </a:extLst>
          </p:cNvPr>
          <p:cNvSpPr txBox="1"/>
          <p:nvPr userDrawn="1"/>
        </p:nvSpPr>
        <p:spPr>
          <a:xfrm>
            <a:off x="-1" y="962024"/>
            <a:ext cx="7776000" cy="5895976"/>
          </a:xfrm>
          <a:prstGeom prst="rect">
            <a:avLst/>
          </a:prstGeom>
          <a:solidFill>
            <a:srgbClr val="9A6E3A"/>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en-US"/>
            </a:defPPr>
            <a:lvl1pPr>
              <a:defRPr sz="1100">
                <a:solidFill>
                  <a:srgbClr val="2F363B"/>
                </a:solidFill>
              </a:defRPr>
            </a:lvl1pPr>
            <a:lvl2pPr marL="0" lvl="1" indent="0">
              <a:buSzPct val="100000"/>
              <a:buChar char="​"/>
              <a:defRPr sz="1100">
                <a:solidFill>
                  <a:srgbClr val="2F363B"/>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en-GB">
              <a:sym typeface="Arial" panose="020B0604020202020204" pitchFamily="34" charset="0"/>
            </a:endParaRPr>
          </a:p>
        </p:txBody>
      </p:sp>
      <p:sp>
        <p:nvSpPr>
          <p:cNvPr id="3" name="Title part 1"/>
          <p:cNvSpPr>
            <a:spLocks noGrp="1"/>
          </p:cNvSpPr>
          <p:nvPr>
            <p:ph type="subTitle" idx="1" hasCustomPrompt="1"/>
          </p:nvPr>
        </p:nvSpPr>
        <p:spPr>
          <a:xfrm>
            <a:off x="538412" y="1523514"/>
            <a:ext cx="6300000" cy="426851"/>
          </a:xfrm>
        </p:spPr>
        <p:txBody>
          <a:bodyPr rIns="0" anchor="t" anchorCtr="0"/>
          <a:lstStyle>
            <a:lvl1pPr marL="0" indent="0" algn="l">
              <a:spcBef>
                <a:spcPts val="0"/>
              </a:spcBef>
              <a:buFont typeface="Arial" panose="020B0604020202020204" pitchFamily="34" charset="0"/>
              <a:buChar char="​"/>
              <a:defRPr sz="2600">
                <a:solidFill>
                  <a:srgbClr val="1F2023"/>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a:t>Click to edit master subtitle style</a:t>
            </a:r>
          </a:p>
        </p:txBody>
      </p:sp>
      <p:sp>
        <p:nvSpPr>
          <p:cNvPr id="18" name="Title part 2">
            <a:extLst>
              <a:ext uri="{FF2B5EF4-FFF2-40B4-BE49-F238E27FC236}">
                <a16:creationId xmlns:a16="http://schemas.microsoft.com/office/drawing/2014/main" id="{13637FDB-F8B7-4F0A-9D10-989B9490783C}"/>
              </a:ext>
            </a:extLst>
          </p:cNvPr>
          <p:cNvSpPr>
            <a:spLocks noGrp="1"/>
          </p:cNvSpPr>
          <p:nvPr>
            <p:ph type="ctrTitle"/>
          </p:nvPr>
        </p:nvSpPr>
        <p:spPr>
          <a:xfrm>
            <a:off x="538413" y="2153514"/>
            <a:ext cx="6300000" cy="2160000"/>
          </a:xfrm>
        </p:spPr>
        <p:txBody>
          <a:bodyPr vert="horz" anchor="t" anchorCtr="0">
            <a:noAutofit/>
          </a:bodyPr>
          <a:lstStyle>
            <a:lvl1pPr algn="l">
              <a:lnSpc>
                <a:spcPct val="83000"/>
              </a:lnSpc>
              <a:defRPr sz="6000" cap="all" baseline="0">
                <a:solidFill>
                  <a:srgbClr val="1F2023"/>
                </a:solidFill>
                <a:latin typeface="Impact" panose="020B0806030902050204" pitchFamily="34" charset="0"/>
              </a:defRPr>
            </a:lvl1pPr>
          </a:lstStyle>
          <a:p>
            <a:r>
              <a:rPr lang="en-US"/>
              <a:t>Click to edit Master title style</a:t>
            </a:r>
            <a:endParaRPr lang="en-GB"/>
          </a:p>
        </p:txBody>
      </p:sp>
      <p:sp>
        <p:nvSpPr>
          <p:cNvPr id="7" name="Authors">
            <a:extLst>
              <a:ext uri="{FF2B5EF4-FFF2-40B4-BE49-F238E27FC236}">
                <a16:creationId xmlns:a16="http://schemas.microsoft.com/office/drawing/2014/main" id="{FF544118-FA16-4191-91F3-CD66F29D0D7F}"/>
              </a:ext>
            </a:extLst>
          </p:cNvPr>
          <p:cNvSpPr>
            <a:spLocks noGrp="1"/>
          </p:cNvSpPr>
          <p:nvPr>
            <p:ph type="body" sz="quarter" idx="13" hasCustomPrompt="1"/>
          </p:nvPr>
        </p:nvSpPr>
        <p:spPr>
          <a:xfrm>
            <a:off x="539999" y="4516663"/>
            <a:ext cx="3600000" cy="1800000"/>
          </a:xfrm>
        </p:spPr>
        <p:txBody>
          <a:bodyPr rIns="0" anchor="b"/>
          <a:lstStyle>
            <a:lvl1pPr>
              <a:spcAft>
                <a:spcPts val="300"/>
              </a:spcAft>
              <a:defRPr sz="1300">
                <a:solidFill>
                  <a:srgbClr val="1F2023"/>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stStyle>
          <a:p>
            <a:pPr lvl="0"/>
            <a:r>
              <a:rPr lang="en-GB"/>
              <a:t>Click to edit master name style</a:t>
            </a:r>
          </a:p>
        </p:txBody>
      </p:sp>
      <p:sp>
        <p:nvSpPr>
          <p:cNvPr id="23" name="Picture">
            <a:extLst>
              <a:ext uri="{FF2B5EF4-FFF2-40B4-BE49-F238E27FC236}">
                <a16:creationId xmlns:a16="http://schemas.microsoft.com/office/drawing/2014/main" id="{F4B0D7C9-DFE1-4885-986A-AD9DCD020DE3}"/>
              </a:ext>
            </a:extLst>
          </p:cNvPr>
          <p:cNvSpPr>
            <a:spLocks noGrp="1"/>
          </p:cNvSpPr>
          <p:nvPr>
            <p:ph type="pic" sz="quarter" idx="20"/>
          </p:nvPr>
        </p:nvSpPr>
        <p:spPr>
          <a:xfrm>
            <a:off x="5087937" y="3768064"/>
            <a:ext cx="2688061" cy="3089936"/>
          </a:xfrm>
          <a:solidFill>
            <a:srgbClr val="E2DED9"/>
          </a:solidFill>
        </p:spPr>
        <p:txBody>
          <a:bodyPr rIns="0" anchor="ctr" anchorCtr="0"/>
          <a:lstStyle>
            <a:lvl1pPr marL="0" indent="0" algn="ctr">
              <a:buNone/>
              <a:defRPr>
                <a:solidFill>
                  <a:srgbClr val="1F2023"/>
                </a:solidFill>
              </a:defRPr>
            </a:lvl1pPr>
          </a:lstStyle>
          <a:p>
            <a:r>
              <a:rPr lang="en-US"/>
              <a:t>Click icon to add picture</a:t>
            </a:r>
            <a:endParaRPr lang="en-GB"/>
          </a:p>
        </p:txBody>
      </p:sp>
      <p:sp>
        <p:nvSpPr>
          <p:cNvPr id="10" name="Date">
            <a:extLst>
              <a:ext uri="{FF2B5EF4-FFF2-40B4-BE49-F238E27FC236}">
                <a16:creationId xmlns:a16="http://schemas.microsoft.com/office/drawing/2014/main" id="{F82BB08A-2585-4258-863F-4190206A12A2}"/>
              </a:ext>
            </a:extLst>
          </p:cNvPr>
          <p:cNvSpPr>
            <a:spLocks noGrp="1"/>
          </p:cNvSpPr>
          <p:nvPr>
            <p:ph type="body" sz="quarter" idx="19" hasCustomPrompt="1"/>
          </p:nvPr>
        </p:nvSpPr>
        <p:spPr>
          <a:xfrm>
            <a:off x="7773988" y="4573689"/>
            <a:ext cx="1857375" cy="198438"/>
          </a:xfrm>
        </p:spPr>
        <p:txBody>
          <a:bodyPr lIns="270000" rIns="270000" anchor="ctr" anchorCtr="0"/>
          <a:lstStyle>
            <a:lvl1pPr>
              <a:defRPr sz="1000">
                <a:solidFill>
                  <a:schemeClr val="bg1"/>
                </a:solidFill>
              </a:defRPr>
            </a:lvl1pPr>
          </a:lstStyle>
          <a:p>
            <a:pPr lvl="0"/>
            <a:r>
              <a:rPr lang="en-GB"/>
              <a:t>January 2020</a:t>
            </a:r>
          </a:p>
        </p:txBody>
      </p:sp>
      <p:sp>
        <p:nvSpPr>
          <p:cNvPr id="28" name="ID #">
            <a:extLst>
              <a:ext uri="{FF2B5EF4-FFF2-40B4-BE49-F238E27FC236}">
                <a16:creationId xmlns:a16="http://schemas.microsoft.com/office/drawing/2014/main" id="{533BD4BF-5BA7-4D76-866E-FE127CF6B290}"/>
              </a:ext>
            </a:extLst>
          </p:cNvPr>
          <p:cNvSpPr>
            <a:spLocks noGrp="1"/>
          </p:cNvSpPr>
          <p:nvPr>
            <p:ph type="body" sz="quarter" idx="18" hasCustomPrompt="1"/>
          </p:nvPr>
        </p:nvSpPr>
        <p:spPr>
          <a:xfrm>
            <a:off x="7774411" y="4774579"/>
            <a:ext cx="1856953" cy="197361"/>
          </a:xfrm>
        </p:spPr>
        <p:txBody>
          <a:bodyPr lIns="270002" tIns="0" rIns="270002" anchor="ctr" anchorCtr="0"/>
          <a:lstStyle>
            <a:lvl1pPr>
              <a:defRPr sz="1000">
                <a:solidFill>
                  <a:schemeClr val="bg1"/>
                </a:solidFill>
              </a:defRPr>
            </a:lvl1pPr>
          </a:lstStyle>
          <a:p>
            <a:r>
              <a:rPr lang="en-GB"/>
              <a:t>ID: XXXXX</a:t>
            </a:r>
          </a:p>
        </p:txBody>
      </p:sp>
      <p:sp>
        <p:nvSpPr>
          <p:cNvPr id="6" name="Confidential information">
            <a:extLst>
              <a:ext uri="{FF2B5EF4-FFF2-40B4-BE49-F238E27FC236}">
                <a16:creationId xmlns:a16="http://schemas.microsoft.com/office/drawing/2014/main" id="{061BEBE6-7FC3-49A8-8284-B9BA29F2E871}"/>
              </a:ext>
            </a:extLst>
          </p:cNvPr>
          <p:cNvSpPr txBox="1"/>
          <p:nvPr userDrawn="1"/>
        </p:nvSpPr>
        <p:spPr>
          <a:xfrm>
            <a:off x="7780742" y="5031441"/>
            <a:ext cx="1857375" cy="1285222"/>
          </a:xfrm>
          <a:prstGeom prst="rect">
            <a:avLst/>
          </a:prstGeom>
          <a:noFill/>
          <a:ln w="6350">
            <a:noFill/>
            <a:prstDash val="sysDash"/>
          </a:ln>
        </p:spPr>
        <p:txBody>
          <a:bodyPr wrap="square" lIns="270000" tIns="270000" rIns="270000" bIns="0" rtlCol="0" anchor="b" anchorCtr="0">
            <a:spAutoFit/>
          </a:bodyPr>
          <a:lstStyle/>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None/>
              <a:tabLst/>
              <a:defRPr/>
            </a:pPr>
            <a:r>
              <a:rPr lang="en-GB" sz="1000" kern="1200">
                <a:solidFill>
                  <a:schemeClr val="bg1"/>
                </a:solidFill>
                <a:latin typeface="+mn-lt"/>
                <a:ea typeface="+mn-ea"/>
                <a:cs typeface="+mn-cs"/>
              </a:rPr>
              <a:t>Presentation may contain detailed notes to the slides.</a:t>
            </a:r>
          </a:p>
          <a:p>
            <a:pPr marL="0" marR="0" lvl="0" indent="0" algn="l" defTabSz="742950" rtl="0" eaLnBrk="1" fontAlgn="auto" latinLnBrk="0" hangingPunct="1">
              <a:lnSpc>
                <a:spcPct val="93000"/>
              </a:lnSpc>
              <a:spcBef>
                <a:spcPts val="0"/>
              </a:spcBef>
              <a:spcAft>
                <a:spcPts val="600"/>
              </a:spcAft>
              <a:buClrTx/>
              <a:buSzTx/>
              <a:buFont typeface="Arial" panose="020B0604020202020204" pitchFamily="34" charset="0"/>
              <a:buNone/>
              <a:tabLst/>
              <a:defRPr/>
            </a:pPr>
            <a:endParaRPr lang="en-GB"/>
          </a:p>
          <a:p>
            <a:pPr marL="0" indent="0" algn="l" defTabSz="742950" rtl="0" eaLnBrk="1" latinLnBrk="0" hangingPunct="1">
              <a:lnSpc>
                <a:spcPct val="93000"/>
              </a:lnSpc>
              <a:spcBef>
                <a:spcPts val="0"/>
              </a:spcBef>
              <a:spcAft>
                <a:spcPts val="600"/>
              </a:spcAft>
              <a:buFont typeface="Arial" panose="020B0604020202020204" pitchFamily="34" charset="0"/>
              <a:buNone/>
            </a:pPr>
            <a:r>
              <a:rPr lang="en-GB" sz="1000" kern="1200">
                <a:solidFill>
                  <a:schemeClr val="bg1"/>
                </a:solidFill>
                <a:latin typeface="+mn-lt"/>
                <a:ea typeface="+mn-ea"/>
                <a:cs typeface="+mn-cs"/>
              </a:rPr>
              <a:t>Confidential. </a:t>
            </a:r>
            <a:r>
              <a:rPr lang="en-GB" sz="1000" b="0" kern="1200">
                <a:solidFill>
                  <a:schemeClr val="bg1"/>
                </a:solidFill>
                <a:latin typeface="+mn-lt"/>
                <a:ea typeface="+mn-ea"/>
                <a:cs typeface="+mn-cs"/>
              </a:rPr>
              <a:t>Not</a:t>
            </a:r>
            <a:r>
              <a:rPr lang="en-GB" sz="1000" kern="1200">
                <a:solidFill>
                  <a:schemeClr val="bg1"/>
                </a:solidFill>
                <a:latin typeface="+mn-lt"/>
                <a:ea typeface="+mn-ea"/>
                <a:cs typeface="+mn-cs"/>
              </a:rPr>
              <a:t> for further distribution.</a:t>
            </a:r>
          </a:p>
        </p:txBody>
      </p:sp>
      <p:sp>
        <p:nvSpPr>
          <p:cNvPr id="12" name="Logo">
            <a:extLst>
              <a:ext uri="{FF2B5EF4-FFF2-40B4-BE49-F238E27FC236}">
                <a16:creationId xmlns:a16="http://schemas.microsoft.com/office/drawing/2014/main" id="{B1D3067F-1962-46D9-86B7-08FC94B365B1}"/>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solidFill>
                  <a:srgbClr val="1F2023"/>
                </a:solidFill>
              </a:rPr>
              <a:t> </a:t>
            </a:r>
          </a:p>
        </p:txBody>
      </p:sp>
      <p:sp>
        <p:nvSpPr>
          <p:cNvPr id="4" name="Instructions authors">
            <a:extLst>
              <a:ext uri="{FF2B5EF4-FFF2-40B4-BE49-F238E27FC236}">
                <a16:creationId xmlns:a16="http://schemas.microsoft.com/office/drawing/2014/main" id="{9815C104-8646-46A8-BF2D-EC29839A31CC}"/>
              </a:ext>
            </a:extLst>
          </p:cNvPr>
          <p:cNvSpPr/>
          <p:nvPr userDrawn="1"/>
        </p:nvSpPr>
        <p:spPr>
          <a:xfrm>
            <a:off x="-1273461" y="5839295"/>
            <a:ext cx="1069656" cy="522808"/>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spAutoFit/>
          </a:bodyPr>
          <a:lstStyle/>
          <a:p>
            <a:pPr algn="l">
              <a:spcAft>
                <a:spcPts val="0"/>
              </a:spcAft>
              <a:buNone/>
            </a:pPr>
            <a:r>
              <a:rPr lang="en-GB" sz="1100" noProof="0">
                <a:solidFill>
                  <a:srgbClr val="2F363B"/>
                </a:solidFill>
              </a:rPr>
              <a:t>Fill in:</a:t>
            </a:r>
          </a:p>
          <a:p>
            <a:pPr algn="l">
              <a:spcAft>
                <a:spcPts val="0"/>
              </a:spcAft>
            </a:pPr>
            <a:r>
              <a:rPr lang="en-GB" sz="1100" noProof="0">
                <a:solidFill>
                  <a:srgbClr val="2F363B"/>
                </a:solidFill>
              </a:rPr>
              <a:t>Authors </a:t>
            </a:r>
            <a:r>
              <a:rPr lang="en-GB" sz="1100" noProof="0">
                <a:solidFill>
                  <a:srgbClr val="2F363B"/>
                </a:solidFill>
                <a:sym typeface="Wingdings" panose="05000000000000000000" pitchFamily="2" charset="2"/>
              </a:rPr>
              <a:t></a:t>
            </a:r>
            <a:endParaRPr lang="en-GB" sz="1100" noProof="0">
              <a:solidFill>
                <a:srgbClr val="2F363B"/>
              </a:solidFill>
            </a:endParaRPr>
          </a:p>
        </p:txBody>
      </p:sp>
      <p:sp>
        <p:nvSpPr>
          <p:cNvPr id="17" name="Instructions date">
            <a:extLst>
              <a:ext uri="{FF2B5EF4-FFF2-40B4-BE49-F238E27FC236}">
                <a16:creationId xmlns:a16="http://schemas.microsoft.com/office/drawing/2014/main" id="{45FA66EF-DAB2-4F98-A44E-D0D8DBEE66E6}"/>
              </a:ext>
            </a:extLst>
          </p:cNvPr>
          <p:cNvSpPr/>
          <p:nvPr userDrawn="1"/>
        </p:nvSpPr>
        <p:spPr>
          <a:xfrm>
            <a:off x="10055648" y="4364127"/>
            <a:ext cx="1100032" cy="522808"/>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spAutoFit/>
          </a:bodyPr>
          <a:lstStyle/>
          <a:p>
            <a:pPr algn="r">
              <a:spcAft>
                <a:spcPts val="0"/>
              </a:spcAft>
              <a:buNone/>
            </a:pPr>
            <a:r>
              <a:rPr lang="en-GB" sz="1100" noProof="0">
                <a:solidFill>
                  <a:srgbClr val="2F363B"/>
                </a:solidFill>
              </a:rPr>
              <a:t>Fill in:</a:t>
            </a:r>
          </a:p>
          <a:p>
            <a:pPr algn="r">
              <a:spcAft>
                <a:spcPts val="0"/>
              </a:spcAft>
            </a:pPr>
            <a:r>
              <a:rPr lang="en-GB" sz="1100" noProof="0">
                <a:solidFill>
                  <a:srgbClr val="2F363B"/>
                </a:solidFill>
                <a:sym typeface="Wingdings" panose="05000000000000000000" pitchFamily="2" charset="2"/>
              </a:rPr>
              <a:t> </a:t>
            </a:r>
            <a:r>
              <a:rPr lang="en-GB" sz="1100" noProof="0">
                <a:solidFill>
                  <a:srgbClr val="2F363B"/>
                </a:solidFill>
              </a:rPr>
              <a:t>Month/year</a:t>
            </a:r>
          </a:p>
        </p:txBody>
      </p:sp>
      <p:sp>
        <p:nvSpPr>
          <p:cNvPr id="31" name="Instructions picture">
            <a:extLst>
              <a:ext uri="{FF2B5EF4-FFF2-40B4-BE49-F238E27FC236}">
                <a16:creationId xmlns:a16="http://schemas.microsoft.com/office/drawing/2014/main" id="{039ECFE7-CB66-442C-8BBE-172862213C3D}"/>
              </a:ext>
            </a:extLst>
          </p:cNvPr>
          <p:cNvSpPr/>
          <p:nvPr userDrawn="1"/>
        </p:nvSpPr>
        <p:spPr>
          <a:xfrm>
            <a:off x="5087937" y="6909857"/>
            <a:ext cx="2692805" cy="370459"/>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chorCtr="0">
            <a:spAutoFit/>
          </a:bodyPr>
          <a:lstStyle/>
          <a:p>
            <a:pPr algn="ctr">
              <a:spcAft>
                <a:spcPts val="0"/>
              </a:spcAft>
              <a:buNone/>
            </a:pPr>
            <a:r>
              <a:rPr lang="en-GB" sz="1100" noProof="0">
                <a:solidFill>
                  <a:srgbClr val="2F363B"/>
                </a:solidFill>
              </a:rPr>
              <a:t>Place picture from unsplash.com</a:t>
            </a:r>
          </a:p>
        </p:txBody>
      </p:sp>
    </p:spTree>
    <p:extLst>
      <p:ext uri="{BB962C8B-B14F-4D97-AF65-F5344CB8AC3E}">
        <p14:creationId xmlns:p14="http://schemas.microsoft.com/office/powerpoint/2010/main" val="420600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ver A1">
    <p:spTree>
      <p:nvGrpSpPr>
        <p:cNvPr id="1" name=""/>
        <p:cNvGrpSpPr/>
        <p:nvPr/>
      </p:nvGrpSpPr>
      <p:grpSpPr>
        <a:xfrm>
          <a:off x="0" y="0"/>
          <a:ext cx="0" cy="0"/>
          <a:chOff x="0" y="0"/>
          <a:chExt cx="0" cy="0"/>
        </a:xfrm>
      </p:grpSpPr>
      <p:sp>
        <p:nvSpPr>
          <p:cNvPr id="6" name="Coloured background">
            <a:extLst>
              <a:ext uri="{FF2B5EF4-FFF2-40B4-BE49-F238E27FC236}">
                <a16:creationId xmlns:a16="http://schemas.microsoft.com/office/drawing/2014/main" id="{9A15D179-9C3B-9777-01A2-17C1200B9A26}"/>
              </a:ext>
            </a:extLst>
          </p:cNvPr>
          <p:cNvSpPr txBox="1">
            <a:spLocks noGrp="1" noRot="1" noMove="1" noResize="1" noEditPoints="1" noAdjustHandles="1" noChangeArrowheads="1" noChangeShapeType="1"/>
          </p:cNvSpPr>
          <p:nvPr/>
        </p:nvSpPr>
        <p:spPr>
          <a:xfrm>
            <a:off x="0" y="0"/>
            <a:ext cx="9906000" cy="6858000"/>
          </a:xfrm>
          <a:prstGeom prst="rect">
            <a:avLst/>
          </a:prstGeom>
          <a:solidFill>
            <a:srgbClr val="451F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sz="1000"/>
          </a:p>
        </p:txBody>
      </p:sp>
      <p:sp>
        <p:nvSpPr>
          <p:cNvPr id="5" name="Colour block_Right">
            <a:extLst>
              <a:ext uri="{FF2B5EF4-FFF2-40B4-BE49-F238E27FC236}">
                <a16:creationId xmlns:a16="http://schemas.microsoft.com/office/drawing/2014/main" id="{83E18B63-ADB0-7292-3540-8E1581C5DAD3}"/>
              </a:ext>
            </a:extLst>
          </p:cNvPr>
          <p:cNvSpPr txBox="1">
            <a:spLocks noGrp="1" noRot="1" noMove="1" noResize="1" noEditPoints="1" noAdjustHandles="1" noChangeArrowheads="1" noChangeShapeType="1"/>
          </p:cNvSpPr>
          <p:nvPr/>
        </p:nvSpPr>
        <p:spPr>
          <a:xfrm>
            <a:off x="7428525" y="0"/>
            <a:ext cx="2477475" cy="6858000"/>
          </a:xfrm>
          <a:prstGeom prst="rect">
            <a:avLst/>
          </a:prstGeom>
          <a:solidFill>
            <a:srgbClr val="4E2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sz="1000"/>
          </a:p>
        </p:txBody>
      </p:sp>
      <p:sp>
        <p:nvSpPr>
          <p:cNvPr id="7" name="Colour block_Top">
            <a:extLst>
              <a:ext uri="{FF2B5EF4-FFF2-40B4-BE49-F238E27FC236}">
                <a16:creationId xmlns:a16="http://schemas.microsoft.com/office/drawing/2014/main" id="{F8DA1E39-CE4C-8DBA-06AF-83D8F2C4C6B3}"/>
              </a:ext>
            </a:extLst>
          </p:cNvPr>
          <p:cNvSpPr txBox="1">
            <a:spLocks noGrp="1" noRot="1" noMove="1" noResize="1" noEditPoints="1" noAdjustHandles="1" noChangeArrowheads="1" noChangeShapeType="1"/>
          </p:cNvSpPr>
          <p:nvPr/>
        </p:nvSpPr>
        <p:spPr>
          <a:xfrm>
            <a:off x="0" y="1"/>
            <a:ext cx="7429500" cy="1700213"/>
          </a:xfrm>
          <a:prstGeom prst="rect">
            <a:avLst/>
          </a:prstGeom>
          <a:solidFill>
            <a:srgbClr val="583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indent="-457200" algn="ctr">
              <a:buSzPct val="100000"/>
            </a:lvl1pPr>
            <a:lvl2pPr marL="179388" lvl="1" indent="-179388" algn="ctr">
              <a:buSzPct val="100000"/>
              <a:buFont typeface="Arial" panose="020B0604020202020204" pitchFamily="34" charset="0"/>
              <a:buChar char="•"/>
            </a:lvl2pPr>
            <a:lvl3pPr marL="358775" lvl="2" indent="-179388" algn="ctr">
              <a:buSzPct val="100000"/>
              <a:buFont typeface="Calibri" panose="020F0502020204030204" pitchFamily="34" charset="0"/>
              <a:buChar char="–"/>
            </a:lvl3pPr>
            <a:lvl4pPr marL="179388" lvl="3" indent="-179388" algn="ctr">
              <a:buSzPct val="100000"/>
              <a:buFont typeface="+mj-lt"/>
              <a:buAutoNum type="arabicPeriod"/>
            </a:lvl4pPr>
            <a:lvl5pPr marL="358775" lvl="4" indent="-180975" algn="ctr">
              <a:buSzPct val="100000"/>
              <a:buFont typeface="+mj-lt"/>
              <a:buAutoNum type="alphaLcParenR"/>
            </a:lvl5pPr>
            <a:lvl6pPr marL="179388" lvl="5" indent="-179388" algn="ctr">
              <a:buSzPct val="100000"/>
              <a:buFont typeface="Arial" panose="020B0604020202020204" pitchFamily="34" charset="0"/>
              <a:buChar cha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en-GB" sz="1000"/>
          </a:p>
        </p:txBody>
      </p:sp>
      <p:sp>
        <p:nvSpPr>
          <p:cNvPr id="2" name="Title">
            <a:extLst>
              <a:ext uri="{FF2B5EF4-FFF2-40B4-BE49-F238E27FC236}">
                <a16:creationId xmlns:a16="http://schemas.microsoft.com/office/drawing/2014/main" id="{D4F94C45-567F-4793-90DA-88DF235134E1}"/>
              </a:ext>
            </a:extLst>
          </p:cNvPr>
          <p:cNvSpPr>
            <a:spLocks noGrp="1"/>
          </p:cNvSpPr>
          <p:nvPr>
            <p:ph type="ctrTitle" hasCustomPrompt="1"/>
          </p:nvPr>
        </p:nvSpPr>
        <p:spPr>
          <a:xfrm>
            <a:off x="825117" y="2752516"/>
            <a:ext cx="6172669" cy="1440000"/>
          </a:xfrm>
          <a:prstGeom prst="rect">
            <a:avLst/>
          </a:prstGeom>
        </p:spPr>
        <p:txBody>
          <a:bodyPr anchor="b"/>
          <a:lstStyle>
            <a:lvl1pPr algn="l">
              <a:lnSpc>
                <a:spcPct val="90000"/>
              </a:lnSpc>
              <a:spcAft>
                <a:spcPts val="1200"/>
              </a:spcAft>
              <a:defRPr sz="4800">
                <a:solidFill>
                  <a:schemeClr val="bg1"/>
                </a:solidFill>
                <a:latin typeface="Palatino Linotype" panose="02040502050505030304" pitchFamily="18" charset="0"/>
              </a:defRPr>
            </a:lvl1pPr>
          </a:lstStyle>
          <a:p>
            <a:r>
              <a:rPr lang="en-GB"/>
              <a:t>Click to insert presentation title – max 3 rows</a:t>
            </a:r>
          </a:p>
        </p:txBody>
      </p:sp>
      <p:sp>
        <p:nvSpPr>
          <p:cNvPr id="3" name="Subtitle">
            <a:extLst>
              <a:ext uri="{FF2B5EF4-FFF2-40B4-BE49-F238E27FC236}">
                <a16:creationId xmlns:a16="http://schemas.microsoft.com/office/drawing/2014/main" id="{0BF6F7C2-7799-4223-AC0F-28D46817B758}"/>
              </a:ext>
            </a:extLst>
          </p:cNvPr>
          <p:cNvSpPr>
            <a:spLocks noGrp="1"/>
          </p:cNvSpPr>
          <p:nvPr>
            <p:ph type="subTitle" idx="1" hasCustomPrompt="1"/>
          </p:nvPr>
        </p:nvSpPr>
        <p:spPr>
          <a:xfrm>
            <a:off x="825116" y="4492438"/>
            <a:ext cx="6172669" cy="1224000"/>
          </a:xfrm>
          <a:prstGeom prst="rect">
            <a:avLst/>
          </a:prstGeom>
        </p:spPr>
        <p:txBody>
          <a:bodyPr/>
          <a:lstStyle>
            <a:lvl1pPr marL="0" indent="0" algn="l">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insert subtitle and/or author/presenter</a:t>
            </a:r>
          </a:p>
        </p:txBody>
      </p:sp>
      <p:sp>
        <p:nvSpPr>
          <p:cNvPr id="18" name="Date or author">
            <a:extLst>
              <a:ext uri="{FF2B5EF4-FFF2-40B4-BE49-F238E27FC236}">
                <a16:creationId xmlns:a16="http://schemas.microsoft.com/office/drawing/2014/main" id="{2DE87EE2-580C-FF58-180F-53ECF8E53342}"/>
              </a:ext>
            </a:extLst>
          </p:cNvPr>
          <p:cNvSpPr>
            <a:spLocks noGrp="1"/>
          </p:cNvSpPr>
          <p:nvPr>
            <p:ph type="body" sz="quarter" idx="10" hasCustomPrompt="1"/>
          </p:nvPr>
        </p:nvSpPr>
        <p:spPr>
          <a:xfrm>
            <a:off x="825116" y="6129238"/>
            <a:ext cx="6172669" cy="216000"/>
          </a:xfrm>
          <a:prstGeom prst="rect">
            <a:avLst/>
          </a:prstGeom>
        </p:spPr>
        <p:txBody>
          <a:bodyPr anchor="b"/>
          <a:lstStyle>
            <a:lvl1pP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date</a:t>
            </a:r>
          </a:p>
        </p:txBody>
      </p:sp>
      <p:sp>
        <p:nvSpPr>
          <p:cNvPr id="8" name="Picture Placeholder_Right">
            <a:extLst>
              <a:ext uri="{FF2B5EF4-FFF2-40B4-BE49-F238E27FC236}">
                <a16:creationId xmlns:a16="http://schemas.microsoft.com/office/drawing/2014/main" id="{6CE07FC1-F99E-F301-9789-13C8B32FF2D6}"/>
              </a:ext>
            </a:extLst>
          </p:cNvPr>
          <p:cNvSpPr>
            <a:spLocks noGrp="1"/>
          </p:cNvSpPr>
          <p:nvPr>
            <p:ph type="pic" sz="quarter" idx="12" hasCustomPrompt="1"/>
          </p:nvPr>
        </p:nvSpPr>
        <p:spPr>
          <a:xfrm>
            <a:off x="7428525" y="0"/>
            <a:ext cx="2477475" cy="6858000"/>
          </a:xfrm>
          <a:prstGeom prst="rect">
            <a:avLst/>
          </a:prstGeom>
          <a:noFill/>
        </p:spPr>
        <p:txBody>
          <a:bodyPr lIns="288000" tIns="1368000" rIns="288000" bIns="0" anchor="ctr" anchorCtr="0"/>
          <a:lstStyle>
            <a:lvl1pPr algn="ctr">
              <a:defRPr>
                <a:solidFill>
                  <a:srgbClr val="A8A5A1"/>
                </a:solidFill>
              </a:defRPr>
            </a:lvl1pPr>
          </a:lstStyle>
          <a:p>
            <a:pPr lvl="0" algn="ctr"/>
            <a:r>
              <a:rPr lang="en-GB"/>
              <a:t>Click on icon if you wish to insert a picture in this section. However, NEVER insert pictures in both top section and to the right – “both/and” does not apply here!  </a:t>
            </a:r>
          </a:p>
        </p:txBody>
      </p:sp>
      <p:sp>
        <p:nvSpPr>
          <p:cNvPr id="4" name="Picture Placeholder_Top">
            <a:extLst>
              <a:ext uri="{FF2B5EF4-FFF2-40B4-BE49-F238E27FC236}">
                <a16:creationId xmlns:a16="http://schemas.microsoft.com/office/drawing/2014/main" id="{99B3DEA7-4591-3354-27F6-96ADBCE963FA}"/>
              </a:ext>
            </a:extLst>
          </p:cNvPr>
          <p:cNvSpPr>
            <a:spLocks noGrp="1"/>
          </p:cNvSpPr>
          <p:nvPr>
            <p:ph type="pic" sz="quarter" idx="15" hasCustomPrompt="1"/>
          </p:nvPr>
        </p:nvSpPr>
        <p:spPr>
          <a:xfrm>
            <a:off x="0" y="0"/>
            <a:ext cx="7428525" cy="1700213"/>
          </a:xfrm>
          <a:prstGeom prst="rect">
            <a:avLst/>
          </a:prstGeom>
          <a:noFill/>
        </p:spPr>
        <p:txBody>
          <a:bodyPr lIns="1440000" tIns="0" rIns="1440000" bIns="0" anchor="ctr" anchorCtr="0"/>
          <a:lstStyle>
            <a:lvl1pPr algn="ctr">
              <a:defRPr sz="1200">
                <a:solidFill>
                  <a:srgbClr val="A8A5A1"/>
                </a:solidFill>
              </a:defRPr>
            </a:lvl1pPr>
          </a:lstStyle>
          <a:p>
            <a:r>
              <a:rPr lang="en-GB"/>
              <a:t>Click on icon if you wish to insert a picture in this section. However, NEVER insert pictures in both top section and to the right – “both/and” does not apply here!  </a:t>
            </a:r>
          </a:p>
        </p:txBody>
      </p:sp>
      <p:sp>
        <p:nvSpPr>
          <p:cNvPr id="17" name="Logo">
            <a:extLst>
              <a:ext uri="{FF2B5EF4-FFF2-40B4-BE49-F238E27FC236}">
                <a16:creationId xmlns:a16="http://schemas.microsoft.com/office/drawing/2014/main" id="{81B6D7AA-BAEF-F470-4830-8BD20236B1E3}"/>
              </a:ext>
            </a:extLst>
          </p:cNvPr>
          <p:cNvSpPr>
            <a:spLocks noGrp="1" noRot="1" noChangeAspect="1" noMove="1" noResize="1" noEditPoints="1" noAdjustHandles="1" noChangeArrowheads="1" noChangeShapeType="1"/>
          </p:cNvSpPr>
          <p:nvPr>
            <p:ph type="body" sz="quarter" idx="14" hasCustomPrompt="1"/>
          </p:nvPr>
        </p:nvSpPr>
        <p:spPr>
          <a:xfrm rot="5400000">
            <a:off x="8859240" y="758788"/>
            <a:ext cx="1260000" cy="288000"/>
          </a:xfrm>
          <a:prstGeom prst="rect">
            <a:avLst/>
          </a:prstGeom>
          <a:blipFill dpi="0" rotWithShape="0">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a:buNone/>
              <a:defRPr sz="100"/>
            </a:lvl1pPr>
          </a:lstStyle>
          <a:p>
            <a:pPr lvl="0"/>
            <a:r>
              <a:rPr lang="en-GB"/>
              <a:t> </a:t>
            </a:r>
          </a:p>
        </p:txBody>
      </p:sp>
    </p:spTree>
    <p:extLst>
      <p:ext uri="{BB962C8B-B14F-4D97-AF65-F5344CB8AC3E}">
        <p14:creationId xmlns:p14="http://schemas.microsoft.com/office/powerpoint/2010/main" val="306371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85">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41B0CD8B-D038-2C61-26C5-704B7DD64AB9}"/>
              </a:ext>
            </a:extLst>
          </p:cNvPr>
          <p:cNvSpPr>
            <a:spLocks noGrp="1"/>
          </p:cNvSpPr>
          <p:nvPr>
            <p:ph type="title"/>
          </p:nvPr>
        </p:nvSpPr>
        <p:spPr/>
        <p:txBody>
          <a:bodyPr/>
          <a:lstStyle/>
          <a:p>
            <a:r>
              <a:rPr lang="en-US"/>
              <a:t>Click to edit Master title style</a:t>
            </a:r>
            <a:endParaRPr lang="en-GB"/>
          </a:p>
        </p:txBody>
      </p:sp>
      <p:sp>
        <p:nvSpPr>
          <p:cNvPr id="6" name="Content Placeholder">
            <a:extLst>
              <a:ext uri="{FF2B5EF4-FFF2-40B4-BE49-F238E27FC236}">
                <a16:creationId xmlns:a16="http://schemas.microsoft.com/office/drawing/2014/main" id="{CCB90D5F-EAEF-F751-9256-B4670DBDD234}"/>
              </a:ext>
            </a:extLst>
          </p:cNvPr>
          <p:cNvSpPr>
            <a:spLocks noGrp="1"/>
          </p:cNvSpPr>
          <p:nvPr>
            <p:ph sz="quarter" idx="15"/>
          </p:nvPr>
        </p:nvSpPr>
        <p:spPr>
          <a:xfrm>
            <a:off x="273050" y="1627188"/>
            <a:ext cx="9359900" cy="4689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Notes">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73050" y="6501600"/>
            <a:ext cx="6742800" cy="106116"/>
          </a:xfrm>
        </p:spPr>
        <p:txBody>
          <a:bodyPr rIns="0" anchor="b" anchorCtr="0"/>
          <a:lstStyle>
            <a:lvl1pPr marL="0" indent="0"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6" indent="-139306" algn="l" defTabSz="742969"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42" indent="-185742" algn="l" defTabSz="742969"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42" indent="-185742" algn="l" defTabSz="742969" rtl="0" eaLnBrk="1" latinLnBrk="0" hangingPunct="1">
              <a:lnSpc>
                <a:spcPct val="90000"/>
              </a:lnSpc>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69"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 </a:t>
            </a:r>
          </a:p>
        </p:txBody>
      </p:sp>
    </p:spTree>
    <p:extLst>
      <p:ext uri="{BB962C8B-B14F-4D97-AF65-F5344CB8AC3E}">
        <p14:creationId xmlns:p14="http://schemas.microsoft.com/office/powerpoint/2010/main" val="95621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Image C">
    <p:spTree>
      <p:nvGrpSpPr>
        <p:cNvPr id="1" name=""/>
        <p:cNvGrpSpPr/>
        <p:nvPr/>
      </p:nvGrpSpPr>
      <p:grpSpPr>
        <a:xfrm>
          <a:off x="0" y="0"/>
          <a:ext cx="0" cy="0"/>
          <a:chOff x="0" y="0"/>
          <a:chExt cx="0" cy="0"/>
        </a:xfrm>
      </p:grpSpPr>
      <p:grpSp>
        <p:nvGrpSpPr>
          <p:cNvPr id="2" name="Background colour blocks">
            <a:extLst>
              <a:ext uri="{FF2B5EF4-FFF2-40B4-BE49-F238E27FC236}">
                <a16:creationId xmlns:a16="http://schemas.microsoft.com/office/drawing/2014/main" id="{7C8FD0F4-CC06-4D07-97AA-36E7B132C541}"/>
              </a:ext>
            </a:extLst>
          </p:cNvPr>
          <p:cNvGrpSpPr/>
          <p:nvPr userDrawn="1"/>
        </p:nvGrpSpPr>
        <p:grpSpPr>
          <a:xfrm>
            <a:off x="0" y="0"/>
            <a:ext cx="9906000" cy="6858000"/>
            <a:chOff x="0" y="0"/>
            <a:chExt cx="9906000" cy="6858000"/>
          </a:xfrm>
        </p:grpSpPr>
        <p:sp>
          <p:nvSpPr>
            <p:cNvPr id="23" name="Pink">
              <a:extLst>
                <a:ext uri="{FF2B5EF4-FFF2-40B4-BE49-F238E27FC236}">
                  <a16:creationId xmlns:a16="http://schemas.microsoft.com/office/drawing/2014/main" id="{A81EE220-AC53-4153-A0FE-1F2219FBF428}"/>
                </a:ext>
              </a:extLst>
            </p:cNvPr>
            <p:cNvSpPr/>
            <p:nvPr userDrawn="1"/>
          </p:nvSpPr>
          <p:spPr>
            <a:xfrm>
              <a:off x="3452116" y="0"/>
              <a:ext cx="645388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0BCA6"/>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2F363B"/>
                </a:solidFill>
                <a:effectLst/>
                <a:uLnTx/>
                <a:uFillTx/>
              </a:endParaRPr>
            </a:p>
          </p:txBody>
        </p:sp>
        <p:sp>
          <p:nvSpPr>
            <p:cNvPr id="3" name="Black">
              <a:extLst>
                <a:ext uri="{FF2B5EF4-FFF2-40B4-BE49-F238E27FC236}">
                  <a16:creationId xmlns:a16="http://schemas.microsoft.com/office/drawing/2014/main" id="{78FF8D86-B4F2-440A-9986-8206DC5C5D54}"/>
                </a:ext>
              </a:extLst>
            </p:cNvPr>
            <p:cNvSpPr/>
            <p:nvPr userDrawn="1"/>
          </p:nvSpPr>
          <p:spPr>
            <a:xfrm>
              <a:off x="0" y="0"/>
              <a:ext cx="8554911" cy="5502275"/>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en-GB" sz="1000" noProof="0">
                <a:solidFill>
                  <a:srgbClr val="2F363B"/>
                </a:solidFill>
              </a:endParaRPr>
            </a:p>
          </p:txBody>
        </p:sp>
      </p:grpSp>
      <p:sp>
        <p:nvSpPr>
          <p:cNvPr id="20" name="Title">
            <a:extLst>
              <a:ext uri="{FF2B5EF4-FFF2-40B4-BE49-F238E27FC236}">
                <a16:creationId xmlns:a16="http://schemas.microsoft.com/office/drawing/2014/main" id="{2F6935FD-E8E7-4B35-B4B1-C7059310FDE5}"/>
              </a:ext>
            </a:extLst>
          </p:cNvPr>
          <p:cNvSpPr>
            <a:spLocks noGrp="1"/>
          </p:cNvSpPr>
          <p:nvPr>
            <p:ph type="ctrTitle"/>
          </p:nvPr>
        </p:nvSpPr>
        <p:spPr>
          <a:xfrm>
            <a:off x="272256" y="539750"/>
            <a:ext cx="5841813" cy="3194064"/>
          </a:xfrm>
        </p:spPr>
        <p:txBody>
          <a:bodyPr vert="horz" anchor="t" anchorCtr="0">
            <a:noAutofit/>
          </a:bodyPr>
          <a:lstStyle>
            <a:lvl1pPr algn="l">
              <a:lnSpc>
                <a:spcPct val="83000"/>
              </a:lnSpc>
              <a:defRPr sz="6500" cap="all" baseline="0">
                <a:solidFill>
                  <a:srgbClr val="F8F5E7"/>
                </a:solidFill>
                <a:latin typeface="Impact" panose="020B0806030902050204" pitchFamily="34" charset="0"/>
              </a:defRPr>
            </a:lvl1pPr>
          </a:lstStyle>
          <a:p>
            <a:r>
              <a:rPr lang="en-US"/>
              <a:t>Click to edit Master title style</a:t>
            </a:r>
            <a:endParaRPr lang="en-GB"/>
          </a:p>
        </p:txBody>
      </p:sp>
      <p:sp>
        <p:nvSpPr>
          <p:cNvPr id="18" name="Subtitle">
            <a:extLst>
              <a:ext uri="{FF2B5EF4-FFF2-40B4-BE49-F238E27FC236}">
                <a16:creationId xmlns:a16="http://schemas.microsoft.com/office/drawing/2014/main" id="{28390A0B-0148-4E4A-997F-3FF133263F31}"/>
              </a:ext>
            </a:extLst>
          </p:cNvPr>
          <p:cNvSpPr>
            <a:spLocks noGrp="1"/>
          </p:cNvSpPr>
          <p:nvPr>
            <p:ph type="subTitle" idx="1"/>
          </p:nvPr>
        </p:nvSpPr>
        <p:spPr>
          <a:xfrm>
            <a:off x="269875" y="4011117"/>
            <a:ext cx="2816225" cy="1003221"/>
          </a:xfrm>
        </p:spPr>
        <p:txBody>
          <a:bodyPr rIns="360000" anchor="t" anchorCtr="0">
            <a:noAutofit/>
          </a:bodyPr>
          <a:lstStyle>
            <a:lvl1pPr marL="0" indent="0" algn="l">
              <a:lnSpc>
                <a:spcPct val="90000"/>
              </a:lnSpc>
              <a:spcBef>
                <a:spcPts val="0"/>
              </a:spcBef>
              <a:buFont typeface="Arial" panose="020B0604020202020204" pitchFamily="34" charset="0"/>
              <a:buChar char="​"/>
              <a:defRPr sz="1100">
                <a:solidFill>
                  <a:srgbClr val="F8F5E7"/>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US"/>
              <a:t>Click to edit Master subtitle style</a:t>
            </a:r>
            <a:endParaRPr lang="en-GB"/>
          </a:p>
        </p:txBody>
      </p:sp>
      <p:sp>
        <p:nvSpPr>
          <p:cNvPr id="10" name="Date">
            <a:extLst>
              <a:ext uri="{FF2B5EF4-FFF2-40B4-BE49-F238E27FC236}">
                <a16:creationId xmlns:a16="http://schemas.microsoft.com/office/drawing/2014/main" id="{49585976-AA21-42CB-B82F-826F94524238}"/>
              </a:ext>
            </a:extLst>
          </p:cNvPr>
          <p:cNvSpPr>
            <a:spLocks noGrp="1"/>
          </p:cNvSpPr>
          <p:nvPr>
            <p:ph type="body" sz="quarter" idx="13" hasCustomPrompt="1"/>
          </p:nvPr>
        </p:nvSpPr>
        <p:spPr>
          <a:xfrm>
            <a:off x="269875" y="5014338"/>
            <a:ext cx="2816226" cy="210634"/>
          </a:xfrm>
        </p:spPr>
        <p:txBody>
          <a:bodyPr rIns="0" anchor="b" anchorCtr="0"/>
          <a:lstStyle>
            <a:lvl1pPr>
              <a:lnSpc>
                <a:spcPct val="90000"/>
              </a:lnSpc>
              <a:defRPr sz="900">
                <a:solidFill>
                  <a:srgbClr val="F8F5E7"/>
                </a:solidFill>
              </a:defRPr>
            </a:lvl1pPr>
            <a:lvl5pPr>
              <a:defRPr/>
            </a:lvl5pPr>
          </a:lstStyle>
          <a:p>
            <a:pPr lvl="0"/>
            <a:r>
              <a:rPr lang="en-GB"/>
              <a:t>Date</a:t>
            </a:r>
          </a:p>
        </p:txBody>
      </p:sp>
      <p:sp>
        <p:nvSpPr>
          <p:cNvPr id="13" name="Picture Placeholder">
            <a:extLst>
              <a:ext uri="{FF2B5EF4-FFF2-40B4-BE49-F238E27FC236}">
                <a16:creationId xmlns:a16="http://schemas.microsoft.com/office/drawing/2014/main" id="{32CBD7CE-0C91-4290-9606-0942684C4652}"/>
              </a:ext>
            </a:extLst>
          </p:cNvPr>
          <p:cNvSpPr>
            <a:spLocks noGrp="1"/>
          </p:cNvSpPr>
          <p:nvPr>
            <p:ph type="pic" sz="quarter" idx="15"/>
          </p:nvPr>
        </p:nvSpPr>
        <p:spPr>
          <a:xfrm>
            <a:off x="3452117" y="4011117"/>
            <a:ext cx="6453884" cy="2846883"/>
          </a:xfrm>
          <a:solidFill>
            <a:srgbClr val="F3F2F0"/>
          </a:solidFill>
        </p:spPr>
        <p:txBody>
          <a:bodyPr vert="horz" lIns="0" tIns="0" rIns="0" bIns="0" rtlCol="0" anchor="ctr" anchorCtr="0">
            <a:noAutofit/>
          </a:bodyPr>
          <a:lstStyle>
            <a:lvl1pPr algn="ctr">
              <a:defRPr lang="da-DK" dirty="0"/>
            </a:lvl1pPr>
          </a:lstStyle>
          <a:p>
            <a:pPr lvl="0" algn="ctr">
              <a:buNone/>
            </a:pPr>
            <a:r>
              <a:rPr lang="en-US"/>
              <a:t>Click icon to add picture</a:t>
            </a:r>
            <a:endParaRPr lang="en-GB"/>
          </a:p>
        </p:txBody>
      </p:sp>
      <p:sp>
        <p:nvSpPr>
          <p:cNvPr id="17" name="Confidential">
            <a:extLst>
              <a:ext uri="{FF2B5EF4-FFF2-40B4-BE49-F238E27FC236}">
                <a16:creationId xmlns:a16="http://schemas.microsoft.com/office/drawing/2014/main" id="{98003F94-3A20-45FE-9AD7-1F0518FF10DF}"/>
              </a:ext>
            </a:extLst>
          </p:cNvPr>
          <p:cNvSpPr txBox="1"/>
          <p:nvPr userDrawn="1"/>
        </p:nvSpPr>
        <p:spPr>
          <a:xfrm>
            <a:off x="278928" y="6488160"/>
            <a:ext cx="609141" cy="124650"/>
          </a:xfrm>
          <a:prstGeom prst="rect">
            <a:avLst/>
          </a:prstGeom>
          <a:noFill/>
          <a:ln w="6350">
            <a:noFill/>
            <a:prstDash val="sysDash"/>
          </a:ln>
        </p:spPr>
        <p:txBody>
          <a:bodyPr wrap="square" lIns="0" tIns="0" rIns="0" bIns="0" rtlCol="0">
            <a:spAutoFit/>
          </a:bodyPr>
          <a:lstStyle/>
          <a:p>
            <a:pPr algn="l"/>
            <a:r>
              <a:rPr lang="en-GB" sz="900">
                <a:solidFill>
                  <a:schemeClr val="tx1"/>
                </a:solidFill>
              </a:rPr>
              <a:t>Confidential</a:t>
            </a:r>
          </a:p>
        </p:txBody>
      </p:sp>
      <p:sp>
        <p:nvSpPr>
          <p:cNvPr id="12" name="Logotype">
            <a:extLst>
              <a:ext uri="{FF2B5EF4-FFF2-40B4-BE49-F238E27FC236}">
                <a16:creationId xmlns:a16="http://schemas.microsoft.com/office/drawing/2014/main" id="{A8E36132-A534-4EFF-8A7F-F188BAB49D88}"/>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t> </a:t>
            </a:r>
          </a:p>
        </p:txBody>
      </p:sp>
    </p:spTree>
    <p:extLst>
      <p:ext uri="{BB962C8B-B14F-4D97-AF65-F5344CB8AC3E}">
        <p14:creationId xmlns:p14="http://schemas.microsoft.com/office/powerpoint/2010/main" val="162843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Image D">
    <p:spTree>
      <p:nvGrpSpPr>
        <p:cNvPr id="1" name=""/>
        <p:cNvGrpSpPr/>
        <p:nvPr/>
      </p:nvGrpSpPr>
      <p:grpSpPr>
        <a:xfrm>
          <a:off x="0" y="0"/>
          <a:ext cx="0" cy="0"/>
          <a:chOff x="0" y="0"/>
          <a:chExt cx="0" cy="0"/>
        </a:xfrm>
      </p:grpSpPr>
      <p:grpSp>
        <p:nvGrpSpPr>
          <p:cNvPr id="2" name="Background colour blocks">
            <a:extLst>
              <a:ext uri="{FF2B5EF4-FFF2-40B4-BE49-F238E27FC236}">
                <a16:creationId xmlns:a16="http://schemas.microsoft.com/office/drawing/2014/main" id="{AD44022A-079E-4E54-A071-E2994F14812B}"/>
              </a:ext>
            </a:extLst>
          </p:cNvPr>
          <p:cNvGrpSpPr/>
          <p:nvPr userDrawn="1"/>
        </p:nvGrpSpPr>
        <p:grpSpPr>
          <a:xfrm>
            <a:off x="0" y="0"/>
            <a:ext cx="9906000" cy="6858000"/>
            <a:chOff x="0" y="0"/>
            <a:chExt cx="9906000" cy="6858000"/>
          </a:xfrm>
        </p:grpSpPr>
        <p:sp>
          <p:nvSpPr>
            <p:cNvPr id="23" name="Green">
              <a:extLst>
                <a:ext uri="{FF2B5EF4-FFF2-40B4-BE49-F238E27FC236}">
                  <a16:creationId xmlns:a16="http://schemas.microsoft.com/office/drawing/2014/main" id="{A81EE220-AC53-4153-A0FE-1F2219FBF428}"/>
                </a:ext>
              </a:extLst>
            </p:cNvPr>
            <p:cNvSpPr/>
            <p:nvPr userDrawn="1"/>
          </p:nvSpPr>
          <p:spPr>
            <a:xfrm>
              <a:off x="3452116" y="0"/>
              <a:ext cx="645388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a:ln>
                  <a:noFill/>
                </a:ln>
                <a:solidFill>
                  <a:srgbClr val="1F2023"/>
                </a:solidFill>
                <a:effectLst/>
                <a:uLnTx/>
                <a:uFillTx/>
              </a:endParaRPr>
            </a:p>
          </p:txBody>
        </p:sp>
        <p:sp>
          <p:nvSpPr>
            <p:cNvPr id="17" name="Egg">
              <a:extLst>
                <a:ext uri="{FF2B5EF4-FFF2-40B4-BE49-F238E27FC236}">
                  <a16:creationId xmlns:a16="http://schemas.microsoft.com/office/drawing/2014/main" id="{3B014E73-AB17-436C-A15E-6880F18048C0}"/>
                </a:ext>
              </a:extLst>
            </p:cNvPr>
            <p:cNvSpPr/>
            <p:nvPr userDrawn="1"/>
          </p:nvSpPr>
          <p:spPr>
            <a:xfrm>
              <a:off x="0" y="0"/>
              <a:ext cx="8554911" cy="550227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en-GB" sz="1000" noProof="0">
                <a:solidFill>
                  <a:srgbClr val="1F2023"/>
                </a:solidFill>
              </a:endParaRPr>
            </a:p>
          </p:txBody>
        </p:sp>
      </p:grpSp>
      <p:sp>
        <p:nvSpPr>
          <p:cNvPr id="18" name="Title">
            <a:extLst>
              <a:ext uri="{FF2B5EF4-FFF2-40B4-BE49-F238E27FC236}">
                <a16:creationId xmlns:a16="http://schemas.microsoft.com/office/drawing/2014/main" id="{13637FDB-F8B7-4F0A-9D10-989B9490783C}"/>
              </a:ext>
            </a:extLst>
          </p:cNvPr>
          <p:cNvSpPr>
            <a:spLocks noGrp="1"/>
          </p:cNvSpPr>
          <p:nvPr>
            <p:ph type="ctrTitle"/>
          </p:nvPr>
        </p:nvSpPr>
        <p:spPr>
          <a:xfrm>
            <a:off x="272256" y="539750"/>
            <a:ext cx="5841813" cy="3194064"/>
          </a:xfrm>
        </p:spPr>
        <p:txBody>
          <a:bodyPr vert="horz" anchor="t" anchorCtr="0">
            <a:noAutofit/>
          </a:bodyPr>
          <a:lstStyle>
            <a:lvl1pPr algn="l">
              <a:lnSpc>
                <a:spcPct val="83000"/>
              </a:lnSpc>
              <a:defRPr sz="6500" cap="all" baseline="0">
                <a:solidFill>
                  <a:srgbClr val="30373B"/>
                </a:solidFill>
                <a:latin typeface="Impact" panose="020B0806030902050204" pitchFamily="34" charset="0"/>
              </a:defRPr>
            </a:lvl1pPr>
          </a:lstStyle>
          <a:p>
            <a:r>
              <a:rPr lang="en-US"/>
              <a:t>Click to edit Master title style</a:t>
            </a:r>
            <a:endParaRPr lang="en-GB"/>
          </a:p>
        </p:txBody>
      </p:sp>
      <p:sp>
        <p:nvSpPr>
          <p:cNvPr id="3" name="Subtitle"/>
          <p:cNvSpPr>
            <a:spLocks noGrp="1"/>
          </p:cNvSpPr>
          <p:nvPr>
            <p:ph type="subTitle" idx="1"/>
          </p:nvPr>
        </p:nvSpPr>
        <p:spPr>
          <a:xfrm>
            <a:off x="272256" y="4011117"/>
            <a:ext cx="2816225" cy="1218483"/>
          </a:xfrm>
        </p:spPr>
        <p:txBody>
          <a:bodyPr rIns="360000" anchor="t" anchorCtr="0"/>
          <a:lstStyle>
            <a:lvl1pPr marL="0" indent="0" algn="l">
              <a:lnSpc>
                <a:spcPct val="90000"/>
              </a:lnSpc>
              <a:spcBef>
                <a:spcPts val="0"/>
              </a:spcBef>
              <a:buFont typeface="Arial" panose="020B0604020202020204" pitchFamily="34" charset="0"/>
              <a:buChar char="​"/>
              <a:defRPr sz="1100">
                <a:solidFill>
                  <a:srgbClr val="1F2023"/>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US"/>
              <a:t>Click to edit Master subtitle style</a:t>
            </a:r>
            <a:endParaRPr lang="en-GB"/>
          </a:p>
        </p:txBody>
      </p:sp>
      <p:sp>
        <p:nvSpPr>
          <p:cNvPr id="15" name="Date">
            <a:extLst>
              <a:ext uri="{FF2B5EF4-FFF2-40B4-BE49-F238E27FC236}">
                <a16:creationId xmlns:a16="http://schemas.microsoft.com/office/drawing/2014/main" id="{CA3D093D-0380-470D-91FD-8CF2680FA772}"/>
              </a:ext>
            </a:extLst>
          </p:cNvPr>
          <p:cNvSpPr>
            <a:spLocks noGrp="1"/>
          </p:cNvSpPr>
          <p:nvPr>
            <p:ph type="body" sz="quarter" idx="13" hasCustomPrompt="1"/>
          </p:nvPr>
        </p:nvSpPr>
        <p:spPr>
          <a:xfrm>
            <a:off x="269875" y="5014338"/>
            <a:ext cx="2816226" cy="210634"/>
          </a:xfrm>
        </p:spPr>
        <p:txBody>
          <a:bodyPr rIns="0" anchor="b" anchorCtr="0"/>
          <a:lstStyle>
            <a:lvl1pPr>
              <a:lnSpc>
                <a:spcPct val="90000"/>
              </a:lnSpc>
              <a:defRPr sz="900">
                <a:solidFill>
                  <a:srgbClr val="1F2023"/>
                </a:solidFill>
              </a:defRPr>
            </a:lvl1pPr>
            <a:lvl5pPr>
              <a:defRPr/>
            </a:lvl5pPr>
          </a:lstStyle>
          <a:p>
            <a:pPr lvl="0"/>
            <a:r>
              <a:rPr lang="en-GB"/>
              <a:t>Date</a:t>
            </a:r>
          </a:p>
        </p:txBody>
      </p:sp>
      <p:sp>
        <p:nvSpPr>
          <p:cNvPr id="13" name="Picture Placeholder">
            <a:extLst>
              <a:ext uri="{FF2B5EF4-FFF2-40B4-BE49-F238E27FC236}">
                <a16:creationId xmlns:a16="http://schemas.microsoft.com/office/drawing/2014/main" id="{32CBD7CE-0C91-4290-9606-0942684C4652}"/>
              </a:ext>
            </a:extLst>
          </p:cNvPr>
          <p:cNvSpPr>
            <a:spLocks noGrp="1"/>
          </p:cNvSpPr>
          <p:nvPr>
            <p:ph type="pic" sz="quarter" idx="15"/>
          </p:nvPr>
        </p:nvSpPr>
        <p:spPr>
          <a:xfrm>
            <a:off x="3452116" y="4011117"/>
            <a:ext cx="6453884" cy="2846883"/>
          </a:xfrm>
          <a:solidFill>
            <a:srgbClr val="F3F2F0"/>
          </a:solidFill>
        </p:spPr>
        <p:txBody>
          <a:bodyPr vert="horz" lIns="0" tIns="0" rIns="0" bIns="0" rtlCol="0" anchor="ctr" anchorCtr="0">
            <a:noAutofit/>
          </a:bodyPr>
          <a:lstStyle>
            <a:lvl1pPr algn="ctr">
              <a:defRPr lang="da-DK" dirty="0"/>
            </a:lvl1pPr>
          </a:lstStyle>
          <a:p>
            <a:pPr lvl="0" algn="ctr">
              <a:buNone/>
            </a:pPr>
            <a:r>
              <a:rPr lang="en-US"/>
              <a:t>Click icon to add picture</a:t>
            </a:r>
            <a:endParaRPr lang="en-GB"/>
          </a:p>
        </p:txBody>
      </p:sp>
      <p:sp>
        <p:nvSpPr>
          <p:cNvPr id="9" name="Confidential">
            <a:extLst>
              <a:ext uri="{FF2B5EF4-FFF2-40B4-BE49-F238E27FC236}">
                <a16:creationId xmlns:a16="http://schemas.microsoft.com/office/drawing/2014/main" id="{88A90B00-B598-4C42-ABF2-5F501F15A3F2}"/>
              </a:ext>
            </a:extLst>
          </p:cNvPr>
          <p:cNvSpPr txBox="1"/>
          <p:nvPr userDrawn="1"/>
        </p:nvSpPr>
        <p:spPr>
          <a:xfrm>
            <a:off x="278928" y="6488160"/>
            <a:ext cx="609141" cy="124650"/>
          </a:xfrm>
          <a:prstGeom prst="rect">
            <a:avLst/>
          </a:prstGeom>
          <a:noFill/>
          <a:ln w="6350">
            <a:noFill/>
            <a:prstDash val="sysDash"/>
          </a:ln>
        </p:spPr>
        <p:txBody>
          <a:bodyPr wrap="square" lIns="0" tIns="0" rIns="0" bIns="0" rtlCol="0">
            <a:spAutoFit/>
          </a:bodyPr>
          <a:lstStyle/>
          <a:p>
            <a:pPr algn="l"/>
            <a:r>
              <a:rPr lang="en-GB" sz="900">
                <a:solidFill>
                  <a:schemeClr val="tx1"/>
                </a:solidFill>
              </a:rPr>
              <a:t>Confidential</a:t>
            </a:r>
          </a:p>
        </p:txBody>
      </p:sp>
      <p:sp>
        <p:nvSpPr>
          <p:cNvPr id="12" name="Logotype">
            <a:extLst>
              <a:ext uri="{FF2B5EF4-FFF2-40B4-BE49-F238E27FC236}">
                <a16:creationId xmlns:a16="http://schemas.microsoft.com/office/drawing/2014/main" id="{B1D3067F-1962-46D9-86B7-08FC94B365B1}"/>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r>
              <a:rPr lang="en-GB">
                <a:solidFill>
                  <a:srgbClr val="1F2023"/>
                </a:solidFill>
              </a:rPr>
              <a:t> </a:t>
            </a:r>
          </a:p>
        </p:txBody>
      </p:sp>
    </p:spTree>
    <p:extLst>
      <p:ext uri="{BB962C8B-B14F-4D97-AF65-F5344CB8AC3E}">
        <p14:creationId xmlns:p14="http://schemas.microsoft.com/office/powerpoint/2010/main" val="103006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82829E1-5604-451D-A03B-5D05629B2A50}"/>
              </a:ext>
            </a:extLst>
          </p:cNvPr>
          <p:cNvSpPr>
            <a:spLocks noGrp="1"/>
          </p:cNvSpPr>
          <p:nvPr>
            <p:ph type="title"/>
          </p:nvPr>
        </p:nvSpPr>
        <p:spPr>
          <a:xfrm>
            <a:off x="269876" y="269876"/>
            <a:ext cx="8559232" cy="692336"/>
          </a:xfrm>
        </p:spPr>
        <p:txBody>
          <a:bodyPr/>
          <a:lstStyle/>
          <a:p>
            <a:r>
              <a:rPr lang="en-US"/>
              <a:t>Click to edit Master title style</a:t>
            </a:r>
            <a:endParaRPr lang="en-GB"/>
          </a:p>
        </p:txBody>
      </p:sp>
      <p:sp>
        <p:nvSpPr>
          <p:cNvPr id="5" name="Content Placeholder">
            <a:extLst>
              <a:ext uri="{FF2B5EF4-FFF2-40B4-BE49-F238E27FC236}">
                <a16:creationId xmlns:a16="http://schemas.microsoft.com/office/drawing/2014/main" id="{92BB5A4C-4375-476F-853F-8AF0B94D5B21}"/>
              </a:ext>
            </a:extLst>
          </p:cNvPr>
          <p:cNvSpPr>
            <a:spLocks noGrp="1"/>
          </p:cNvSpPr>
          <p:nvPr>
            <p:ph sz="quarter" idx="15"/>
          </p:nvPr>
        </p:nvSpPr>
        <p:spPr>
          <a:xfrm>
            <a:off x="269876" y="1627188"/>
            <a:ext cx="9363074" cy="4718050"/>
          </a:xfrm>
        </p:spPr>
        <p:txBody>
          <a:bodyPr/>
          <a:lstStyle>
            <a:lvl5pPr>
              <a:defRPr/>
            </a:lvl5pPr>
            <a:lvl6pPr>
              <a:defRPr/>
            </a:lvl6pPr>
            <a:lvl7pPr>
              <a:defRPr/>
            </a:lvl7pPr>
            <a:lvl8pPr>
              <a:buAutoNum type="alphaUcPeriod"/>
              <a:defRPr/>
            </a:lvl8pPr>
            <a:lvl9pPr>
              <a:spcAft>
                <a:spcPts val="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Notes">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69874" y="6492235"/>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4" name="Tracker">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7209383" y="6492235"/>
            <a:ext cx="1978862"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136368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Light">
    <p:bg>
      <p:bgPr>
        <a:solidFill>
          <a:srgbClr val="EEEBE8"/>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7662D31B-3C62-4A2D-803B-50CB87BD70F4}"/>
              </a:ext>
            </a:extLst>
          </p:cNvPr>
          <p:cNvSpPr>
            <a:spLocks noGrp="1"/>
          </p:cNvSpPr>
          <p:nvPr>
            <p:ph type="title"/>
          </p:nvPr>
        </p:nvSpPr>
        <p:spPr/>
        <p:txBody>
          <a:bodyPr/>
          <a:lstStyle/>
          <a:p>
            <a:r>
              <a:rPr lang="en-US"/>
              <a:t>Click to edit Master title style</a:t>
            </a:r>
            <a:endParaRPr lang="en-GB"/>
          </a:p>
        </p:txBody>
      </p:sp>
      <p:sp>
        <p:nvSpPr>
          <p:cNvPr id="9" name="Content Placeholder">
            <a:extLst>
              <a:ext uri="{FF2B5EF4-FFF2-40B4-BE49-F238E27FC236}">
                <a16:creationId xmlns:a16="http://schemas.microsoft.com/office/drawing/2014/main" id="{E82F5C28-6671-49CF-8CC0-F9B6496EA055}"/>
              </a:ext>
            </a:extLst>
          </p:cNvPr>
          <p:cNvSpPr>
            <a:spLocks noGrp="1"/>
          </p:cNvSpPr>
          <p:nvPr>
            <p:ph sz="quarter" idx="15"/>
          </p:nvPr>
        </p:nvSpPr>
        <p:spPr>
          <a:xfrm>
            <a:off x="269876" y="1627188"/>
            <a:ext cx="9363074" cy="4718050"/>
          </a:xfrm>
        </p:spPr>
        <p:txBody>
          <a:bodyPr/>
          <a:lstStyle>
            <a:lvl5pPr>
              <a:defRPr/>
            </a:lvl5pPr>
            <a:lvl6pPr>
              <a:defRPr/>
            </a:lvl6pPr>
            <a:lvl7pPr>
              <a:defRPr/>
            </a:lvl7pPr>
            <a:lvl8pPr>
              <a:buAutoNum type="alphaUcPeriod"/>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Notes">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69874" y="6493884"/>
            <a:ext cx="6744111" cy="106116"/>
          </a:xfrm>
        </p:spPr>
        <p:txBody>
          <a:bodyPr rIns="0" anchor="b"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a:t>Notes</a:t>
            </a:r>
          </a:p>
        </p:txBody>
      </p:sp>
      <p:sp>
        <p:nvSpPr>
          <p:cNvPr id="4" name="Tracker">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7209383" y="6493884"/>
            <a:ext cx="1978862" cy="106116"/>
          </a:xfrm>
        </p:spPr>
        <p:txBody>
          <a:bodyPr rIns="0" anchor="b"/>
          <a:lstStyle>
            <a:lvl1pPr algn="r">
              <a:spcAft>
                <a:spcPts val="0"/>
              </a:spcAft>
              <a:defRPr sz="650">
                <a:solidFill>
                  <a:srgbClr val="1F2023"/>
                </a:solidFill>
              </a:defRPr>
            </a:lvl1pPr>
            <a:lvl2pPr>
              <a:defRPr sz="650"/>
            </a:lvl2pPr>
            <a:lvl3pPr>
              <a:defRPr sz="650"/>
            </a:lvl3pPr>
            <a:lvl4pPr>
              <a:defRPr sz="650"/>
            </a:lvl4pPr>
            <a:lvl5pPr>
              <a:defRPr sz="650"/>
            </a:lvl5pPr>
          </a:lstStyle>
          <a:p>
            <a:pPr lvl="0"/>
            <a:r>
              <a:rPr lang="en-GB"/>
              <a:t>Tracker</a:t>
            </a:r>
          </a:p>
        </p:txBody>
      </p:sp>
    </p:spTree>
    <p:extLst>
      <p:ext uri="{BB962C8B-B14F-4D97-AF65-F5344CB8AC3E}">
        <p14:creationId xmlns:p14="http://schemas.microsoft.com/office/powerpoint/2010/main" val="89410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3A47FA8-304C-A1CB-E99C-3A0855F2D00D}"/>
              </a:ext>
            </a:extLst>
          </p:cNvPr>
          <p:cNvGraphicFramePr>
            <a:graphicFrameLocks noChangeAspect="1"/>
          </p:cNvGraphicFramePr>
          <p:nvPr userDrawn="1">
            <p:custDataLst>
              <p:tags r:id="rId54"/>
            </p:custDataLst>
            <p:extLst>
              <p:ext uri="{D42A27DB-BD31-4B8C-83A1-F6EECF244321}">
                <p14:modId xmlns:p14="http://schemas.microsoft.com/office/powerpoint/2010/main" val="3918204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92" imgH="595" progId="TCLayout.ActiveDocument.1">
                  <p:embed/>
                </p:oleObj>
              </mc:Choice>
              <mc:Fallback>
                <p:oleObj name="think-cell Slide" r:id="rId56" imgW="592" imgH="595" progId="TCLayout.ActiveDocument.1">
                  <p:embed/>
                  <p:pic>
                    <p:nvPicPr>
                      <p:cNvPr id="4" name="think-cell data - do not delete" hidden="1">
                        <a:extLst>
                          <a:ext uri="{FF2B5EF4-FFF2-40B4-BE49-F238E27FC236}">
                            <a16:creationId xmlns:a16="http://schemas.microsoft.com/office/drawing/2014/main" id="{A3A47FA8-304C-A1CB-E99C-3A0855F2D00D}"/>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7" name="Title">
            <a:extLst>
              <a:ext uri="{FF2B5EF4-FFF2-40B4-BE49-F238E27FC236}">
                <a16:creationId xmlns:a16="http://schemas.microsoft.com/office/drawing/2014/main" id="{C9392247-CE23-49BB-A39E-64C7575BE478}"/>
              </a:ext>
            </a:extLst>
          </p:cNvPr>
          <p:cNvSpPr>
            <a:spLocks noGrp="1"/>
          </p:cNvSpPr>
          <p:nvPr>
            <p:ph type="title"/>
          </p:nvPr>
        </p:nvSpPr>
        <p:spPr>
          <a:xfrm>
            <a:off x="269876" y="269876"/>
            <a:ext cx="8559232" cy="692336"/>
          </a:xfrm>
          <a:prstGeom prst="rect">
            <a:avLst/>
          </a:prstGeom>
        </p:spPr>
        <p:txBody>
          <a:bodyPr vert="horz" lIns="0" tIns="0" rIns="0" bIns="0" rtlCol="0" anchor="t" anchorCtr="0">
            <a:noAutofit/>
          </a:bodyPr>
          <a:lstStyle/>
          <a:p>
            <a:r>
              <a:rPr lang="en-GB"/>
              <a:t>Click to edit Master title slide</a:t>
            </a:r>
          </a:p>
        </p:txBody>
      </p:sp>
      <p:sp>
        <p:nvSpPr>
          <p:cNvPr id="3" name="Text Placeholder"/>
          <p:cNvSpPr>
            <a:spLocks noGrp="1"/>
          </p:cNvSpPr>
          <p:nvPr>
            <p:ph type="body" idx="1"/>
          </p:nvPr>
        </p:nvSpPr>
        <p:spPr>
          <a:xfrm>
            <a:off x="269877" y="1628777"/>
            <a:ext cx="8559232" cy="4716461"/>
          </a:xfrm>
          <a:prstGeom prst="rect">
            <a:avLst/>
          </a:prstGeom>
        </p:spPr>
        <p:txBody>
          <a:bodyPr vert="horz" lIns="0" tIns="0" rIns="36000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2" name="Logo">
            <a:extLst>
              <a:ext uri="{FF2B5EF4-FFF2-40B4-BE49-F238E27FC236}">
                <a16:creationId xmlns:a16="http://schemas.microsoft.com/office/drawing/2014/main" id="{44CFCE70-1EB6-4E62-B436-A8AE9BF44EE3}"/>
              </a:ext>
            </a:extLst>
          </p:cNvPr>
          <p:cNvSpPr/>
          <p:nvPr userDrawn="1">
            <p:custDataLst>
              <p:tags r:id="rId55"/>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11" name="Slide Number">
            <a:extLst>
              <a:ext uri="{FF2B5EF4-FFF2-40B4-BE49-F238E27FC236}">
                <a16:creationId xmlns:a16="http://schemas.microsoft.com/office/drawing/2014/main" id="{AE093CDC-5836-4227-9F83-3004A048E1F6}"/>
              </a:ext>
            </a:extLst>
          </p:cNvPr>
          <p:cNvSpPr txBox="1">
            <a:spLocks/>
          </p:cNvSpPr>
          <p:nvPr userDrawn="1"/>
        </p:nvSpPr>
        <p:spPr>
          <a:xfrm>
            <a:off x="9378938" y="6486264"/>
            <a:ext cx="255600" cy="111600"/>
          </a:xfrm>
          <a:prstGeom prst="rect">
            <a:avLst/>
          </a:prstGeom>
        </p:spPr>
        <p:txBody>
          <a:bodyPr vert="horz" lIns="0" tIns="0" rIns="0" bIns="0" rtlCol="0" anchor="b"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z="650" smtClean="0">
                <a:solidFill>
                  <a:srgbClr val="1F2023"/>
                </a:solidFill>
              </a:rPr>
              <a:pPr/>
              <a:t>‹nr.›</a:t>
            </a:fld>
            <a:endParaRPr lang="en-GB" sz="650">
              <a:solidFill>
                <a:srgbClr val="1F2023"/>
              </a:solidFill>
            </a:endParaRP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801" r:id="rId1"/>
    <p:sldLayoutId id="2147483729" r:id="rId2"/>
    <p:sldLayoutId id="2147483770" r:id="rId3"/>
    <p:sldLayoutId id="2147483777" r:id="rId4"/>
    <p:sldLayoutId id="2147483779" r:id="rId5"/>
    <p:sldLayoutId id="2147483774" r:id="rId6"/>
    <p:sldLayoutId id="2147483775" r:id="rId7"/>
    <p:sldLayoutId id="2147483748" r:id="rId8"/>
    <p:sldLayoutId id="2147483788" r:id="rId9"/>
    <p:sldLayoutId id="2147483787" r:id="rId10"/>
    <p:sldLayoutId id="2147483754" r:id="rId11"/>
    <p:sldLayoutId id="2147483776" r:id="rId12"/>
    <p:sldLayoutId id="2147483743" r:id="rId13"/>
    <p:sldLayoutId id="2147483756" r:id="rId14"/>
    <p:sldLayoutId id="2147483761" r:id="rId15"/>
    <p:sldLayoutId id="2147483780" r:id="rId16"/>
    <p:sldLayoutId id="2147483811" r:id="rId17"/>
    <p:sldLayoutId id="2147483812" r:id="rId18"/>
    <p:sldLayoutId id="2147483813" r:id="rId19"/>
    <p:sldLayoutId id="2147483791" r:id="rId20"/>
    <p:sldLayoutId id="2147483792" r:id="rId21"/>
    <p:sldLayoutId id="2147483766" r:id="rId22"/>
    <p:sldLayoutId id="2147483815" r:id="rId23"/>
    <p:sldLayoutId id="2147483768" r:id="rId24"/>
    <p:sldLayoutId id="2147483816" r:id="rId25"/>
    <p:sldLayoutId id="2147483804" r:id="rId26"/>
    <p:sldLayoutId id="2147483806" r:id="rId27"/>
    <p:sldLayoutId id="2147483803" r:id="rId28"/>
    <p:sldLayoutId id="2147483805" r:id="rId29"/>
    <p:sldLayoutId id="2147483807" r:id="rId30"/>
    <p:sldLayoutId id="2147483808" r:id="rId31"/>
    <p:sldLayoutId id="2147483823" r:id="rId32"/>
    <p:sldLayoutId id="2147483824" r:id="rId33"/>
    <p:sldLayoutId id="2147483790" r:id="rId34"/>
    <p:sldLayoutId id="2147483789" r:id="rId35"/>
    <p:sldLayoutId id="2147483771" r:id="rId36"/>
    <p:sldLayoutId id="2147483772" r:id="rId37"/>
    <p:sldLayoutId id="2147483785" r:id="rId38"/>
    <p:sldLayoutId id="2147483784" r:id="rId39"/>
    <p:sldLayoutId id="2147483744" r:id="rId40"/>
    <p:sldLayoutId id="2147483763" r:id="rId41"/>
    <p:sldLayoutId id="2147483793" r:id="rId42"/>
    <p:sldLayoutId id="2147483796" r:id="rId43"/>
    <p:sldLayoutId id="2147483794" r:id="rId44"/>
    <p:sldLayoutId id="2147483817" r:id="rId45"/>
    <p:sldLayoutId id="2147483818" r:id="rId46"/>
    <p:sldLayoutId id="2147483819" r:id="rId47"/>
    <p:sldLayoutId id="2147483820" r:id="rId48"/>
    <p:sldLayoutId id="2147483821" r:id="rId49"/>
    <p:sldLayoutId id="2147483802" r:id="rId50"/>
    <p:sldLayoutId id="2147483841" r:id="rId51"/>
    <p:sldLayoutId id="2147483842"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742950" rtl="0" eaLnBrk="1" latinLnBrk="0" hangingPunct="1">
        <a:lnSpc>
          <a:spcPct val="90000"/>
        </a:lnSpc>
        <a:spcBef>
          <a:spcPct val="0"/>
        </a:spcBef>
        <a:buNone/>
        <a:defRPr sz="2100" kern="1200">
          <a:solidFill>
            <a:srgbClr val="1F2023"/>
          </a:solidFill>
          <a:latin typeface="+mj-lt"/>
          <a:ea typeface="+mj-ea"/>
          <a:cs typeface="+mj-cs"/>
        </a:defRPr>
      </a:lvl1pPr>
    </p:titleStyle>
    <p:body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0"/>
        </a:spcAft>
        <a:buFont typeface="Arial" panose="020B0604020202020204" pitchFamily="34" charset="0"/>
        <a:buNone/>
        <a:defRPr sz="4800" kern="1200" cap="all" baseline="0">
          <a:solidFill>
            <a:srgbClr val="1F2023"/>
          </a:solidFill>
          <a:latin typeface="Impact" panose="020B0806030902050204" pitchFamily="34" charset="0"/>
          <a:ea typeface="+mn-ea"/>
          <a:cs typeface="+mn-cs"/>
        </a:defRPr>
      </a:lvl9pPr>
    </p:bodyStyle>
    <p:other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p:otherStyle>
  </p:txStyles>
  <p:extLst>
    <p:ext uri="{27BBF7A9-308A-43DC-89C8-2F10F3537804}">
      <p15:sldGuideLst xmlns:p15="http://schemas.microsoft.com/office/powerpoint/2012/main">
        <p15:guide id="2" pos="6068" userDrawn="1">
          <p15:clr>
            <a:srgbClr val="F26B43"/>
          </p15:clr>
        </p15:guide>
        <p15:guide id="3" orient="horz" pos="1025" userDrawn="1">
          <p15:clr>
            <a:srgbClr val="F26B43"/>
          </p15:clr>
        </p15:guide>
        <p15:guide id="5" pos="172" userDrawn="1">
          <p15:clr>
            <a:srgbClr val="F26B43"/>
          </p15:clr>
        </p15:guide>
        <p15:guide id="6" orient="horz" pos="170" userDrawn="1">
          <p15:clr>
            <a:srgbClr val="F26B43"/>
          </p15:clr>
        </p15:guide>
        <p15:guide id="7" orient="horz" pos="606" userDrawn="1">
          <p15:clr>
            <a:srgbClr val="F26B43"/>
          </p15:clr>
        </p15:guide>
        <p15:guide id="9" orient="horz" pos="4144" userDrawn="1">
          <p15:clr>
            <a:srgbClr val="F26B43"/>
          </p15:clr>
        </p15:guide>
        <p15:guide id="10" orient="horz" pos="399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51.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tags" Target="../tags/tag24.xml"/><Relationship Id="rId6" Type="http://schemas.openxmlformats.org/officeDocument/2006/relationships/hyperlink" Target="https://regionaltarbejdsliv.dk/oevrige-temaer/rette-kompetencer-til-rette-opgaver/" TargetMode="External"/><Relationship Id="rId5" Type="http://schemas.openxmlformats.org/officeDocument/2006/relationships/image" Target="../media/image8.png"/><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1.xml"/><Relationship Id="rId1" Type="http://schemas.openxmlformats.org/officeDocument/2006/relationships/tags" Target="../tags/tag2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1.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DB06AE-7DB7-0091-8A3D-AEEDC3339299}"/>
              </a:ext>
            </a:extLst>
          </p:cNvPr>
          <p:cNvGraphicFramePr>
            <a:graphicFrameLocks noChangeAspect="1"/>
          </p:cNvGraphicFramePr>
          <p:nvPr>
            <p:custDataLst>
              <p:tags r:id="rId1"/>
            </p:custDataLst>
            <p:extLst>
              <p:ext uri="{D42A27DB-BD31-4B8C-83A1-F6EECF244321}">
                <p14:modId xmlns:p14="http://schemas.microsoft.com/office/powerpoint/2010/main" val="715435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6" name="think-cell data - do not delete" hidden="1">
                        <a:extLst>
                          <a:ext uri="{FF2B5EF4-FFF2-40B4-BE49-F238E27FC236}">
                            <a16:creationId xmlns:a16="http://schemas.microsoft.com/office/drawing/2014/main" id="{3ADB06AE-7DB7-0091-8A3D-AEEDC33392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152B8A2E-436A-B35E-B10E-F1819EC1D669}"/>
              </a:ext>
            </a:extLst>
          </p:cNvPr>
          <p:cNvSpPr/>
          <p:nvPr/>
        </p:nvSpPr>
        <p:spPr>
          <a:xfrm>
            <a:off x="0" y="3429000"/>
            <a:ext cx="9906000" cy="342900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pic>
        <p:nvPicPr>
          <p:cNvPr id="36" name="Picture Placeholder 10" descr="A picture containing outdoor object, web&#10;&#10;Description automatically generated">
            <a:extLst>
              <a:ext uri="{FF2B5EF4-FFF2-40B4-BE49-F238E27FC236}">
                <a16:creationId xmlns:a16="http://schemas.microsoft.com/office/drawing/2014/main" id="{31F08385-7137-FEC9-DDB5-04401D1AF7DD}"/>
              </a:ext>
            </a:extLst>
          </p:cNvPr>
          <p:cNvPicPr>
            <a:picLocks noChangeAspect="1"/>
          </p:cNvPicPr>
          <p:nvPr/>
        </p:nvPicPr>
        <p:blipFill rotWithShape="1">
          <a:blip r:embed="rId6">
            <a:duotone>
              <a:prstClr val="black"/>
              <a:srgbClr val="244655">
                <a:tint val="45000"/>
                <a:satMod val="400000"/>
              </a:srgbClr>
            </a:duotone>
            <a:extLst>
              <a:ext uri="{28A0092B-C50C-407E-A947-70E740481C1C}">
                <a14:useLocalDpi xmlns:a14="http://schemas.microsoft.com/office/drawing/2010/main" val="0"/>
              </a:ext>
            </a:extLst>
          </a:blip>
          <a:srcRect l="14422" t="50368" r="11619" b="13662"/>
          <a:stretch/>
        </p:blipFill>
        <p:spPr>
          <a:xfrm>
            <a:off x="1" y="3438300"/>
            <a:ext cx="9906000" cy="3406738"/>
          </a:xfrm>
          <a:prstGeom prst="rect">
            <a:avLst/>
          </a:prstGeom>
          <a:noFill/>
          <a:ln>
            <a:solidFill>
              <a:srgbClr val="244655"/>
            </a:solidFill>
          </a:ln>
        </p:spPr>
      </p:pic>
      <p:sp>
        <p:nvSpPr>
          <p:cNvPr id="14" name="Rectangle 13">
            <a:extLst>
              <a:ext uri="{FF2B5EF4-FFF2-40B4-BE49-F238E27FC236}">
                <a16:creationId xmlns:a16="http://schemas.microsoft.com/office/drawing/2014/main" id="{3FCB2A97-D775-BFCF-9F3E-1BFC1C8AA143}"/>
              </a:ext>
            </a:extLst>
          </p:cNvPr>
          <p:cNvSpPr/>
          <p:nvPr/>
        </p:nvSpPr>
        <p:spPr>
          <a:xfrm>
            <a:off x="0" y="0"/>
            <a:ext cx="9906000" cy="3429000"/>
          </a:xfrm>
          <a:prstGeom prst="rect">
            <a:avLst/>
          </a:prstGeom>
          <a:solidFill>
            <a:srgbClr val="24465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pic>
        <p:nvPicPr>
          <p:cNvPr id="24" name="Picture Placeholder 10" descr="A picture containing outdoor object, web&#10;&#10;Description automatically generated">
            <a:extLst>
              <a:ext uri="{FF2B5EF4-FFF2-40B4-BE49-F238E27FC236}">
                <a16:creationId xmlns:a16="http://schemas.microsoft.com/office/drawing/2014/main" id="{09F581F2-1BAF-71EC-5348-8DD866A9B6E8}"/>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l="14635" t="13795" r="11406" b="50235"/>
          <a:stretch/>
        </p:blipFill>
        <p:spPr>
          <a:xfrm>
            <a:off x="1" y="0"/>
            <a:ext cx="9906000" cy="3406738"/>
          </a:xfrm>
          <a:noFill/>
        </p:spPr>
      </p:pic>
      <p:sp>
        <p:nvSpPr>
          <p:cNvPr id="12" name="Rectangle 11">
            <a:extLst>
              <a:ext uri="{FF2B5EF4-FFF2-40B4-BE49-F238E27FC236}">
                <a16:creationId xmlns:a16="http://schemas.microsoft.com/office/drawing/2014/main" id="{C19667BC-F1B7-4085-BD34-B7AF89B6CBFE}"/>
              </a:ext>
            </a:extLst>
          </p:cNvPr>
          <p:cNvSpPr/>
          <p:nvPr/>
        </p:nvSpPr>
        <p:spPr>
          <a:xfrm>
            <a:off x="272760" y="272788"/>
            <a:ext cx="5994690" cy="626136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sp>
        <p:nvSpPr>
          <p:cNvPr id="2" name="Title 1">
            <a:extLst>
              <a:ext uri="{FF2B5EF4-FFF2-40B4-BE49-F238E27FC236}">
                <a16:creationId xmlns:a16="http://schemas.microsoft.com/office/drawing/2014/main" id="{5AA65728-FF7E-3498-6361-520458A001A1}"/>
              </a:ext>
            </a:extLst>
          </p:cNvPr>
          <p:cNvSpPr>
            <a:spLocks noGrp="1"/>
          </p:cNvSpPr>
          <p:nvPr>
            <p:ph type="ctrTitle"/>
          </p:nvPr>
        </p:nvSpPr>
        <p:spPr>
          <a:xfrm>
            <a:off x="761999" y="1800088"/>
            <a:ext cx="4886325" cy="1440000"/>
          </a:xfrm>
        </p:spPr>
        <p:txBody>
          <a:bodyPr vert="horz"/>
          <a:lstStyle/>
          <a:p>
            <a:r>
              <a:rPr lang="da-DK" sz="3200" dirty="0">
                <a:solidFill>
                  <a:schemeClr val="tx1"/>
                </a:solidFill>
                <a:latin typeface="Georgia" panose="02040502050405020303" pitchFamily="18" charset="0"/>
                <a:cs typeface="Calibri" panose="020F0502020204030204" pitchFamily="34" charset="0"/>
              </a:rPr>
              <a:t>Debathæfte</a:t>
            </a:r>
          </a:p>
        </p:txBody>
      </p:sp>
      <p:sp>
        <p:nvSpPr>
          <p:cNvPr id="8" name="Picture Placeholder 7">
            <a:extLst>
              <a:ext uri="{FF2B5EF4-FFF2-40B4-BE49-F238E27FC236}">
                <a16:creationId xmlns:a16="http://schemas.microsoft.com/office/drawing/2014/main" id="{C8979B54-224F-9B24-11AF-D9527EFC2B8A}"/>
              </a:ext>
            </a:extLst>
          </p:cNvPr>
          <p:cNvSpPr>
            <a:spLocks noGrp="1"/>
          </p:cNvSpPr>
          <p:nvPr>
            <p:ph type="pic" sz="quarter" idx="12"/>
          </p:nvPr>
        </p:nvSpPr>
        <p:spPr/>
        <p:txBody>
          <a:bodyPr/>
          <a:lstStyle/>
          <a:p>
            <a:endParaRPr lang="da-DK"/>
          </a:p>
        </p:txBody>
      </p:sp>
      <p:sp>
        <p:nvSpPr>
          <p:cNvPr id="9" name="Text Placeholder 8">
            <a:extLst>
              <a:ext uri="{FF2B5EF4-FFF2-40B4-BE49-F238E27FC236}">
                <a16:creationId xmlns:a16="http://schemas.microsoft.com/office/drawing/2014/main" id="{85DC4484-6985-01D3-F8CF-44A6E7FEFA12}"/>
              </a:ext>
            </a:extLst>
          </p:cNvPr>
          <p:cNvSpPr>
            <a:spLocks noGrp="1"/>
          </p:cNvSpPr>
          <p:nvPr>
            <p:ph type="body" sz="quarter" idx="14"/>
          </p:nvPr>
        </p:nvSpPr>
        <p:spPr/>
        <p:txBody>
          <a:bodyPr/>
          <a:lstStyle/>
          <a:p>
            <a:endParaRPr lang="da-DK" dirty="0"/>
          </a:p>
        </p:txBody>
      </p:sp>
      <p:cxnSp>
        <p:nvCxnSpPr>
          <p:cNvPr id="22" name="Straight Connector 21">
            <a:extLst>
              <a:ext uri="{FF2B5EF4-FFF2-40B4-BE49-F238E27FC236}">
                <a16:creationId xmlns:a16="http://schemas.microsoft.com/office/drawing/2014/main" id="{40CB3AC4-1092-FB47-ECC8-AE962CC77617}"/>
              </a:ext>
            </a:extLst>
          </p:cNvPr>
          <p:cNvCxnSpPr/>
          <p:nvPr/>
        </p:nvCxnSpPr>
        <p:spPr>
          <a:xfrm>
            <a:off x="761999" y="3429000"/>
            <a:ext cx="4464000" cy="0"/>
          </a:xfrm>
          <a:prstGeom prst="line">
            <a:avLst/>
          </a:prstGeom>
          <a:ln w="19050">
            <a:solidFill>
              <a:srgbClr val="24465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 Placeholder 25">
            <a:extLst>
              <a:ext uri="{FF2B5EF4-FFF2-40B4-BE49-F238E27FC236}">
                <a16:creationId xmlns:a16="http://schemas.microsoft.com/office/drawing/2014/main" id="{3C98B919-1354-96F9-44C0-3BB36212D38A}"/>
              </a:ext>
            </a:extLst>
          </p:cNvPr>
          <p:cNvSpPr>
            <a:spLocks noGrp="1"/>
          </p:cNvSpPr>
          <p:nvPr>
            <p:ph type="body" sz="quarter" idx="10"/>
          </p:nvPr>
        </p:nvSpPr>
        <p:spPr/>
        <p:txBody>
          <a:bodyPr/>
          <a:lstStyle/>
          <a:p>
            <a:endParaRPr lang="da-DK"/>
          </a:p>
        </p:txBody>
      </p:sp>
      <p:pic>
        <p:nvPicPr>
          <p:cNvPr id="4" name="Picture 3">
            <a:extLst>
              <a:ext uri="{FF2B5EF4-FFF2-40B4-BE49-F238E27FC236}">
                <a16:creationId xmlns:a16="http://schemas.microsoft.com/office/drawing/2014/main" id="{4F76A082-3866-BADA-0F77-D3F83FC3FA48}"/>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Effect>
                      <a14:brightnessContrast contrast="20000"/>
                    </a14:imgEffect>
                  </a14:imgLayer>
                </a14:imgProps>
              </a:ext>
            </a:extLst>
          </a:blip>
          <a:srcRect r="14442"/>
          <a:stretch/>
        </p:blipFill>
        <p:spPr>
          <a:xfrm>
            <a:off x="5715238" y="0"/>
            <a:ext cx="4190761" cy="6858000"/>
          </a:xfrm>
          <a:prstGeom prst="rect">
            <a:avLst/>
          </a:prstGeom>
        </p:spPr>
      </p:pic>
      <p:sp>
        <p:nvSpPr>
          <p:cNvPr id="21" name="Subtitle 2">
            <a:extLst>
              <a:ext uri="{FF2B5EF4-FFF2-40B4-BE49-F238E27FC236}">
                <a16:creationId xmlns:a16="http://schemas.microsoft.com/office/drawing/2014/main" id="{4272F492-83BD-644C-F3DA-9B82B51A3F81}"/>
              </a:ext>
            </a:extLst>
          </p:cNvPr>
          <p:cNvSpPr>
            <a:spLocks noGrp="1"/>
          </p:cNvSpPr>
          <p:nvPr>
            <p:ph type="subTitle" idx="1"/>
          </p:nvPr>
        </p:nvSpPr>
        <p:spPr>
          <a:xfrm>
            <a:off x="761998" y="3919500"/>
            <a:ext cx="4886325" cy="1224000"/>
          </a:xfrm>
        </p:spPr>
        <p:txBody>
          <a:bodyPr/>
          <a:lstStyle/>
          <a:p>
            <a:r>
              <a:rPr lang="da-DK" sz="2000" b="1" dirty="0">
                <a:solidFill>
                  <a:schemeClr val="tx1"/>
                </a:solidFill>
                <a:latin typeface="Calibri" panose="020F0502020204030204" pitchFamily="34" charset="0"/>
                <a:cs typeface="Calibri" panose="020F0502020204030204" pitchFamily="34" charset="0"/>
              </a:rPr>
              <a:t>Danske Regioner og de faglige </a:t>
            </a:r>
            <a:br>
              <a:rPr lang="da-DK" sz="2000" b="1" dirty="0">
                <a:solidFill>
                  <a:schemeClr val="tx1"/>
                </a:solidFill>
                <a:latin typeface="Calibri" panose="020F0502020204030204" pitchFamily="34" charset="0"/>
                <a:cs typeface="Calibri" panose="020F0502020204030204" pitchFamily="34" charset="0"/>
              </a:rPr>
            </a:br>
            <a:r>
              <a:rPr lang="da-DK" sz="2000" b="1" dirty="0">
                <a:solidFill>
                  <a:schemeClr val="tx1"/>
                </a:solidFill>
                <a:latin typeface="Calibri" panose="020F0502020204030204" pitchFamily="34" charset="0"/>
                <a:cs typeface="Calibri" panose="020F0502020204030204" pitchFamily="34" charset="0"/>
              </a:rPr>
              <a:t>organisationer på sygehusområdet</a:t>
            </a:r>
            <a:endParaRPr lang="da-DK" sz="2000" i="1" dirty="0">
              <a:solidFill>
                <a:schemeClr val="tx1"/>
              </a:solidFill>
              <a:latin typeface="Calibri" panose="020F0502020204030204" pitchFamily="34" charset="0"/>
              <a:cs typeface="Calibri" panose="020F0502020204030204" pitchFamily="34" charset="0"/>
            </a:endParaRPr>
          </a:p>
          <a:p>
            <a:r>
              <a:rPr lang="da-DK" sz="2000" i="1" dirty="0">
                <a:solidFill>
                  <a:schemeClr val="tx1"/>
                </a:solidFill>
                <a:latin typeface="Calibri" panose="020F0502020204030204" pitchFamily="34" charset="0"/>
                <a:cs typeface="Calibri" panose="020F0502020204030204" pitchFamily="34" charset="0"/>
              </a:rPr>
              <a:t>Rette kompetencer til rette opgaver – </a:t>
            </a:r>
            <a:br>
              <a:rPr lang="da-DK" sz="2000" i="1" dirty="0">
                <a:solidFill>
                  <a:schemeClr val="tx1"/>
                </a:solidFill>
                <a:latin typeface="Calibri" panose="020F0502020204030204" pitchFamily="34" charset="0"/>
                <a:cs typeface="Calibri" panose="020F0502020204030204" pitchFamily="34" charset="0"/>
              </a:rPr>
            </a:br>
            <a:r>
              <a:rPr lang="da-DK" sz="2000" i="1" dirty="0">
                <a:solidFill>
                  <a:schemeClr val="tx1"/>
                </a:solidFill>
                <a:latin typeface="Calibri" panose="020F0502020204030204" pitchFamily="34" charset="0"/>
                <a:cs typeface="Calibri" panose="020F0502020204030204" pitchFamily="34" charset="0"/>
              </a:rPr>
              <a:t>mod og idéer til nytænkning på sygehusområdet</a:t>
            </a:r>
          </a:p>
        </p:txBody>
      </p:sp>
    </p:spTree>
    <p:extLst>
      <p:ext uri="{BB962C8B-B14F-4D97-AF65-F5344CB8AC3E}">
        <p14:creationId xmlns:p14="http://schemas.microsoft.com/office/powerpoint/2010/main" val="192044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ED60DD85-AC5C-87A9-1B02-598F822F7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17" name="think-cell data - do not delete" hidden="1">
                        <a:extLst>
                          <a:ext uri="{FF2B5EF4-FFF2-40B4-BE49-F238E27FC236}">
                            <a16:creationId xmlns:a16="http://schemas.microsoft.com/office/drawing/2014/main" id="{ED60DD85-AC5C-87A9-1B02-598F822F7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8EB5A1E-634D-6DEC-2475-52A6B5234252}"/>
              </a:ext>
            </a:extLst>
          </p:cNvPr>
          <p:cNvSpPr/>
          <p:nvPr/>
        </p:nvSpPr>
        <p:spPr>
          <a:xfrm>
            <a:off x="-639" y="-4778"/>
            <a:ext cx="2839090" cy="6862777"/>
          </a:xfrm>
          <a:prstGeom prst="rect">
            <a:avLst/>
          </a:prstGeom>
          <a:solidFill>
            <a:srgbClr val="24465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200" noProof="0" err="1">
              <a:solidFill>
                <a:sysClr val="windowText" lastClr="000000"/>
              </a:solidFill>
            </a:endParaRPr>
          </a:p>
        </p:txBody>
      </p:sp>
      <p:sp>
        <p:nvSpPr>
          <p:cNvPr id="4" name="Text Placeholder 3">
            <a:extLst>
              <a:ext uri="{FF2B5EF4-FFF2-40B4-BE49-F238E27FC236}">
                <a16:creationId xmlns:a16="http://schemas.microsoft.com/office/drawing/2014/main" id="{2EA11977-25CD-3C05-5781-26F1B4FD707C}"/>
              </a:ext>
            </a:extLst>
          </p:cNvPr>
          <p:cNvSpPr>
            <a:spLocks noGrp="1"/>
          </p:cNvSpPr>
          <p:nvPr>
            <p:ph type="body" sz="quarter" idx="13"/>
          </p:nvPr>
        </p:nvSpPr>
        <p:spPr/>
        <p:txBody>
          <a:bodyPr/>
          <a:lstStyle/>
          <a:p>
            <a:endParaRPr lang="en-GB"/>
          </a:p>
        </p:txBody>
      </p:sp>
      <p:sp>
        <p:nvSpPr>
          <p:cNvPr id="16" name="Rectangle 15">
            <a:extLst>
              <a:ext uri="{FF2B5EF4-FFF2-40B4-BE49-F238E27FC236}">
                <a16:creationId xmlns:a16="http://schemas.microsoft.com/office/drawing/2014/main" id="{37FB4A62-9129-FA37-73E1-1AC7E0E89CD7}"/>
              </a:ext>
            </a:extLst>
          </p:cNvPr>
          <p:cNvSpPr/>
          <p:nvPr/>
        </p:nvSpPr>
        <p:spPr>
          <a:xfrm>
            <a:off x="9399181" y="198474"/>
            <a:ext cx="311889" cy="53871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err="1">
              <a:solidFill>
                <a:sysClr val="windowText" lastClr="000000"/>
              </a:solidFill>
            </a:endParaRPr>
          </a:p>
        </p:txBody>
      </p:sp>
      <p:sp>
        <p:nvSpPr>
          <p:cNvPr id="3" name="Content Placeholder 15">
            <a:extLst>
              <a:ext uri="{FF2B5EF4-FFF2-40B4-BE49-F238E27FC236}">
                <a16:creationId xmlns:a16="http://schemas.microsoft.com/office/drawing/2014/main" id="{C184CC9D-23FB-6350-67E5-467DF4A7423D}"/>
              </a:ext>
            </a:extLst>
          </p:cNvPr>
          <p:cNvSpPr txBox="1">
            <a:spLocks/>
          </p:cNvSpPr>
          <p:nvPr/>
        </p:nvSpPr>
        <p:spPr>
          <a:xfrm>
            <a:off x="5051826" y="737191"/>
            <a:ext cx="4308474" cy="253165"/>
          </a:xfrm>
          <a:prstGeom prst="rect">
            <a:avLst/>
          </a:prstGeom>
        </p:spPr>
        <p:txBody>
          <a:bodyPr lIns="0" tIns="0" anchor="t"/>
          <a:lstStyle>
            <a:lvl1pPr marL="0" indent="0" algn="l" defTabSz="742969"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3" indent="-144003" algn="l" defTabSz="742969"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7" indent="-144003" algn="l" defTabSz="742969"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11" indent="-144003" algn="l" defTabSz="742969"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69"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69"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216000" indent="-216000" algn="l" defTabSz="742969"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216000" indent="-216000" algn="l" defTabSz="742969"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69" rtl="0" eaLnBrk="1" latinLnBrk="0" hangingPunct="1">
              <a:lnSpc>
                <a:spcPct val="100000"/>
              </a:lnSpc>
              <a:spcBef>
                <a:spcPts val="0"/>
              </a:spcBef>
              <a:spcAft>
                <a:spcPts val="600"/>
              </a:spcAft>
              <a:buFont typeface="Arial" panose="020B0604020202020204" pitchFamily="34" charset="0"/>
              <a:buNone/>
              <a:defRPr sz="2000" kern="1200" cap="none" baseline="0">
                <a:solidFill>
                  <a:srgbClr val="1F2023"/>
                </a:solidFill>
                <a:latin typeface="Palatino Linotype" panose="02040502050505030304" pitchFamily="18" charset="0"/>
                <a:ea typeface="+mn-ea"/>
                <a:cs typeface="+mn-cs"/>
              </a:defRPr>
            </a:lvl9pPr>
          </a:lstStyle>
          <a:p>
            <a:pPr>
              <a:spcAft>
                <a:spcPts val="1200"/>
              </a:spcAft>
            </a:pPr>
            <a:r>
              <a:rPr lang="da-DK" sz="1400" b="1" dirty="0">
                <a:solidFill>
                  <a:schemeClr val="tx1"/>
                </a:solidFill>
                <a:latin typeface="Georgia" panose="02040502050405020303" pitchFamily="18" charset="0"/>
                <a:cs typeface="Calibri" panose="020F0502020204030204" pitchFamily="34" charset="0"/>
              </a:rPr>
              <a:t>Spørgsmål til jer</a:t>
            </a:r>
            <a:endParaRPr lang="da-DK" sz="1200" dirty="0">
              <a:solidFill>
                <a:schemeClr val="tx1"/>
              </a:solidFill>
              <a:latin typeface="Georgia" panose="02040502050405020303" pitchFamily="18" charset="0"/>
              <a:cs typeface="Calibri" panose="020F0502020204030204" pitchFamily="34" charset="0"/>
            </a:endParaRPr>
          </a:p>
        </p:txBody>
      </p:sp>
      <p:pic>
        <p:nvPicPr>
          <p:cNvPr id="23" name="Picture Placeholder 10" descr="A picture containing outdoor object, web&#10;&#10;Description automatically generated">
            <a:extLst>
              <a:ext uri="{FF2B5EF4-FFF2-40B4-BE49-F238E27FC236}">
                <a16:creationId xmlns:a16="http://schemas.microsoft.com/office/drawing/2014/main" id="{73F61928-61D2-C31E-6171-FFF62F3D5D2B}"/>
              </a:ext>
            </a:extLst>
          </p:cNvPr>
          <p:cNvPicPr>
            <a:picLocks noChangeAspect="1"/>
          </p:cNvPicPr>
          <p:nvPr/>
        </p:nvPicPr>
        <p:blipFill rotWithShape="1">
          <a:blip r:embed="rId5">
            <a:extLst>
              <a:ext uri="{28A0092B-C50C-407E-A947-70E740481C1C}">
                <a14:useLocalDpi xmlns:a14="http://schemas.microsoft.com/office/drawing/2010/main" val="0"/>
              </a:ext>
            </a:extLst>
          </a:blip>
          <a:srcRect l="9941" t="14661" r="68867" b="12929"/>
          <a:stretch/>
        </p:blipFill>
        <p:spPr>
          <a:xfrm>
            <a:off x="0" y="0"/>
            <a:ext cx="2838452" cy="6858000"/>
          </a:xfrm>
          <a:prstGeom prst="rect">
            <a:avLst/>
          </a:prstGeom>
          <a:noFill/>
        </p:spPr>
      </p:pic>
      <p:sp>
        <p:nvSpPr>
          <p:cNvPr id="6" name="Rectangle 5">
            <a:extLst>
              <a:ext uri="{FF2B5EF4-FFF2-40B4-BE49-F238E27FC236}">
                <a16:creationId xmlns:a16="http://schemas.microsoft.com/office/drawing/2014/main" id="{237193E9-F34E-F1E6-1942-F928FE128430}"/>
              </a:ext>
            </a:extLst>
          </p:cNvPr>
          <p:cNvSpPr/>
          <p:nvPr/>
        </p:nvSpPr>
        <p:spPr>
          <a:xfrm>
            <a:off x="382995" y="574508"/>
            <a:ext cx="4319578" cy="5788192"/>
          </a:xfrm>
          <a:prstGeom prst="rect">
            <a:avLst/>
          </a:prstGeom>
          <a:solidFill>
            <a:srgbClr val="FBF9F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200" noProof="0" err="1">
              <a:solidFill>
                <a:sysClr val="windowText" lastClr="000000"/>
              </a:solidFill>
            </a:endParaRPr>
          </a:p>
        </p:txBody>
      </p:sp>
      <p:sp>
        <p:nvSpPr>
          <p:cNvPr id="14" name="Content Placeholder 15">
            <a:extLst>
              <a:ext uri="{FF2B5EF4-FFF2-40B4-BE49-F238E27FC236}">
                <a16:creationId xmlns:a16="http://schemas.microsoft.com/office/drawing/2014/main" id="{FC08302B-F1E4-FB71-2555-406FBB8EB56F}"/>
              </a:ext>
            </a:extLst>
          </p:cNvPr>
          <p:cNvSpPr txBox="1">
            <a:spLocks/>
          </p:cNvSpPr>
          <p:nvPr/>
        </p:nvSpPr>
        <p:spPr>
          <a:xfrm>
            <a:off x="547316" y="737191"/>
            <a:ext cx="4050624" cy="5546301"/>
          </a:xfrm>
          <a:prstGeom prst="rect">
            <a:avLst/>
          </a:prstGeom>
        </p:spPr>
        <p:txBody>
          <a:bodyPr lIns="0" tIns="0" anchor="t"/>
          <a:lstStyle>
            <a:lvl1pPr marL="0" indent="0" algn="l" defTabSz="742969"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3" indent="-144003" algn="l" defTabSz="742969"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7" indent="-144003" algn="l" defTabSz="742969"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11" indent="-144003" algn="l" defTabSz="742969"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69"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69"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216000" indent="-216000" algn="l" defTabSz="742969"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216000" indent="-216000" algn="l" defTabSz="742969"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69" rtl="0" eaLnBrk="1" latinLnBrk="0" hangingPunct="1">
              <a:lnSpc>
                <a:spcPct val="100000"/>
              </a:lnSpc>
              <a:spcBef>
                <a:spcPts val="0"/>
              </a:spcBef>
              <a:spcAft>
                <a:spcPts val="600"/>
              </a:spcAft>
              <a:buFont typeface="Arial" panose="020B0604020202020204" pitchFamily="34" charset="0"/>
              <a:buNone/>
              <a:defRPr sz="2000" kern="1200" cap="none" baseline="0">
                <a:solidFill>
                  <a:srgbClr val="1F2023"/>
                </a:solidFill>
                <a:latin typeface="Palatino Linotype" panose="02040502050505030304" pitchFamily="18" charset="0"/>
                <a:ea typeface="+mn-ea"/>
                <a:cs typeface="+mn-cs"/>
              </a:defRPr>
            </a:lvl9pPr>
          </a:lstStyle>
          <a:p>
            <a:pPr>
              <a:spcAft>
                <a:spcPts val="1200"/>
              </a:spcAft>
            </a:pPr>
            <a:r>
              <a:rPr lang="da-DK" sz="1400" b="1" dirty="0">
                <a:solidFill>
                  <a:schemeClr val="tx1"/>
                </a:solidFill>
                <a:latin typeface="Georgia" panose="02040502050405020303" pitchFamily="18" charset="0"/>
                <a:cs typeface="Calibri" panose="020F0502020204030204" pitchFamily="34" charset="0"/>
              </a:rPr>
              <a:t>Indledning</a:t>
            </a:r>
          </a:p>
          <a:p>
            <a:pPr>
              <a:spcAft>
                <a:spcPts val="1200"/>
              </a:spcAft>
            </a:pPr>
            <a:r>
              <a:rPr lang="da-DK" sz="1200" dirty="0">
                <a:solidFill>
                  <a:schemeClr val="tx1"/>
                </a:solidFill>
                <a:latin typeface="Calibri" panose="020F0502020204030204" pitchFamily="34" charset="0"/>
                <a:cs typeface="Calibri" panose="020F0502020204030204" pitchFamily="34" charset="0"/>
              </a:rPr>
              <a:t>Det danske sygehusvæsen står i disse år over for et væsentligt pres, som forventes at tage til i styrke i de kommende år. Der skal sikres patientforløb af høj kvalitet og gode arbejdspladser. Der skal derfor findes nye måder at løse opgaverne på, som er holdbare for både patienter, medarbejdere og ledere. Der er mange veje til dette.</a:t>
            </a:r>
          </a:p>
          <a:p>
            <a:pPr>
              <a:spcAft>
                <a:spcPts val="1200"/>
              </a:spcAft>
            </a:pPr>
            <a:r>
              <a:rPr lang="da-DK" sz="1200" dirty="0">
                <a:solidFill>
                  <a:schemeClr val="tx1"/>
                </a:solidFill>
                <a:latin typeface="Calibri" panose="020F0502020204030204" pitchFamily="34" charset="0"/>
                <a:cs typeface="Calibri" panose="020F0502020204030204" pitchFamily="34" charset="0"/>
              </a:rPr>
              <a:t>Der arbejdes allerede både på afdelingerne, på sygehusene, regionalt og nationalt med svar på de aktuelle og fremtidige udfordringer. Men der er stadig udfordringer med trivsel, arbejdsmiljø, rekruttering og fastholdelse på sygehusene. </a:t>
            </a:r>
          </a:p>
          <a:p>
            <a:pPr>
              <a:spcAft>
                <a:spcPts val="1200"/>
              </a:spcAft>
            </a:pPr>
            <a:r>
              <a:rPr lang="da-DK" sz="1200" dirty="0">
                <a:solidFill>
                  <a:schemeClr val="tx1"/>
                </a:solidFill>
                <a:latin typeface="Calibri" panose="020F0502020204030204" pitchFamily="34" charset="0"/>
                <a:cs typeface="Calibri" panose="020F0502020204030204" pitchFamily="34" charset="0"/>
              </a:rPr>
              <a:t>Danske Regioner og de faglige organisationer på sygehusområdet har etableret partnerskabet ”Rette kompetencer til rette opgaver – mod og idéer til nytænkning på sygehusområdet”. Målet er at bidrage til sygehusenes arbejde med disse udfordringer. </a:t>
            </a:r>
          </a:p>
          <a:p>
            <a:pPr>
              <a:spcAft>
                <a:spcPts val="1200"/>
              </a:spcAft>
            </a:pPr>
            <a:r>
              <a:rPr lang="da-DK" sz="1200" dirty="0">
                <a:solidFill>
                  <a:schemeClr val="tx1"/>
                </a:solidFill>
                <a:latin typeface="Calibri" panose="020F0502020204030204" pitchFamily="34" charset="0"/>
                <a:cs typeface="Calibri" panose="020F0502020204030204" pitchFamily="34" charset="0"/>
              </a:rPr>
              <a:t>Som led i arbejdet har partnerskabet fået udarbejdet en rapport om udfordringer og udviklingsveje på sygehusene. Rapporten er udarbejdet ud fra interview med både ledere og medarbejdere på tværs af faggrupper og sygehuse. I kan finde rapporten </a:t>
            </a:r>
            <a:r>
              <a:rPr lang="da-DK" sz="1200" dirty="0">
                <a:solidFill>
                  <a:schemeClr val="tx1"/>
                </a:solidFill>
                <a:latin typeface="Calibri" panose="020F0502020204030204" pitchFamily="34" charset="0"/>
                <a:cs typeface="Calibri" panose="020F0502020204030204" pitchFamily="34" charset="0"/>
                <a:hlinkClick r:id="rId6"/>
              </a:rPr>
              <a:t>her</a:t>
            </a:r>
            <a:r>
              <a:rPr lang="da-DK" sz="1200" dirty="0">
                <a:solidFill>
                  <a:schemeClr val="tx1"/>
                </a:solidFill>
                <a:latin typeface="Calibri" panose="020F0502020204030204" pitchFamily="34" charset="0"/>
                <a:cs typeface="Calibri" panose="020F0502020204030204" pitchFamily="34" charset="0"/>
              </a:rPr>
              <a:t>:</a:t>
            </a:r>
          </a:p>
          <a:p>
            <a:pPr>
              <a:spcAft>
                <a:spcPts val="1200"/>
              </a:spcAft>
            </a:pPr>
            <a:r>
              <a:rPr lang="da-DK" sz="1200" dirty="0">
                <a:solidFill>
                  <a:schemeClr val="tx1"/>
                </a:solidFill>
                <a:latin typeface="Calibri" panose="020F0502020204030204" pitchFamily="34" charset="0"/>
                <a:cs typeface="Calibri" panose="020F0502020204030204" pitchFamily="34" charset="0"/>
                <a:hlinkClick r:id="rId6"/>
              </a:rPr>
              <a:t>https://regionaltarbejdsliv.dk/oevrige-temaer/rette-kompetencer-til-rette-opgaver/</a:t>
            </a:r>
            <a:r>
              <a:rPr lang="da-DK" sz="1200" dirty="0">
                <a:solidFill>
                  <a:schemeClr val="tx1"/>
                </a:solidFill>
                <a:latin typeface="Calibri" panose="020F0502020204030204" pitchFamily="34" charset="0"/>
                <a:cs typeface="Calibri" panose="020F0502020204030204" pitchFamily="34" charset="0"/>
              </a:rPr>
              <a:t> </a:t>
            </a:r>
          </a:p>
          <a:p>
            <a:pPr>
              <a:spcAft>
                <a:spcPts val="1200"/>
              </a:spcAft>
            </a:pPr>
            <a:r>
              <a:rPr lang="da-DK" sz="1200" dirty="0">
                <a:solidFill>
                  <a:schemeClr val="tx1"/>
                </a:solidFill>
                <a:latin typeface="Calibri" panose="020F0502020204030204" pitchFamily="34" charset="0"/>
                <a:cs typeface="Calibri" panose="020F0502020204030204" pitchFamily="34" charset="0"/>
              </a:rPr>
              <a:t>Denne pjece er en sammenfatning af rapporten. Det er håbet, at den kan give inspiration til dialogen og arbejdet med at løse udfordringerne. </a:t>
            </a:r>
          </a:p>
        </p:txBody>
      </p:sp>
      <p:cxnSp>
        <p:nvCxnSpPr>
          <p:cNvPr id="25" name="Straight Connector 24">
            <a:extLst>
              <a:ext uri="{FF2B5EF4-FFF2-40B4-BE49-F238E27FC236}">
                <a16:creationId xmlns:a16="http://schemas.microsoft.com/office/drawing/2014/main" id="{B28E03CE-0BDF-E198-0F99-5FFC4C7FE645}"/>
              </a:ext>
            </a:extLst>
          </p:cNvPr>
          <p:cNvCxnSpPr>
            <a:cxnSpLocks/>
          </p:cNvCxnSpPr>
          <p:nvPr/>
        </p:nvCxnSpPr>
        <p:spPr>
          <a:xfrm>
            <a:off x="547316" y="990356"/>
            <a:ext cx="3919909" cy="0"/>
          </a:xfrm>
          <a:prstGeom prst="line">
            <a:avLst/>
          </a:prstGeom>
          <a:ln w="19050">
            <a:solidFill>
              <a:srgbClr val="24465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19489623-4BCB-E6DA-62AC-A17D711E7418}"/>
              </a:ext>
            </a:extLst>
          </p:cNvPr>
          <p:cNvSpPr txBox="1"/>
          <p:nvPr/>
        </p:nvSpPr>
        <p:spPr>
          <a:xfrm>
            <a:off x="5404330" y="1055805"/>
            <a:ext cx="3887163" cy="3865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lvl="0">
              <a:lnSpc>
                <a:spcPct val="107000"/>
              </a:lnSpc>
              <a:spcAft>
                <a:spcPts val="800"/>
              </a:spcAft>
              <a:buNone/>
            </a:pPr>
            <a:r>
              <a:rPr lang="da-DK"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Kan I genkende det udfordringsbillede, som rapporten tegner, hos jer?</a:t>
            </a:r>
            <a:endParaRPr lang="da-DK" sz="16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1A44DC33-8C47-C93C-C325-4D6EAE72D28E}"/>
              </a:ext>
            </a:extLst>
          </p:cNvPr>
          <p:cNvSpPr txBox="1"/>
          <p:nvPr/>
        </p:nvSpPr>
        <p:spPr>
          <a:xfrm>
            <a:off x="5404330" y="1632466"/>
            <a:ext cx="3887163" cy="1661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gn="l"/>
            <a:r>
              <a:rPr lang="da-DK" sz="1200" dirty="0">
                <a:solidFill>
                  <a:schemeClr val="tx1"/>
                </a:solidFill>
                <a:latin typeface="Calibri" panose="020F0502020204030204" pitchFamily="34" charset="0"/>
                <a:cs typeface="Calibri" panose="020F0502020204030204" pitchFamily="34" charset="0"/>
                <a:sym typeface=""/>
              </a:rPr>
              <a:t>Hvad fylder især meget hos jer?</a:t>
            </a:r>
          </a:p>
        </p:txBody>
      </p:sp>
      <p:sp>
        <p:nvSpPr>
          <p:cNvPr id="35" name="TextBox 34">
            <a:extLst>
              <a:ext uri="{FF2B5EF4-FFF2-40B4-BE49-F238E27FC236}">
                <a16:creationId xmlns:a16="http://schemas.microsoft.com/office/drawing/2014/main" id="{3593BDE3-8331-9775-B60F-A44F0B6F96C2}"/>
              </a:ext>
            </a:extLst>
          </p:cNvPr>
          <p:cNvSpPr txBox="1"/>
          <p:nvPr/>
        </p:nvSpPr>
        <p:spPr>
          <a:xfrm>
            <a:off x="5404330" y="1954919"/>
            <a:ext cx="3887163" cy="3865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lvl="0">
              <a:lnSpc>
                <a:spcPct val="107000"/>
              </a:lnSpc>
              <a:buNone/>
            </a:pPr>
            <a:r>
              <a:rPr lang="da-DK"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ar I drøftet mulighederne for og eventuelle udfordringer ved en ny opgavefordeling?</a:t>
            </a:r>
          </a:p>
        </p:txBody>
      </p:sp>
      <p:sp>
        <p:nvSpPr>
          <p:cNvPr id="36" name="TextBox 35">
            <a:extLst>
              <a:ext uri="{FF2B5EF4-FFF2-40B4-BE49-F238E27FC236}">
                <a16:creationId xmlns:a16="http://schemas.microsoft.com/office/drawing/2014/main" id="{C117E198-AAEA-7864-70AF-1F3D49D5BF33}"/>
              </a:ext>
            </a:extLst>
          </p:cNvPr>
          <p:cNvSpPr txBox="1"/>
          <p:nvPr/>
        </p:nvSpPr>
        <p:spPr>
          <a:xfrm>
            <a:off x="5404330" y="2534977"/>
            <a:ext cx="3887163" cy="3865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lvl="0">
              <a:lnSpc>
                <a:spcPct val="107000"/>
              </a:lnSpc>
              <a:spcAft>
                <a:spcPts val="800"/>
              </a:spcAft>
              <a:buNone/>
            </a:pPr>
            <a:r>
              <a:rPr lang="da-DK"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vordan arbejder I med at sikre patientsikkerhed og koordinering af patientforløb i en ny opgavefordeling?</a:t>
            </a:r>
          </a:p>
        </p:txBody>
      </p:sp>
      <p:sp>
        <p:nvSpPr>
          <p:cNvPr id="37" name="TextBox 36">
            <a:extLst>
              <a:ext uri="{FF2B5EF4-FFF2-40B4-BE49-F238E27FC236}">
                <a16:creationId xmlns:a16="http://schemas.microsoft.com/office/drawing/2014/main" id="{B61DA3F1-E83D-0412-90D6-9D35316543F2}"/>
              </a:ext>
            </a:extLst>
          </p:cNvPr>
          <p:cNvSpPr txBox="1"/>
          <p:nvPr/>
        </p:nvSpPr>
        <p:spPr>
          <a:xfrm>
            <a:off x="5379681" y="3050117"/>
            <a:ext cx="3887163" cy="58413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lvl="0">
              <a:lnSpc>
                <a:spcPct val="107000"/>
              </a:lnSpc>
              <a:buNone/>
            </a:pPr>
            <a:r>
              <a:rPr lang="da-DK"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vordan vil I arbejde med at klæde medarbejderne på, så de er trygge ved at løfte nye opgaver, herunder den nødvendige kompetenceudvikling?</a:t>
            </a:r>
          </a:p>
        </p:txBody>
      </p:sp>
      <p:sp>
        <p:nvSpPr>
          <p:cNvPr id="38" name="TextBox 37">
            <a:extLst>
              <a:ext uri="{FF2B5EF4-FFF2-40B4-BE49-F238E27FC236}">
                <a16:creationId xmlns:a16="http://schemas.microsoft.com/office/drawing/2014/main" id="{81D333D9-45B6-804F-6FDE-3547279C66E7}"/>
              </a:ext>
            </a:extLst>
          </p:cNvPr>
          <p:cNvSpPr txBox="1"/>
          <p:nvPr/>
        </p:nvSpPr>
        <p:spPr>
          <a:xfrm>
            <a:off x="5379681" y="3762875"/>
            <a:ext cx="3887163" cy="3865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lvl="0">
              <a:lnSpc>
                <a:spcPct val="107000"/>
              </a:lnSpc>
              <a:buNone/>
            </a:pPr>
            <a:r>
              <a:rPr lang="da-DK"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ar I talt om at arbejde med en teamorganisering omkring patienten? Hvilke muligheder og udfordringer ser I heri?</a:t>
            </a:r>
          </a:p>
        </p:txBody>
      </p:sp>
      <p:sp>
        <p:nvSpPr>
          <p:cNvPr id="39" name="TextBox 38">
            <a:extLst>
              <a:ext uri="{FF2B5EF4-FFF2-40B4-BE49-F238E27FC236}">
                <a16:creationId xmlns:a16="http://schemas.microsoft.com/office/drawing/2014/main" id="{90994F61-9FC1-668B-E3F4-C6CF8463D19E}"/>
              </a:ext>
            </a:extLst>
          </p:cNvPr>
          <p:cNvSpPr txBox="1"/>
          <p:nvPr/>
        </p:nvSpPr>
        <p:spPr>
          <a:xfrm>
            <a:off x="5379681" y="4376824"/>
            <a:ext cx="3887163" cy="3865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lvl="0">
              <a:lnSpc>
                <a:spcPct val="107000"/>
              </a:lnSpc>
              <a:buNone/>
            </a:pPr>
            <a:r>
              <a:rPr lang="da-DK"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vordan kan I skabe bedre rammer for, at alle faggrupper kan bidrage endnu mere med deres faglighed?</a:t>
            </a:r>
          </a:p>
        </p:txBody>
      </p:sp>
      <p:sp>
        <p:nvSpPr>
          <p:cNvPr id="41" name="TextBox 40">
            <a:extLst>
              <a:ext uri="{FF2B5EF4-FFF2-40B4-BE49-F238E27FC236}">
                <a16:creationId xmlns:a16="http://schemas.microsoft.com/office/drawing/2014/main" id="{DC5F47A5-6BFC-1DEF-6940-8F079D3908EF}"/>
              </a:ext>
            </a:extLst>
          </p:cNvPr>
          <p:cNvSpPr txBox="1"/>
          <p:nvPr/>
        </p:nvSpPr>
        <p:spPr>
          <a:xfrm>
            <a:off x="5379681" y="4990773"/>
            <a:ext cx="3887163" cy="38651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lvl="0">
              <a:lnSpc>
                <a:spcPct val="107000"/>
              </a:lnSpc>
              <a:buNone/>
            </a:pPr>
            <a:r>
              <a:rPr lang="da-DK" sz="1200"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vordan arbejder I med håndtering af høje følelsesmæssige krav?</a:t>
            </a:r>
          </a:p>
        </p:txBody>
      </p:sp>
      <p:sp>
        <p:nvSpPr>
          <p:cNvPr id="42" name="TextBox 41">
            <a:extLst>
              <a:ext uri="{FF2B5EF4-FFF2-40B4-BE49-F238E27FC236}">
                <a16:creationId xmlns:a16="http://schemas.microsoft.com/office/drawing/2014/main" id="{7ED4382E-2B5D-96CB-80FC-79B36E10497E}"/>
              </a:ext>
            </a:extLst>
          </p:cNvPr>
          <p:cNvSpPr txBox="1"/>
          <p:nvPr/>
        </p:nvSpPr>
        <p:spPr>
          <a:xfrm>
            <a:off x="5379681" y="5505913"/>
            <a:ext cx="3887163" cy="58413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ct val="107000"/>
              </a:lnSpc>
              <a:buNone/>
            </a:pPr>
            <a:r>
              <a:rPr lang="da-DK" sz="1200" kern="100" dirty="0">
                <a:solidFill>
                  <a:schemeClr val="tx1"/>
                </a:solidFill>
                <a:latin typeface="Calibri" panose="020F0502020204030204" pitchFamily="34" charset="0"/>
                <a:cs typeface="Calibri" panose="020F0502020204030204" pitchFamily="34" charset="0"/>
              </a:rPr>
              <a:t>Har I drøftet mulighederne for at skabe større fleksibilitet – både i forhold til arbejdstid og i forhold til opgaveløsning? Hvilke potentialer og udfordringer ser I heri?</a:t>
            </a:r>
          </a:p>
        </p:txBody>
      </p:sp>
      <p:cxnSp>
        <p:nvCxnSpPr>
          <p:cNvPr id="45" name="Straight Connector 44">
            <a:extLst>
              <a:ext uri="{FF2B5EF4-FFF2-40B4-BE49-F238E27FC236}">
                <a16:creationId xmlns:a16="http://schemas.microsoft.com/office/drawing/2014/main" id="{6B7D5996-59E9-34C4-22DF-A1B56FDA726D}"/>
              </a:ext>
            </a:extLst>
          </p:cNvPr>
          <p:cNvCxnSpPr>
            <a:cxnSpLocks/>
            <a:stCxn id="46" idx="4"/>
            <a:endCxn id="62" idx="4"/>
          </p:cNvCxnSpPr>
          <p:nvPr/>
        </p:nvCxnSpPr>
        <p:spPr>
          <a:xfrm>
            <a:off x="5161111" y="1274375"/>
            <a:ext cx="0" cy="4450108"/>
          </a:xfrm>
          <a:prstGeom prst="line">
            <a:avLst/>
          </a:prstGeom>
          <a:ln w="9525">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0EA0A950-C193-B018-C606-27D816FFEB1F}"/>
              </a:ext>
            </a:extLst>
          </p:cNvPr>
          <p:cNvSpPr txBox="1"/>
          <p:nvPr/>
        </p:nvSpPr>
        <p:spPr>
          <a:xfrm>
            <a:off x="5051826" y="1055805"/>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dirty="0">
              <a:latin typeface="+mj-lt"/>
              <a:sym typeface="Arial" panose="020B0604020202020204" pitchFamily="34" charset="0"/>
            </a:endParaRPr>
          </a:p>
        </p:txBody>
      </p:sp>
      <p:sp>
        <p:nvSpPr>
          <p:cNvPr id="47" name="TextBox 46">
            <a:extLst>
              <a:ext uri="{FF2B5EF4-FFF2-40B4-BE49-F238E27FC236}">
                <a16:creationId xmlns:a16="http://schemas.microsoft.com/office/drawing/2014/main" id="{D6188CE5-77EB-DAB6-257C-B90CAA3A2623}"/>
              </a:ext>
            </a:extLst>
          </p:cNvPr>
          <p:cNvSpPr txBox="1"/>
          <p:nvPr/>
        </p:nvSpPr>
        <p:spPr>
          <a:xfrm>
            <a:off x="5051826" y="1632466"/>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dirty="0">
              <a:latin typeface="+mj-lt"/>
              <a:sym typeface="Arial" panose="020B0604020202020204" pitchFamily="34" charset="0"/>
            </a:endParaRPr>
          </a:p>
        </p:txBody>
      </p:sp>
      <p:sp>
        <p:nvSpPr>
          <p:cNvPr id="48" name="TextBox 47">
            <a:extLst>
              <a:ext uri="{FF2B5EF4-FFF2-40B4-BE49-F238E27FC236}">
                <a16:creationId xmlns:a16="http://schemas.microsoft.com/office/drawing/2014/main" id="{0585AC23-A3D1-0B56-DAE0-1B979A7B5584}"/>
              </a:ext>
            </a:extLst>
          </p:cNvPr>
          <p:cNvSpPr txBox="1"/>
          <p:nvPr/>
        </p:nvSpPr>
        <p:spPr>
          <a:xfrm>
            <a:off x="5051826" y="1954919"/>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a:latin typeface="+mj-lt"/>
              <a:sym typeface="Arial" panose="020B0604020202020204" pitchFamily="34" charset="0"/>
            </a:endParaRPr>
          </a:p>
        </p:txBody>
      </p:sp>
      <p:sp>
        <p:nvSpPr>
          <p:cNvPr id="49" name="TextBox 48">
            <a:extLst>
              <a:ext uri="{FF2B5EF4-FFF2-40B4-BE49-F238E27FC236}">
                <a16:creationId xmlns:a16="http://schemas.microsoft.com/office/drawing/2014/main" id="{ACDE2073-587B-C105-56E4-D968F520600F}"/>
              </a:ext>
            </a:extLst>
          </p:cNvPr>
          <p:cNvSpPr txBox="1"/>
          <p:nvPr/>
        </p:nvSpPr>
        <p:spPr>
          <a:xfrm>
            <a:off x="5051826" y="2534977"/>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a:latin typeface="+mj-lt"/>
              <a:sym typeface="Arial" panose="020B0604020202020204" pitchFamily="34" charset="0"/>
            </a:endParaRPr>
          </a:p>
        </p:txBody>
      </p:sp>
      <p:sp>
        <p:nvSpPr>
          <p:cNvPr id="50" name="TextBox 49">
            <a:extLst>
              <a:ext uri="{FF2B5EF4-FFF2-40B4-BE49-F238E27FC236}">
                <a16:creationId xmlns:a16="http://schemas.microsoft.com/office/drawing/2014/main" id="{72F41839-7543-8BF9-B40F-B695C064E335}"/>
              </a:ext>
            </a:extLst>
          </p:cNvPr>
          <p:cNvSpPr txBox="1"/>
          <p:nvPr/>
        </p:nvSpPr>
        <p:spPr>
          <a:xfrm>
            <a:off x="5051826" y="3050117"/>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a:latin typeface="+mj-lt"/>
              <a:sym typeface="Arial" panose="020B0604020202020204" pitchFamily="34" charset="0"/>
            </a:endParaRPr>
          </a:p>
        </p:txBody>
      </p:sp>
      <p:sp>
        <p:nvSpPr>
          <p:cNvPr id="59" name="TextBox 58">
            <a:extLst>
              <a:ext uri="{FF2B5EF4-FFF2-40B4-BE49-F238E27FC236}">
                <a16:creationId xmlns:a16="http://schemas.microsoft.com/office/drawing/2014/main" id="{8590FF57-55F2-B43D-20DB-FE96EE932ED7}"/>
              </a:ext>
            </a:extLst>
          </p:cNvPr>
          <p:cNvSpPr txBox="1"/>
          <p:nvPr/>
        </p:nvSpPr>
        <p:spPr>
          <a:xfrm>
            <a:off x="5051826" y="3762875"/>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dirty="0">
              <a:latin typeface="+mj-lt"/>
              <a:sym typeface="Arial" panose="020B0604020202020204" pitchFamily="34" charset="0"/>
            </a:endParaRPr>
          </a:p>
        </p:txBody>
      </p:sp>
      <p:sp>
        <p:nvSpPr>
          <p:cNvPr id="60" name="TextBox 59">
            <a:extLst>
              <a:ext uri="{FF2B5EF4-FFF2-40B4-BE49-F238E27FC236}">
                <a16:creationId xmlns:a16="http://schemas.microsoft.com/office/drawing/2014/main" id="{DDE8F99C-C2E9-8655-A33C-31AA8AD6DCB7}"/>
              </a:ext>
            </a:extLst>
          </p:cNvPr>
          <p:cNvSpPr txBox="1"/>
          <p:nvPr/>
        </p:nvSpPr>
        <p:spPr>
          <a:xfrm>
            <a:off x="5051826" y="4376824"/>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a:latin typeface="+mj-lt"/>
              <a:sym typeface="Arial" panose="020B0604020202020204" pitchFamily="34" charset="0"/>
            </a:endParaRPr>
          </a:p>
        </p:txBody>
      </p:sp>
      <p:sp>
        <p:nvSpPr>
          <p:cNvPr id="61" name="TextBox 60">
            <a:extLst>
              <a:ext uri="{FF2B5EF4-FFF2-40B4-BE49-F238E27FC236}">
                <a16:creationId xmlns:a16="http://schemas.microsoft.com/office/drawing/2014/main" id="{4584D04F-B9B0-17BF-8BFA-256324B81BB8}"/>
              </a:ext>
            </a:extLst>
          </p:cNvPr>
          <p:cNvSpPr txBox="1"/>
          <p:nvPr/>
        </p:nvSpPr>
        <p:spPr>
          <a:xfrm>
            <a:off x="5051826" y="4990773"/>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a:latin typeface="+mj-lt"/>
              <a:sym typeface="Arial" panose="020B0604020202020204" pitchFamily="34" charset="0"/>
            </a:endParaRPr>
          </a:p>
        </p:txBody>
      </p:sp>
      <p:sp>
        <p:nvSpPr>
          <p:cNvPr id="62" name="TextBox 61">
            <a:extLst>
              <a:ext uri="{FF2B5EF4-FFF2-40B4-BE49-F238E27FC236}">
                <a16:creationId xmlns:a16="http://schemas.microsoft.com/office/drawing/2014/main" id="{DD428C94-5FA6-2AB1-DC85-C36544D98098}"/>
              </a:ext>
            </a:extLst>
          </p:cNvPr>
          <p:cNvSpPr txBox="1"/>
          <p:nvPr/>
        </p:nvSpPr>
        <p:spPr>
          <a:xfrm>
            <a:off x="5051826" y="5505913"/>
            <a:ext cx="218570" cy="218570"/>
          </a:xfrm>
          <a:prstGeom prst="ellipse">
            <a:avLst/>
          </a:prstGeom>
          <a:solidFill>
            <a:schemeClr val="bg1"/>
          </a:solidFill>
          <a:ln w="12700">
            <a:solidFill>
              <a:srgbClr val="A8A5A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defPPr>
              <a:defRPr lang="en-US"/>
            </a:defPPr>
            <a:lvl1pPr indent="-144000">
              <a:lnSpc>
                <a:spcPct val="93000"/>
              </a:lnSpc>
              <a:spcAft>
                <a:spcPts val="0"/>
              </a:spcAft>
              <a:buSzPct val="100000"/>
              <a:buNone/>
              <a:defRPr sz="1100">
                <a:solidFill>
                  <a:srgbClr val="2F363B"/>
                </a:solidFill>
                <a:latin typeface="Arial" panose="020B0604020202020204" pitchFamily="34" charset="0"/>
              </a:defRPr>
            </a:lvl1pPr>
            <a:lvl2pPr marL="0" lvl="1" indent="0">
              <a:lnSpc>
                <a:spcPct val="93000"/>
              </a:lnSpc>
              <a:spcAft>
                <a:spcPts val="0"/>
              </a:spcAft>
              <a:buSzPct val="100000"/>
              <a:buChar char="​"/>
              <a:defRPr sz="1100">
                <a:solidFill>
                  <a:srgbClr val="2F363B"/>
                </a:solidFill>
                <a:latin typeface="Arial" panose="020B0604020202020204" pitchFamily="34" charset="0"/>
              </a:defRPr>
            </a:lvl2pPr>
            <a:lvl3pPr marL="139306" lvl="2" indent="-139306">
              <a:lnSpc>
                <a:spcPct val="93000"/>
              </a:lnSpc>
              <a:spcAft>
                <a:spcPts val="0"/>
              </a:spcAft>
              <a:buSzPct val="100000"/>
              <a:defRPr sz="1100">
                <a:solidFill>
                  <a:srgbClr val="2F363B"/>
                </a:solidFill>
                <a:latin typeface="Arial" panose="020B0604020202020204" pitchFamily="34" charset="0"/>
              </a:defRPr>
            </a:lvl3pPr>
            <a:lvl4pPr marL="185742" lvl="3" indent="-185742">
              <a:lnSpc>
                <a:spcPct val="93000"/>
              </a:lnSpc>
              <a:spcAft>
                <a:spcPts val="0"/>
              </a:spcAft>
              <a:buSzPct val="100000"/>
              <a:buFont typeface="+mj-lt"/>
              <a:buAutoNum type="arabicPeriod"/>
              <a:defRPr sz="1100">
                <a:solidFill>
                  <a:srgbClr val="2F363B"/>
                </a:solidFill>
                <a:latin typeface="Arial" panose="020B0604020202020204" pitchFamily="34" charset="0"/>
              </a:defRPr>
            </a:lvl4pPr>
            <a:lvl5pPr marL="185742" lvl="4" indent="-185742">
              <a:lnSpc>
                <a:spcPct val="93000"/>
              </a:lnSpc>
              <a:spcAft>
                <a:spcPts val="0"/>
              </a:spcAft>
              <a:buSzPct val="100000"/>
              <a:buFont typeface="+mj-lt"/>
              <a:buAutoNum type="alphaUcPeriod"/>
              <a:defRPr sz="1100" b="0">
                <a:solidFill>
                  <a:srgbClr val="2F363B"/>
                </a:solidFill>
                <a:latin typeface="Arial" panose="020B0604020202020204" pitchFamily="34" charset="0"/>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lvl="1">
              <a:buNone/>
            </a:pPr>
            <a:endParaRPr lang="da-DK" sz="1800">
              <a:latin typeface="+mj-lt"/>
              <a:sym typeface="Arial" panose="020B0604020202020204" pitchFamily="34" charset="0"/>
            </a:endParaRPr>
          </a:p>
        </p:txBody>
      </p:sp>
    </p:spTree>
    <p:extLst>
      <p:ext uri="{BB962C8B-B14F-4D97-AF65-F5344CB8AC3E}">
        <p14:creationId xmlns:p14="http://schemas.microsoft.com/office/powerpoint/2010/main" val="14637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DB06AE-7DB7-0091-8A3D-AEEDC33392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6" name="think-cell data - do not delete" hidden="1">
                        <a:extLst>
                          <a:ext uri="{FF2B5EF4-FFF2-40B4-BE49-F238E27FC236}">
                            <a16:creationId xmlns:a16="http://schemas.microsoft.com/office/drawing/2014/main" id="{3ADB06AE-7DB7-0091-8A3D-AEEDC33392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152B8A2E-436A-B35E-B10E-F1819EC1D669}"/>
              </a:ext>
            </a:extLst>
          </p:cNvPr>
          <p:cNvSpPr/>
          <p:nvPr/>
        </p:nvSpPr>
        <p:spPr>
          <a:xfrm>
            <a:off x="0" y="3429000"/>
            <a:ext cx="9906000" cy="342900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pic>
        <p:nvPicPr>
          <p:cNvPr id="36" name="Picture Placeholder 10" descr="A picture containing outdoor object, web&#10;&#10;Description automatically generated">
            <a:extLst>
              <a:ext uri="{FF2B5EF4-FFF2-40B4-BE49-F238E27FC236}">
                <a16:creationId xmlns:a16="http://schemas.microsoft.com/office/drawing/2014/main" id="{31F08385-7137-FEC9-DDB5-04401D1AF7DD}"/>
              </a:ext>
            </a:extLst>
          </p:cNvPr>
          <p:cNvPicPr>
            <a:picLocks noChangeAspect="1"/>
          </p:cNvPicPr>
          <p:nvPr/>
        </p:nvPicPr>
        <p:blipFill rotWithShape="1">
          <a:blip r:embed="rId6">
            <a:duotone>
              <a:prstClr val="black"/>
              <a:srgbClr val="244655">
                <a:tint val="45000"/>
                <a:satMod val="400000"/>
              </a:srgbClr>
            </a:duotone>
            <a:extLst>
              <a:ext uri="{28A0092B-C50C-407E-A947-70E740481C1C}">
                <a14:useLocalDpi xmlns:a14="http://schemas.microsoft.com/office/drawing/2010/main" val="0"/>
              </a:ext>
            </a:extLst>
          </a:blip>
          <a:srcRect l="14519" t="50904" r="32768" b="13126"/>
          <a:stretch/>
        </p:blipFill>
        <p:spPr>
          <a:xfrm>
            <a:off x="1" y="3438300"/>
            <a:ext cx="9906000" cy="3406738"/>
          </a:xfrm>
          <a:prstGeom prst="rect">
            <a:avLst/>
          </a:prstGeom>
          <a:noFill/>
          <a:ln>
            <a:solidFill>
              <a:srgbClr val="244655"/>
            </a:solidFill>
          </a:ln>
        </p:spPr>
      </p:pic>
      <p:sp>
        <p:nvSpPr>
          <p:cNvPr id="14" name="Rectangle 13">
            <a:extLst>
              <a:ext uri="{FF2B5EF4-FFF2-40B4-BE49-F238E27FC236}">
                <a16:creationId xmlns:a16="http://schemas.microsoft.com/office/drawing/2014/main" id="{3FCB2A97-D775-BFCF-9F3E-1BFC1C8AA143}"/>
              </a:ext>
            </a:extLst>
          </p:cNvPr>
          <p:cNvSpPr/>
          <p:nvPr/>
        </p:nvSpPr>
        <p:spPr>
          <a:xfrm>
            <a:off x="0" y="0"/>
            <a:ext cx="9906000" cy="3429000"/>
          </a:xfrm>
          <a:prstGeom prst="rect">
            <a:avLst/>
          </a:prstGeom>
          <a:solidFill>
            <a:srgbClr val="24465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pic>
        <p:nvPicPr>
          <p:cNvPr id="24" name="Picture Placeholder 10" descr="A picture containing outdoor object, web&#10;&#10;Description automatically generated">
            <a:extLst>
              <a:ext uri="{FF2B5EF4-FFF2-40B4-BE49-F238E27FC236}">
                <a16:creationId xmlns:a16="http://schemas.microsoft.com/office/drawing/2014/main" id="{09F581F2-1BAF-71EC-5348-8DD866A9B6E8}"/>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l="14634" t="13795" r="22920" b="50235"/>
          <a:stretch/>
        </p:blipFill>
        <p:spPr>
          <a:xfrm>
            <a:off x="1" y="0"/>
            <a:ext cx="9906000" cy="3406738"/>
          </a:xfrm>
          <a:noFill/>
          <a:ln>
            <a:noFill/>
          </a:ln>
        </p:spPr>
      </p:pic>
      <p:sp>
        <p:nvSpPr>
          <p:cNvPr id="12" name="Rectangle 11">
            <a:extLst>
              <a:ext uri="{FF2B5EF4-FFF2-40B4-BE49-F238E27FC236}">
                <a16:creationId xmlns:a16="http://schemas.microsoft.com/office/drawing/2014/main" id="{C19667BC-F1B7-4085-BD34-B7AF89B6CBFE}"/>
              </a:ext>
            </a:extLst>
          </p:cNvPr>
          <p:cNvSpPr/>
          <p:nvPr/>
        </p:nvSpPr>
        <p:spPr>
          <a:xfrm>
            <a:off x="260205" y="272788"/>
            <a:ext cx="9385590" cy="620421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sp>
        <p:nvSpPr>
          <p:cNvPr id="13" name="Title 1">
            <a:extLst>
              <a:ext uri="{FF2B5EF4-FFF2-40B4-BE49-F238E27FC236}">
                <a16:creationId xmlns:a16="http://schemas.microsoft.com/office/drawing/2014/main" id="{13CF2DD9-37C5-D1C6-8F21-B99C1D12646B}"/>
              </a:ext>
            </a:extLst>
          </p:cNvPr>
          <p:cNvSpPr txBox="1">
            <a:spLocks/>
          </p:cNvSpPr>
          <p:nvPr/>
        </p:nvSpPr>
        <p:spPr>
          <a:xfrm>
            <a:off x="777000" y="422953"/>
            <a:ext cx="8352000" cy="423807"/>
          </a:xfrm>
          <a:prstGeom prst="rect">
            <a:avLst/>
          </a:prstGeom>
        </p:spPr>
        <p:txBody>
          <a:bodyPr vert="horz" lIns="0" tIns="0" rIns="0" bIns="0" rtlCol="0" anchor="b" anchorCtr="0">
            <a:noAutofit/>
          </a:bodyPr>
          <a:lstStyle>
            <a:lvl1pPr algn="l" defTabSz="742969" rtl="0" eaLnBrk="1" latinLnBrk="0" hangingPunct="1">
              <a:lnSpc>
                <a:spcPct val="90000"/>
              </a:lnSpc>
              <a:spcBef>
                <a:spcPct val="0"/>
              </a:spcBef>
              <a:spcAft>
                <a:spcPts val="1200"/>
              </a:spcAft>
              <a:buNone/>
              <a:defRPr sz="4800" kern="1200">
                <a:solidFill>
                  <a:schemeClr val="bg1"/>
                </a:solidFill>
                <a:latin typeface="Palatino Linotype" panose="02040502050505030304" pitchFamily="18" charset="0"/>
                <a:ea typeface="+mj-ea"/>
                <a:cs typeface="+mj-cs"/>
              </a:defRPr>
            </a:lvl1pPr>
          </a:lstStyle>
          <a:p>
            <a:pPr>
              <a:buFontTx/>
            </a:pPr>
            <a:r>
              <a:rPr lang="da-DK" sz="2800" dirty="0">
                <a:solidFill>
                  <a:schemeClr val="tx1"/>
                </a:solidFill>
                <a:latin typeface="Georgia" panose="02040502050405020303" pitchFamily="18" charset="0"/>
                <a:cs typeface="Calibri" panose="020F0502020204030204" pitchFamily="34" charset="0"/>
              </a:rPr>
              <a:t>Udfordringsbilledet</a:t>
            </a:r>
          </a:p>
        </p:txBody>
      </p:sp>
      <p:sp>
        <p:nvSpPr>
          <p:cNvPr id="15" name="TextBox 14">
            <a:extLst>
              <a:ext uri="{FF2B5EF4-FFF2-40B4-BE49-F238E27FC236}">
                <a16:creationId xmlns:a16="http://schemas.microsoft.com/office/drawing/2014/main" id="{886826B9-7B67-B960-49E3-0F694D5686FE}"/>
              </a:ext>
            </a:extLst>
          </p:cNvPr>
          <p:cNvSpPr txBox="1"/>
          <p:nvPr/>
        </p:nvSpPr>
        <p:spPr>
          <a:xfrm>
            <a:off x="777000" y="875211"/>
            <a:ext cx="8352000" cy="350540"/>
          </a:xfrm>
          <a:custGeom>
            <a:avLst/>
            <a:gdLst>
              <a:gd name="connsiteX0" fmla="*/ 0 w 8352000"/>
              <a:gd name="connsiteY0" fmla="*/ 0 h 350540"/>
              <a:gd name="connsiteX1" fmla="*/ 779520 w 8352000"/>
              <a:gd name="connsiteY1" fmla="*/ 0 h 350540"/>
              <a:gd name="connsiteX2" fmla="*/ 1392000 w 8352000"/>
              <a:gd name="connsiteY2" fmla="*/ 0 h 350540"/>
              <a:gd name="connsiteX3" fmla="*/ 2004480 w 8352000"/>
              <a:gd name="connsiteY3" fmla="*/ 0 h 350540"/>
              <a:gd name="connsiteX4" fmla="*/ 2867520 w 8352000"/>
              <a:gd name="connsiteY4" fmla="*/ 0 h 350540"/>
              <a:gd name="connsiteX5" fmla="*/ 3563520 w 8352000"/>
              <a:gd name="connsiteY5" fmla="*/ 0 h 350540"/>
              <a:gd name="connsiteX6" fmla="*/ 4259520 w 8352000"/>
              <a:gd name="connsiteY6" fmla="*/ 0 h 350540"/>
              <a:gd name="connsiteX7" fmla="*/ 4704960 w 8352000"/>
              <a:gd name="connsiteY7" fmla="*/ 0 h 350540"/>
              <a:gd name="connsiteX8" fmla="*/ 5400960 w 8352000"/>
              <a:gd name="connsiteY8" fmla="*/ 0 h 350540"/>
              <a:gd name="connsiteX9" fmla="*/ 5929920 w 8352000"/>
              <a:gd name="connsiteY9" fmla="*/ 0 h 350540"/>
              <a:gd name="connsiteX10" fmla="*/ 6625920 w 8352000"/>
              <a:gd name="connsiteY10" fmla="*/ 0 h 350540"/>
              <a:gd name="connsiteX11" fmla="*/ 7488960 w 8352000"/>
              <a:gd name="connsiteY11" fmla="*/ 0 h 350540"/>
              <a:gd name="connsiteX12" fmla="*/ 8352000 w 8352000"/>
              <a:gd name="connsiteY12" fmla="*/ 0 h 350540"/>
              <a:gd name="connsiteX13" fmla="*/ 8352000 w 8352000"/>
              <a:gd name="connsiteY13" fmla="*/ 350540 h 350540"/>
              <a:gd name="connsiteX14" fmla="*/ 7572480 w 8352000"/>
              <a:gd name="connsiteY14" fmla="*/ 350540 h 350540"/>
              <a:gd name="connsiteX15" fmla="*/ 6709440 w 8352000"/>
              <a:gd name="connsiteY15" fmla="*/ 350540 h 350540"/>
              <a:gd name="connsiteX16" fmla="*/ 6180480 w 8352000"/>
              <a:gd name="connsiteY16" fmla="*/ 350540 h 350540"/>
              <a:gd name="connsiteX17" fmla="*/ 5484480 w 8352000"/>
              <a:gd name="connsiteY17" fmla="*/ 350540 h 350540"/>
              <a:gd name="connsiteX18" fmla="*/ 4704960 w 8352000"/>
              <a:gd name="connsiteY18" fmla="*/ 350540 h 350540"/>
              <a:gd name="connsiteX19" fmla="*/ 4008960 w 8352000"/>
              <a:gd name="connsiteY19" fmla="*/ 350540 h 350540"/>
              <a:gd name="connsiteX20" fmla="*/ 3480000 w 8352000"/>
              <a:gd name="connsiteY20" fmla="*/ 350540 h 350540"/>
              <a:gd name="connsiteX21" fmla="*/ 2867520 w 8352000"/>
              <a:gd name="connsiteY21" fmla="*/ 350540 h 350540"/>
              <a:gd name="connsiteX22" fmla="*/ 2171520 w 8352000"/>
              <a:gd name="connsiteY22" fmla="*/ 350540 h 350540"/>
              <a:gd name="connsiteX23" fmla="*/ 1392000 w 8352000"/>
              <a:gd name="connsiteY23" fmla="*/ 350540 h 350540"/>
              <a:gd name="connsiteX24" fmla="*/ 696000 w 8352000"/>
              <a:gd name="connsiteY24" fmla="*/ 350540 h 350540"/>
              <a:gd name="connsiteX25" fmla="*/ 0 w 8352000"/>
              <a:gd name="connsiteY25" fmla="*/ 350540 h 350540"/>
              <a:gd name="connsiteX26" fmla="*/ 0 w 8352000"/>
              <a:gd name="connsiteY26" fmla="*/ 0 h 35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52000" h="350540" extrusionOk="0">
                <a:moveTo>
                  <a:pt x="0" y="0"/>
                </a:moveTo>
                <a:cubicBezTo>
                  <a:pt x="387060" y="19625"/>
                  <a:pt x="559987" y="-2693"/>
                  <a:pt x="779520" y="0"/>
                </a:cubicBezTo>
                <a:cubicBezTo>
                  <a:pt x="999053" y="2693"/>
                  <a:pt x="1264881" y="-29104"/>
                  <a:pt x="1392000" y="0"/>
                </a:cubicBezTo>
                <a:cubicBezTo>
                  <a:pt x="1519119" y="29104"/>
                  <a:pt x="1792137" y="-12837"/>
                  <a:pt x="2004480" y="0"/>
                </a:cubicBezTo>
                <a:cubicBezTo>
                  <a:pt x="2216823" y="12837"/>
                  <a:pt x="2582299" y="-15840"/>
                  <a:pt x="2867520" y="0"/>
                </a:cubicBezTo>
                <a:cubicBezTo>
                  <a:pt x="3152741" y="15840"/>
                  <a:pt x="3345912" y="28170"/>
                  <a:pt x="3563520" y="0"/>
                </a:cubicBezTo>
                <a:cubicBezTo>
                  <a:pt x="3781128" y="-28170"/>
                  <a:pt x="4010930" y="-16046"/>
                  <a:pt x="4259520" y="0"/>
                </a:cubicBezTo>
                <a:cubicBezTo>
                  <a:pt x="4508110" y="16046"/>
                  <a:pt x="4603516" y="19207"/>
                  <a:pt x="4704960" y="0"/>
                </a:cubicBezTo>
                <a:cubicBezTo>
                  <a:pt x="4806404" y="-19207"/>
                  <a:pt x="5120038" y="5429"/>
                  <a:pt x="5400960" y="0"/>
                </a:cubicBezTo>
                <a:cubicBezTo>
                  <a:pt x="5681882" y="-5429"/>
                  <a:pt x="5759702" y="2544"/>
                  <a:pt x="5929920" y="0"/>
                </a:cubicBezTo>
                <a:cubicBezTo>
                  <a:pt x="6100138" y="-2544"/>
                  <a:pt x="6470973" y="33147"/>
                  <a:pt x="6625920" y="0"/>
                </a:cubicBezTo>
                <a:cubicBezTo>
                  <a:pt x="6780867" y="-33147"/>
                  <a:pt x="7223881" y="26626"/>
                  <a:pt x="7488960" y="0"/>
                </a:cubicBezTo>
                <a:cubicBezTo>
                  <a:pt x="7754039" y="-26626"/>
                  <a:pt x="7986486" y="-16793"/>
                  <a:pt x="8352000" y="0"/>
                </a:cubicBezTo>
                <a:cubicBezTo>
                  <a:pt x="8351494" y="90570"/>
                  <a:pt x="8364227" y="222748"/>
                  <a:pt x="8352000" y="350540"/>
                </a:cubicBezTo>
                <a:cubicBezTo>
                  <a:pt x="8132399" y="367958"/>
                  <a:pt x="7925772" y="367868"/>
                  <a:pt x="7572480" y="350540"/>
                </a:cubicBezTo>
                <a:cubicBezTo>
                  <a:pt x="7219188" y="333212"/>
                  <a:pt x="6918981" y="356277"/>
                  <a:pt x="6709440" y="350540"/>
                </a:cubicBezTo>
                <a:cubicBezTo>
                  <a:pt x="6499899" y="344803"/>
                  <a:pt x="6395064" y="365807"/>
                  <a:pt x="6180480" y="350540"/>
                </a:cubicBezTo>
                <a:cubicBezTo>
                  <a:pt x="5965896" y="335273"/>
                  <a:pt x="5643592" y="351825"/>
                  <a:pt x="5484480" y="350540"/>
                </a:cubicBezTo>
                <a:cubicBezTo>
                  <a:pt x="5325368" y="349255"/>
                  <a:pt x="4907907" y="322373"/>
                  <a:pt x="4704960" y="350540"/>
                </a:cubicBezTo>
                <a:cubicBezTo>
                  <a:pt x="4502013" y="378707"/>
                  <a:pt x="4182376" y="371251"/>
                  <a:pt x="4008960" y="350540"/>
                </a:cubicBezTo>
                <a:cubicBezTo>
                  <a:pt x="3835544" y="329829"/>
                  <a:pt x="3605136" y="331487"/>
                  <a:pt x="3480000" y="350540"/>
                </a:cubicBezTo>
                <a:cubicBezTo>
                  <a:pt x="3354864" y="369593"/>
                  <a:pt x="3170090" y="326771"/>
                  <a:pt x="2867520" y="350540"/>
                </a:cubicBezTo>
                <a:cubicBezTo>
                  <a:pt x="2564950" y="374309"/>
                  <a:pt x="2403231" y="326497"/>
                  <a:pt x="2171520" y="350540"/>
                </a:cubicBezTo>
                <a:cubicBezTo>
                  <a:pt x="1939809" y="374583"/>
                  <a:pt x="1605894" y="384276"/>
                  <a:pt x="1392000" y="350540"/>
                </a:cubicBezTo>
                <a:cubicBezTo>
                  <a:pt x="1178106" y="316804"/>
                  <a:pt x="1005840" y="381027"/>
                  <a:pt x="696000" y="350540"/>
                </a:cubicBezTo>
                <a:cubicBezTo>
                  <a:pt x="386160" y="320053"/>
                  <a:pt x="156070" y="339380"/>
                  <a:pt x="0" y="350540"/>
                </a:cubicBezTo>
                <a:cubicBezTo>
                  <a:pt x="-17131" y="207751"/>
                  <a:pt x="-4430" y="72302"/>
                  <a:pt x="0" y="0"/>
                </a:cubicBezTo>
                <a:close/>
              </a:path>
            </a:pathLst>
          </a:custGeom>
          <a:noFill/>
          <a:ln w="6350">
            <a:noFill/>
            <a:extLst>
              <a:ext uri="{C807C97D-BFC1-408E-A445-0C87EB9F89A2}">
                <ask:lineSketchStyleProps xmlns:ask="http://schemas.microsoft.com/office/drawing/2018/sketchyshapes" sd="755868447">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0" tIns="72000" rIns="72000" bIns="72000" rtlCol="0" anchor="t" anchorCtr="0">
            <a:noAutofit/>
          </a:bodyPr>
          <a:lstStyle/>
          <a:p>
            <a:pPr>
              <a:buNone/>
            </a:pPr>
            <a:r>
              <a:rPr lang="da-DK" sz="1200" dirty="0">
                <a:solidFill>
                  <a:schemeClr val="tx1"/>
                </a:solidFill>
                <a:latin typeface="Calibri" panose="020F0502020204030204" pitchFamily="34" charset="0"/>
                <a:cs typeface="Calibri" panose="020F0502020204030204" pitchFamily="34" charset="0"/>
              </a:rPr>
              <a:t>Udfordringsbilledet består af seks udfordringstemaer, som er blevet italesat af både ledere såvel som medarbejdere.</a:t>
            </a:r>
          </a:p>
        </p:txBody>
      </p:sp>
      <p:sp>
        <p:nvSpPr>
          <p:cNvPr id="27" name="TextBox 26">
            <a:extLst>
              <a:ext uri="{FF2B5EF4-FFF2-40B4-BE49-F238E27FC236}">
                <a16:creationId xmlns:a16="http://schemas.microsoft.com/office/drawing/2014/main" id="{D7001F52-FB6C-679A-3182-AA30CBB7FA0C}"/>
              </a:ext>
            </a:extLst>
          </p:cNvPr>
          <p:cNvSpPr txBox="1"/>
          <p:nvPr/>
        </p:nvSpPr>
        <p:spPr>
          <a:xfrm>
            <a:off x="9590086" y="6508223"/>
            <a:ext cx="85725" cy="9286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indent="0" algn="l">
              <a:buNone/>
            </a:pPr>
            <a:r>
              <a:rPr lang="da-DK" sz="700" dirty="0">
                <a:solidFill>
                  <a:schemeClr val="tx1"/>
                </a:solidFill>
              </a:rPr>
              <a:t>3</a:t>
            </a:r>
          </a:p>
        </p:txBody>
      </p:sp>
      <p:sp>
        <p:nvSpPr>
          <p:cNvPr id="3" name="TextBox 2">
            <a:extLst>
              <a:ext uri="{FF2B5EF4-FFF2-40B4-BE49-F238E27FC236}">
                <a16:creationId xmlns:a16="http://schemas.microsoft.com/office/drawing/2014/main" id="{A58516E9-2820-4249-5EC4-66609B8AF776}"/>
              </a:ext>
            </a:extLst>
          </p:cNvPr>
          <p:cNvSpPr txBox="1"/>
          <p:nvPr/>
        </p:nvSpPr>
        <p:spPr>
          <a:xfrm>
            <a:off x="2874980" y="1631951"/>
            <a:ext cx="4085688" cy="727122"/>
          </a:xfrm>
          <a:prstGeom prst="rect">
            <a:avLst/>
          </a:prstGeom>
          <a:noFill/>
          <a:ln w="6350">
            <a:noFill/>
            <a:prstDash val="sysDash"/>
          </a:ln>
        </p:spPr>
        <p:txBody>
          <a:bodyPr wrap="square" lIns="0" tIns="0" rIns="0" bIns="0" rtlCol="0" anchor="b">
            <a:spAutoFit/>
          </a:bodyPr>
          <a:lstStyle/>
          <a:p>
            <a:pPr algn="ctr"/>
            <a:r>
              <a:rPr lang="da-DK" sz="1050" b="1" dirty="0">
                <a:latin typeface="Calibri" panose="020F0502020204030204" pitchFamily="34" charset="0"/>
                <a:cs typeface="Calibri" panose="020F0502020204030204" pitchFamily="34" charset="0"/>
              </a:rPr>
              <a:t>Arbejdspres</a:t>
            </a:r>
            <a:br>
              <a:rPr lang="da-DK" sz="1050" b="1" dirty="0">
                <a:latin typeface="Calibri" panose="020F0502020204030204" pitchFamily="34" charset="0"/>
                <a:cs typeface="Calibri" panose="020F0502020204030204" pitchFamily="34" charset="0"/>
              </a:rPr>
            </a:br>
            <a:r>
              <a:rPr lang="da-DK" sz="1050" dirty="0">
                <a:effectLst/>
                <a:latin typeface="Calibri" panose="020F0502020204030204" pitchFamily="34" charset="0"/>
                <a:ea typeface="Calibri" panose="020F0502020204030204" pitchFamily="34" charset="0"/>
                <a:cs typeface="Calibri" panose="020F0502020204030204" pitchFamily="34" charset="0"/>
              </a:rPr>
              <a:t>Oplevelsen af, at der i dag er væsentligt mere travlt end for blot få år siden. Det medfører bl.a. en oplevelse af, at der ikke er tilstrækkelig tid til at løse opgaverne og holde pauser. Samtidig opleves en dårligere ”tone”, øget vagtbyrde og udfordringer med on-boarding af nye medarbejdere.</a:t>
            </a:r>
            <a:endParaRPr lang="da-DK" sz="1050"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F7DF2B1F-17AF-DFA8-043B-3F131BA527EB}"/>
              </a:ext>
            </a:extLst>
          </p:cNvPr>
          <p:cNvSpPr txBox="1"/>
          <p:nvPr/>
        </p:nvSpPr>
        <p:spPr>
          <a:xfrm>
            <a:off x="6651638" y="2699235"/>
            <a:ext cx="2844787" cy="1163395"/>
          </a:xfrm>
          <a:prstGeom prst="rect">
            <a:avLst/>
          </a:prstGeom>
          <a:noFill/>
          <a:ln w="6350">
            <a:noFill/>
            <a:prstDash val="sysDash"/>
          </a:ln>
        </p:spPr>
        <p:txBody>
          <a:bodyPr wrap="square" lIns="0" tIns="0" rIns="0" bIns="0" rtlCol="0" anchor="t">
            <a:spAutoFit/>
          </a:bodyPr>
          <a:lstStyle/>
          <a:p>
            <a:pPr>
              <a:buNone/>
            </a:pPr>
            <a:r>
              <a:rPr lang="da-DK" sz="1050" b="1" dirty="0">
                <a:latin typeface="Calibri" panose="020F0502020204030204" pitchFamily="34" charset="0"/>
                <a:cs typeface="Calibri" panose="020F0502020204030204" pitchFamily="34" charset="0"/>
              </a:rPr>
              <a:t>Involvering</a:t>
            </a:r>
            <a:br>
              <a:rPr lang="da-DK" sz="1050" b="1" dirty="0">
                <a:latin typeface="Calibri" panose="020F0502020204030204" pitchFamily="34" charset="0"/>
                <a:cs typeface="Calibri" panose="020F0502020204030204" pitchFamily="34" charset="0"/>
              </a:rPr>
            </a:br>
            <a:r>
              <a:rPr lang="da-DK" sz="1050" dirty="0">
                <a:effectLst/>
                <a:latin typeface="Calibri" panose="020F0502020204030204" pitchFamily="34" charset="0"/>
                <a:ea typeface="Calibri" panose="020F0502020204030204" pitchFamily="34" charset="0"/>
                <a:cs typeface="Calibri" panose="020F0502020204030204" pitchFamily="34" charset="0"/>
              </a:rPr>
              <a:t>Oplevelsen af ikke at blive involveret i udviklingsopgaver og dermed opbygge de nødvendige kompetencer til at drive udviklingsarbejdet. Oplevelsen af ikke at blive inddraget tilstrækkeligt i håndteringen af særligt kapacitetsudfordringer og i nogen grad også vagtplanlægningsarbejdet.</a:t>
            </a:r>
            <a:endParaRPr lang="da-DK" sz="105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A07CF507-136B-7F72-2681-60B6C95DF442}"/>
              </a:ext>
            </a:extLst>
          </p:cNvPr>
          <p:cNvSpPr txBox="1"/>
          <p:nvPr/>
        </p:nvSpPr>
        <p:spPr>
          <a:xfrm>
            <a:off x="652018" y="2699235"/>
            <a:ext cx="2627679" cy="969496"/>
          </a:xfrm>
          <a:prstGeom prst="rect">
            <a:avLst/>
          </a:prstGeom>
          <a:noFill/>
          <a:ln w="6350">
            <a:noFill/>
            <a:prstDash val="sysDash"/>
          </a:ln>
        </p:spPr>
        <p:txBody>
          <a:bodyPr wrap="square" lIns="0" tIns="0" rIns="0" bIns="0" rtlCol="0" anchor="t">
            <a:noAutofit/>
          </a:bodyPr>
          <a:lstStyle/>
          <a:p>
            <a:pPr algn="r">
              <a:buNone/>
            </a:pPr>
            <a:r>
              <a:rPr lang="da-DK" sz="1050" b="1" dirty="0">
                <a:latin typeface="Calibri" panose="020F0502020204030204" pitchFamily="34" charset="0"/>
                <a:cs typeface="Calibri" panose="020F0502020204030204" pitchFamily="34" charset="0"/>
              </a:rPr>
              <a:t>Forventninger til arbejdslivet</a:t>
            </a:r>
            <a:br>
              <a:rPr lang="da-DK" sz="1050" b="1" dirty="0">
                <a:latin typeface="Calibri" panose="020F0502020204030204" pitchFamily="34" charset="0"/>
                <a:cs typeface="Calibri" panose="020F0502020204030204" pitchFamily="34" charset="0"/>
              </a:rPr>
            </a:br>
            <a:r>
              <a:rPr lang="da-DK" sz="1050" dirty="0">
                <a:effectLst/>
                <a:latin typeface="Calibri" panose="020F0502020204030204" pitchFamily="34" charset="0"/>
                <a:ea typeface="Calibri" panose="020F0502020204030204" pitchFamily="34" charset="0"/>
                <a:cs typeface="Calibri" panose="020F0502020204030204" pitchFamily="34" charset="0"/>
              </a:rPr>
              <a:t>Oplevelsen af at yngre medarbejderes forventninger til </a:t>
            </a:r>
            <a:r>
              <a:rPr lang="da-DK" sz="1050" dirty="0" err="1">
                <a:effectLst/>
                <a:latin typeface="Calibri" panose="020F0502020204030204" pitchFamily="34" charset="0"/>
                <a:ea typeface="Calibri" panose="020F0502020204030204" pitchFamily="34" charset="0"/>
                <a:cs typeface="Calibri" panose="020F0502020204030204" pitchFamily="34" charset="0"/>
              </a:rPr>
              <a:t>work</a:t>
            </a:r>
            <a:r>
              <a:rPr lang="da-DK" sz="1050" dirty="0">
                <a:effectLst/>
                <a:latin typeface="Calibri" panose="020F0502020204030204" pitchFamily="34" charset="0"/>
                <a:ea typeface="Calibri" panose="020F0502020204030204" pitchFamily="34" charset="0"/>
                <a:cs typeface="Calibri" panose="020F0502020204030204" pitchFamily="34" charset="0"/>
              </a:rPr>
              <a:t>-life-balance, ledelsesstil og fleksibiliteten i arbejdet er svære at honorere. Samtidig oplever flere, at der er faldende interesse for deres fagprofession, og at arbejdet i sundhedsvæsenet ikke har prestige som tidligere.</a:t>
            </a:r>
            <a:endParaRPr lang="da-DK" sz="1050" dirty="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CE6A9266-FA54-F988-FB73-9BD10CF08A8E}"/>
              </a:ext>
            </a:extLst>
          </p:cNvPr>
          <p:cNvSpPr txBox="1"/>
          <p:nvPr/>
        </p:nvSpPr>
        <p:spPr>
          <a:xfrm>
            <a:off x="6651638" y="4133133"/>
            <a:ext cx="2844786" cy="872547"/>
          </a:xfrm>
          <a:prstGeom prst="rect">
            <a:avLst/>
          </a:prstGeom>
          <a:noFill/>
          <a:ln w="6350">
            <a:noFill/>
            <a:prstDash val="sysDash"/>
          </a:ln>
        </p:spPr>
        <p:txBody>
          <a:bodyPr wrap="square" lIns="0" tIns="0" rIns="0" bIns="0" rtlCol="0" anchor="t">
            <a:spAutoFit/>
          </a:bodyPr>
          <a:lstStyle/>
          <a:p>
            <a:pPr>
              <a:buNone/>
            </a:pPr>
            <a:r>
              <a:rPr lang="da-DK" sz="1050" b="1" dirty="0">
                <a:latin typeface="Calibri" panose="020F0502020204030204" pitchFamily="34" charset="0"/>
                <a:cs typeface="Calibri" panose="020F0502020204030204" pitchFamily="34" charset="0"/>
              </a:rPr>
              <a:t>Brug af kompetencer</a:t>
            </a:r>
            <a:br>
              <a:rPr lang="da-DK" sz="1050" b="1" dirty="0">
                <a:latin typeface="Calibri" panose="020F0502020204030204" pitchFamily="34" charset="0"/>
                <a:cs typeface="Calibri" panose="020F0502020204030204" pitchFamily="34" charset="0"/>
              </a:rPr>
            </a:br>
            <a:r>
              <a:rPr lang="da-DK" sz="1050" dirty="0">
                <a:effectLst/>
                <a:latin typeface="Calibri" panose="020F0502020204030204" pitchFamily="34" charset="0"/>
                <a:ea typeface="Calibri" panose="020F0502020204030204" pitchFamily="34" charset="0"/>
                <a:cs typeface="Calibri" panose="020F0502020204030204" pitchFamily="34" charset="0"/>
              </a:rPr>
              <a:t>Oplevelsen af at kunne bidrage med mere end man ”får lov til” gør sig gældende for en række faggrupper. Samtidig er der hos andre faggrupper en bekymring for hvem, der har ansvar, når opgaver flytter, eller når der sker noget uforudset. </a:t>
            </a:r>
            <a:endParaRPr lang="da-DK" sz="1050" b="1"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6C98A451-18C4-9612-C92A-86450556B1B9}"/>
              </a:ext>
            </a:extLst>
          </p:cNvPr>
          <p:cNvSpPr txBox="1"/>
          <p:nvPr/>
        </p:nvSpPr>
        <p:spPr>
          <a:xfrm>
            <a:off x="2942105" y="5511029"/>
            <a:ext cx="3951438" cy="727122"/>
          </a:xfrm>
          <a:prstGeom prst="rect">
            <a:avLst/>
          </a:prstGeom>
          <a:noFill/>
          <a:ln w="6350">
            <a:noFill/>
            <a:prstDash val="sysDash"/>
          </a:ln>
        </p:spPr>
        <p:txBody>
          <a:bodyPr wrap="square" lIns="0" tIns="0" rIns="0" bIns="0" rtlCol="0" anchor="ctr">
            <a:spAutoFit/>
          </a:bodyPr>
          <a:lstStyle/>
          <a:p>
            <a:pPr algn="ctr">
              <a:buNone/>
            </a:pPr>
            <a:r>
              <a:rPr lang="da-DK" sz="1050" b="1" dirty="0">
                <a:latin typeface="Calibri" panose="020F0502020204030204" pitchFamily="34" charset="0"/>
                <a:cs typeface="Calibri" panose="020F0502020204030204" pitchFamily="34" charset="0"/>
              </a:rPr>
              <a:t>Tilknytning og ansvar</a:t>
            </a:r>
            <a:br>
              <a:rPr lang="da-DK" sz="1050" b="1" dirty="0">
                <a:latin typeface="Calibri" panose="020F0502020204030204" pitchFamily="34" charset="0"/>
                <a:cs typeface="Calibri" panose="020F0502020204030204" pitchFamily="34" charset="0"/>
              </a:rPr>
            </a:br>
            <a:r>
              <a:rPr lang="da-DK" sz="1050" kern="100" dirty="0">
                <a:effectLst/>
                <a:latin typeface="Calibri" panose="020F0502020204030204" pitchFamily="34" charset="0"/>
                <a:ea typeface="Calibri" panose="020F0502020204030204" pitchFamily="34" charset="0"/>
                <a:cs typeface="Calibri" panose="020F0502020204030204" pitchFamily="34" charset="0"/>
              </a:rPr>
              <a:t>Oplevelsen af at være på ”kanten” af afdelingerne og føle sig ”usynlig” for det øvrige personale. På den anden side står fast tilknyttede medarbejdere med en oplevelse af, at ansvaret for opgaveløsningen ofte falder tilbage på det fast tilknyttede personale.</a:t>
            </a:r>
          </a:p>
        </p:txBody>
      </p:sp>
      <p:sp>
        <p:nvSpPr>
          <p:cNvPr id="9" name="TextBox 8">
            <a:extLst>
              <a:ext uri="{FF2B5EF4-FFF2-40B4-BE49-F238E27FC236}">
                <a16:creationId xmlns:a16="http://schemas.microsoft.com/office/drawing/2014/main" id="{EA30A588-82B3-0E4E-2495-F18DA349ACFF}"/>
              </a:ext>
            </a:extLst>
          </p:cNvPr>
          <p:cNvSpPr txBox="1"/>
          <p:nvPr/>
        </p:nvSpPr>
        <p:spPr>
          <a:xfrm>
            <a:off x="588584" y="4133133"/>
            <a:ext cx="2691113" cy="1163395"/>
          </a:xfrm>
          <a:prstGeom prst="rect">
            <a:avLst/>
          </a:prstGeom>
          <a:noFill/>
          <a:ln w="6350">
            <a:noFill/>
            <a:prstDash val="sysDash"/>
          </a:ln>
        </p:spPr>
        <p:txBody>
          <a:bodyPr wrap="square" lIns="0" tIns="0" rIns="0" bIns="0" rtlCol="0" anchor="t">
            <a:spAutoFit/>
          </a:bodyPr>
          <a:lstStyle/>
          <a:p>
            <a:pPr algn="r">
              <a:buNone/>
            </a:pPr>
            <a:r>
              <a:rPr lang="da-DK" sz="1050" b="1" dirty="0">
                <a:latin typeface="Calibri" panose="020F0502020204030204" pitchFamily="34" charset="0"/>
                <a:cs typeface="Calibri" panose="020F0502020204030204" pitchFamily="34" charset="0"/>
              </a:rPr>
              <a:t>Forventninger fra patienten</a:t>
            </a:r>
            <a:br>
              <a:rPr lang="da-DK" sz="1050" b="1" dirty="0">
                <a:latin typeface="Calibri" panose="020F0502020204030204" pitchFamily="34" charset="0"/>
                <a:cs typeface="Calibri" panose="020F0502020204030204" pitchFamily="34" charset="0"/>
              </a:rPr>
            </a:br>
            <a:r>
              <a:rPr lang="da-DK" sz="1050" dirty="0">
                <a:effectLst/>
                <a:latin typeface="Calibri" panose="020F0502020204030204" pitchFamily="34" charset="0"/>
                <a:ea typeface="Calibri" panose="020F0502020204030204" pitchFamily="34" charset="0"/>
                <a:cs typeface="Calibri" panose="020F0502020204030204" pitchFamily="34" charset="0"/>
              </a:rPr>
              <a:t>Oplevelsen af et stadigt sværere møde med patienter grundet øget indsigt i egen sygdom og ”bristede forventninger” til serviceniveauet. Patienternes forventninger opleves til tider som svære at leve op til – ikke fordi de nødvendigvis er urimelige, men fordi rammerne for håndtering af dem ikke altid er tilstede. </a:t>
            </a:r>
            <a:endParaRPr lang="da-DK" sz="1050" b="1" dirty="0">
              <a:latin typeface="Calibri" panose="020F0502020204030204" pitchFamily="34" charset="0"/>
              <a:cs typeface="Calibri" panose="020F0502020204030204" pitchFamily="34" charset="0"/>
            </a:endParaRPr>
          </a:p>
        </p:txBody>
      </p:sp>
      <p:sp>
        <p:nvSpPr>
          <p:cNvPr id="11" name="Ellipse 15">
            <a:extLst>
              <a:ext uri="{FF2B5EF4-FFF2-40B4-BE49-F238E27FC236}">
                <a16:creationId xmlns:a16="http://schemas.microsoft.com/office/drawing/2014/main" id="{CBD51C05-7FDE-EA7A-547B-2668E02FFE8E}"/>
              </a:ext>
            </a:extLst>
          </p:cNvPr>
          <p:cNvSpPr/>
          <p:nvPr/>
        </p:nvSpPr>
        <p:spPr>
          <a:xfrm flipV="1">
            <a:off x="4655848" y="4600488"/>
            <a:ext cx="523951" cy="516738"/>
          </a:xfrm>
          <a:prstGeom prst="ellipse">
            <a:avLst/>
          </a:prstGeom>
          <a:solidFill>
            <a:schemeClr val="bg1"/>
          </a:solidFill>
          <a:ln w="12700" cap="flat" cmpd="sng" algn="ctr">
            <a:noFill/>
            <a:prstDash val="solid"/>
            <a:miter lim="800000"/>
          </a:ln>
          <a:effectLst/>
        </p:spPr>
        <p:txBody>
          <a:bodyPr lIns="0" tIns="0" rIns="0" bIns="0" rtlCol="0" anchor="ctr"/>
          <a:lstStyle/>
          <a:p>
            <a:pPr algn="ctr" defTabSz="914400">
              <a:lnSpc>
                <a:spcPct val="100000"/>
              </a:lnSpc>
              <a:spcAft>
                <a:spcPts val="0"/>
              </a:spcAft>
              <a:buNone/>
              <a:defRPr/>
            </a:pPr>
            <a:endParaRPr lang="en-GB" kern="0">
              <a:solidFill>
                <a:prstClr val="white"/>
              </a:solidFill>
              <a:latin typeface="+mj-lt"/>
              <a:ea typeface="Impact" charset="0"/>
              <a:cs typeface="Impact" charset="0"/>
            </a:endParaRPr>
          </a:p>
        </p:txBody>
      </p:sp>
      <p:sp>
        <p:nvSpPr>
          <p:cNvPr id="16" name="Freeform 37">
            <a:extLst>
              <a:ext uri="{FF2B5EF4-FFF2-40B4-BE49-F238E27FC236}">
                <a16:creationId xmlns:a16="http://schemas.microsoft.com/office/drawing/2014/main" id="{D980D915-3484-54C4-42D0-D34958A8D5DD}"/>
              </a:ext>
            </a:extLst>
          </p:cNvPr>
          <p:cNvSpPr>
            <a:spLocks/>
          </p:cNvSpPr>
          <p:nvPr/>
        </p:nvSpPr>
        <p:spPr bwMode="auto">
          <a:xfrm rot="20301429" flipV="1">
            <a:off x="4495371" y="4439320"/>
            <a:ext cx="844902" cy="839076"/>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solidFill>
            <a:schemeClr val="bg1"/>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6" name="Freeform 37">
            <a:extLst>
              <a:ext uri="{FF2B5EF4-FFF2-40B4-BE49-F238E27FC236}">
                <a16:creationId xmlns:a16="http://schemas.microsoft.com/office/drawing/2014/main" id="{9305F397-1840-FE21-76A0-A9045AA3DEC8}"/>
              </a:ext>
            </a:extLst>
          </p:cNvPr>
          <p:cNvSpPr>
            <a:spLocks/>
          </p:cNvSpPr>
          <p:nvPr/>
        </p:nvSpPr>
        <p:spPr bwMode="auto">
          <a:xfrm rot="4500000">
            <a:off x="5314868" y="3014995"/>
            <a:ext cx="844902" cy="839076"/>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solidFill>
            <a:schemeClr val="bg1"/>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r>
              <a:rPr lang="en-GB">
                <a:latin typeface="+mj-lt"/>
              </a:rPr>
              <a:t> </a:t>
            </a:r>
          </a:p>
        </p:txBody>
      </p:sp>
      <p:sp>
        <p:nvSpPr>
          <p:cNvPr id="28" name="Freeform 37">
            <a:extLst>
              <a:ext uri="{FF2B5EF4-FFF2-40B4-BE49-F238E27FC236}">
                <a16:creationId xmlns:a16="http://schemas.microsoft.com/office/drawing/2014/main" id="{826DE6B1-68C6-40E6-A7AA-37B5CB6A8D1E}"/>
              </a:ext>
            </a:extLst>
          </p:cNvPr>
          <p:cNvSpPr>
            <a:spLocks/>
          </p:cNvSpPr>
          <p:nvPr/>
        </p:nvSpPr>
        <p:spPr bwMode="auto">
          <a:xfrm rot="9897318">
            <a:off x="5322898" y="3954654"/>
            <a:ext cx="844902" cy="839076"/>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solidFill>
            <a:schemeClr val="bg1"/>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r>
              <a:rPr lang="en-GB">
                <a:latin typeface="+mj-lt"/>
              </a:rPr>
              <a:t> </a:t>
            </a:r>
          </a:p>
        </p:txBody>
      </p:sp>
      <p:sp>
        <p:nvSpPr>
          <p:cNvPr id="29" name="Freeform 37">
            <a:extLst>
              <a:ext uri="{FF2B5EF4-FFF2-40B4-BE49-F238E27FC236}">
                <a16:creationId xmlns:a16="http://schemas.microsoft.com/office/drawing/2014/main" id="{000D50D6-F7A3-DF1A-7151-42FF02C28031}"/>
              </a:ext>
            </a:extLst>
          </p:cNvPr>
          <p:cNvSpPr>
            <a:spLocks/>
          </p:cNvSpPr>
          <p:nvPr/>
        </p:nvSpPr>
        <p:spPr bwMode="auto">
          <a:xfrm rot="1298571">
            <a:off x="4495371" y="2564148"/>
            <a:ext cx="844902" cy="839076"/>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solidFill>
            <a:schemeClr val="bg1"/>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30" name="Freeform 37">
            <a:extLst>
              <a:ext uri="{FF2B5EF4-FFF2-40B4-BE49-F238E27FC236}">
                <a16:creationId xmlns:a16="http://schemas.microsoft.com/office/drawing/2014/main" id="{14E508C2-8727-39FD-58BE-D8D44AB5D038}"/>
              </a:ext>
            </a:extLst>
          </p:cNvPr>
          <p:cNvSpPr>
            <a:spLocks/>
          </p:cNvSpPr>
          <p:nvPr/>
        </p:nvSpPr>
        <p:spPr bwMode="auto">
          <a:xfrm rot="19800000">
            <a:off x="3691911" y="3014995"/>
            <a:ext cx="844902" cy="839076"/>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solidFill>
            <a:schemeClr val="bg1"/>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31" name="Freeform 37">
            <a:extLst>
              <a:ext uri="{FF2B5EF4-FFF2-40B4-BE49-F238E27FC236}">
                <a16:creationId xmlns:a16="http://schemas.microsoft.com/office/drawing/2014/main" id="{770BFBBE-8323-85D2-8E7F-8BD0E5CFD6AF}"/>
              </a:ext>
            </a:extLst>
          </p:cNvPr>
          <p:cNvSpPr>
            <a:spLocks/>
          </p:cNvSpPr>
          <p:nvPr/>
        </p:nvSpPr>
        <p:spPr bwMode="auto">
          <a:xfrm rot="14499696">
            <a:off x="3690559" y="3954654"/>
            <a:ext cx="844902" cy="839076"/>
          </a:xfrm>
          <a:custGeom>
            <a:avLst/>
            <a:gdLst>
              <a:gd name="T0" fmla="*/ 51 w 102"/>
              <a:gd name="T1" fmla="*/ 101 h 101"/>
              <a:gd name="T2" fmla="*/ 0 w 102"/>
              <a:gd name="T3" fmla="*/ 51 h 101"/>
              <a:gd name="T4" fmla="*/ 51 w 102"/>
              <a:gd name="T5" fmla="*/ 0 h 101"/>
              <a:gd name="T6" fmla="*/ 102 w 102"/>
              <a:gd name="T7" fmla="*/ 51 h 101"/>
              <a:gd name="T8" fmla="*/ 87 w 102"/>
              <a:gd name="T9" fmla="*/ 87 h 101"/>
            </a:gdLst>
            <a:ahLst/>
            <a:cxnLst>
              <a:cxn ang="0">
                <a:pos x="T0" y="T1"/>
              </a:cxn>
              <a:cxn ang="0">
                <a:pos x="T2" y="T3"/>
              </a:cxn>
              <a:cxn ang="0">
                <a:pos x="T4" y="T5"/>
              </a:cxn>
              <a:cxn ang="0">
                <a:pos x="T6" y="T7"/>
              </a:cxn>
              <a:cxn ang="0">
                <a:pos x="T8" y="T9"/>
              </a:cxn>
            </a:cxnLst>
            <a:rect l="0" t="0" r="r" b="b"/>
            <a:pathLst>
              <a:path w="102" h="101">
                <a:moveTo>
                  <a:pt x="51" y="101"/>
                </a:moveTo>
                <a:cubicBezTo>
                  <a:pt x="23" y="101"/>
                  <a:pt x="0" y="79"/>
                  <a:pt x="0" y="51"/>
                </a:cubicBezTo>
                <a:cubicBezTo>
                  <a:pt x="0" y="23"/>
                  <a:pt x="23" y="0"/>
                  <a:pt x="51" y="0"/>
                </a:cubicBezTo>
                <a:cubicBezTo>
                  <a:pt x="79" y="0"/>
                  <a:pt x="102" y="23"/>
                  <a:pt x="102" y="51"/>
                </a:cubicBezTo>
                <a:cubicBezTo>
                  <a:pt x="102" y="65"/>
                  <a:pt x="96" y="77"/>
                  <a:pt x="87" y="87"/>
                </a:cubicBezTo>
              </a:path>
            </a:pathLst>
          </a:custGeom>
          <a:solidFill>
            <a:schemeClr val="bg1"/>
          </a:solidFill>
          <a:ln w="12700" cap="rnd">
            <a:solidFill>
              <a:srgbClr val="30373B"/>
            </a:solidFill>
            <a:prstDash val="solid"/>
            <a:round/>
            <a:headEnd/>
            <a:tailEnd/>
          </a:ln>
        </p:spPr>
        <p:txBody>
          <a:bodyPr vert="horz" wrap="square" lIns="91440" tIns="45720" rIns="91440" bIns="45720" numCol="1" anchor="t" anchorCtr="0" compatLnSpc="1">
            <a:prstTxWarp prst="textNoShape">
              <a:avLst/>
            </a:prstTxWarp>
          </a:bodyPr>
          <a:lstStyle/>
          <a:p>
            <a:r>
              <a:rPr lang="en-GB">
                <a:latin typeface="+mj-lt"/>
              </a:rPr>
              <a:t> </a:t>
            </a:r>
          </a:p>
        </p:txBody>
      </p:sp>
      <p:sp>
        <p:nvSpPr>
          <p:cNvPr id="104" name="Ellipse 15">
            <a:extLst>
              <a:ext uri="{FF2B5EF4-FFF2-40B4-BE49-F238E27FC236}">
                <a16:creationId xmlns:a16="http://schemas.microsoft.com/office/drawing/2014/main" id="{579C641E-0BF7-AA25-8F8A-9C82D2D36AC3}"/>
              </a:ext>
            </a:extLst>
          </p:cNvPr>
          <p:cNvSpPr/>
          <p:nvPr/>
        </p:nvSpPr>
        <p:spPr>
          <a:xfrm>
            <a:off x="5475344" y="3176164"/>
            <a:ext cx="523951" cy="516738"/>
          </a:xfrm>
          <a:prstGeom prst="ellipse">
            <a:avLst/>
          </a:prstGeom>
          <a:solidFill>
            <a:srgbClr val="244655"/>
          </a:solidFill>
          <a:ln w="12700" cap="flat" cmpd="sng" algn="ctr">
            <a:noFill/>
            <a:prstDash val="solid"/>
            <a:miter lim="800000"/>
          </a:ln>
          <a:effectLst/>
        </p:spPr>
        <p:txBody>
          <a:bodyPr lIns="0" tIns="0" rIns="0" bIns="0" rtlCol="0" anchor="ctr"/>
          <a:lstStyle/>
          <a:p>
            <a:pPr algn="ctr" defTabSz="914400">
              <a:lnSpc>
                <a:spcPct val="100000"/>
              </a:lnSpc>
              <a:spcAft>
                <a:spcPts val="0"/>
              </a:spcAft>
              <a:buNone/>
              <a:defRPr/>
            </a:pPr>
            <a:endParaRPr lang="en-GB" kern="0">
              <a:solidFill>
                <a:prstClr val="white"/>
              </a:solidFill>
              <a:latin typeface="+mj-lt"/>
              <a:ea typeface="Impact" charset="0"/>
              <a:cs typeface="Impact" charset="0"/>
            </a:endParaRPr>
          </a:p>
        </p:txBody>
      </p:sp>
      <p:grpSp>
        <p:nvGrpSpPr>
          <p:cNvPr id="105" name="Group 104">
            <a:extLst>
              <a:ext uri="{FF2B5EF4-FFF2-40B4-BE49-F238E27FC236}">
                <a16:creationId xmlns:a16="http://schemas.microsoft.com/office/drawing/2014/main" id="{A7B60F7E-F5C9-315F-0A9A-58D9C3704DDA}"/>
              </a:ext>
            </a:extLst>
          </p:cNvPr>
          <p:cNvGrpSpPr/>
          <p:nvPr/>
        </p:nvGrpSpPr>
        <p:grpSpPr>
          <a:xfrm>
            <a:off x="5621507" y="3281056"/>
            <a:ext cx="231626" cy="306953"/>
            <a:chOff x="2763636" y="1414463"/>
            <a:chExt cx="390525" cy="517525"/>
          </a:xfrm>
        </p:grpSpPr>
        <p:sp>
          <p:nvSpPr>
            <p:cNvPr id="106" name="Freeform 46">
              <a:extLst>
                <a:ext uri="{FF2B5EF4-FFF2-40B4-BE49-F238E27FC236}">
                  <a16:creationId xmlns:a16="http://schemas.microsoft.com/office/drawing/2014/main" id="{C15A7511-EC93-6718-6393-CE7758B527A6}"/>
                </a:ext>
              </a:extLst>
            </p:cNvPr>
            <p:cNvSpPr>
              <a:spLocks/>
            </p:cNvSpPr>
            <p:nvPr/>
          </p:nvSpPr>
          <p:spPr bwMode="auto">
            <a:xfrm>
              <a:off x="2790623" y="1414463"/>
              <a:ext cx="323850" cy="88900"/>
            </a:xfrm>
            <a:custGeom>
              <a:avLst/>
              <a:gdLst>
                <a:gd name="T0" fmla="*/ 0 w 72"/>
                <a:gd name="T1" fmla="*/ 20 h 20"/>
                <a:gd name="T2" fmla="*/ 40 w 72"/>
                <a:gd name="T3" fmla="*/ 3 h 20"/>
                <a:gd name="T4" fmla="*/ 72 w 72"/>
                <a:gd name="T5" fmla="*/ 16 h 20"/>
              </a:gdLst>
              <a:ahLst/>
              <a:cxnLst>
                <a:cxn ang="0">
                  <a:pos x="T0" y="T1"/>
                </a:cxn>
                <a:cxn ang="0">
                  <a:pos x="T2" y="T3"/>
                </a:cxn>
                <a:cxn ang="0">
                  <a:pos x="T4" y="T5"/>
                </a:cxn>
              </a:cxnLst>
              <a:rect l="0" t="0" r="r" b="b"/>
              <a:pathLst>
                <a:path w="72" h="20">
                  <a:moveTo>
                    <a:pt x="0" y="20"/>
                  </a:moveTo>
                  <a:cubicBezTo>
                    <a:pt x="0" y="20"/>
                    <a:pt x="17" y="0"/>
                    <a:pt x="40" y="3"/>
                  </a:cubicBezTo>
                  <a:cubicBezTo>
                    <a:pt x="63" y="6"/>
                    <a:pt x="72" y="16"/>
                    <a:pt x="72" y="16"/>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107" name="Freeform 47">
              <a:extLst>
                <a:ext uri="{FF2B5EF4-FFF2-40B4-BE49-F238E27FC236}">
                  <a16:creationId xmlns:a16="http://schemas.microsoft.com/office/drawing/2014/main" id="{FCA1E0A7-1BCC-A4A6-6640-062609C1C74E}"/>
                </a:ext>
              </a:extLst>
            </p:cNvPr>
            <p:cNvSpPr>
              <a:spLocks/>
            </p:cNvSpPr>
            <p:nvPr/>
          </p:nvSpPr>
          <p:spPr bwMode="auto">
            <a:xfrm>
              <a:off x="2771573" y="1476375"/>
              <a:ext cx="355600" cy="127000"/>
            </a:xfrm>
            <a:custGeom>
              <a:avLst/>
              <a:gdLst>
                <a:gd name="T0" fmla="*/ 0 w 79"/>
                <a:gd name="T1" fmla="*/ 28 h 28"/>
                <a:gd name="T2" fmla="*/ 39 w 79"/>
                <a:gd name="T3" fmla="*/ 1 h 28"/>
                <a:gd name="T4" fmla="*/ 79 w 79"/>
                <a:gd name="T5" fmla="*/ 22 h 28"/>
              </a:gdLst>
              <a:ahLst/>
              <a:cxnLst>
                <a:cxn ang="0">
                  <a:pos x="T0" y="T1"/>
                </a:cxn>
                <a:cxn ang="0">
                  <a:pos x="T2" y="T3"/>
                </a:cxn>
                <a:cxn ang="0">
                  <a:pos x="T4" y="T5"/>
                </a:cxn>
              </a:cxnLst>
              <a:rect l="0" t="0" r="r" b="b"/>
              <a:pathLst>
                <a:path w="79" h="28">
                  <a:moveTo>
                    <a:pt x="0" y="28"/>
                  </a:moveTo>
                  <a:cubicBezTo>
                    <a:pt x="0" y="28"/>
                    <a:pt x="14" y="2"/>
                    <a:pt x="39" y="1"/>
                  </a:cubicBezTo>
                  <a:cubicBezTo>
                    <a:pt x="64" y="0"/>
                    <a:pt x="79" y="22"/>
                    <a:pt x="79" y="22"/>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108" name="Freeform 48">
              <a:extLst>
                <a:ext uri="{FF2B5EF4-FFF2-40B4-BE49-F238E27FC236}">
                  <a16:creationId xmlns:a16="http://schemas.microsoft.com/office/drawing/2014/main" id="{FEA16AC6-40D2-79E0-2985-A5FEA4849DC6}"/>
                </a:ext>
              </a:extLst>
            </p:cNvPr>
            <p:cNvSpPr>
              <a:spLocks/>
            </p:cNvSpPr>
            <p:nvPr/>
          </p:nvSpPr>
          <p:spPr bwMode="auto">
            <a:xfrm>
              <a:off x="2763636" y="1525588"/>
              <a:ext cx="373063" cy="306388"/>
            </a:xfrm>
            <a:custGeom>
              <a:avLst/>
              <a:gdLst>
                <a:gd name="T0" fmla="*/ 0 w 83"/>
                <a:gd name="T1" fmla="*/ 34 h 68"/>
                <a:gd name="T2" fmla="*/ 11 w 83"/>
                <a:gd name="T3" fmla="*/ 26 h 68"/>
                <a:gd name="T4" fmla="*/ 43 w 83"/>
                <a:gd name="T5" fmla="*/ 1 h 68"/>
                <a:gd name="T6" fmla="*/ 75 w 83"/>
                <a:gd name="T7" fmla="*/ 26 h 68"/>
                <a:gd name="T8" fmla="*/ 74 w 83"/>
                <a:gd name="T9" fmla="*/ 55 h 68"/>
                <a:gd name="T10" fmla="*/ 83 w 83"/>
                <a:gd name="T11" fmla="*/ 68 h 68"/>
              </a:gdLst>
              <a:ahLst/>
              <a:cxnLst>
                <a:cxn ang="0">
                  <a:pos x="T0" y="T1"/>
                </a:cxn>
                <a:cxn ang="0">
                  <a:pos x="T2" y="T3"/>
                </a:cxn>
                <a:cxn ang="0">
                  <a:pos x="T4" y="T5"/>
                </a:cxn>
                <a:cxn ang="0">
                  <a:pos x="T6" y="T7"/>
                </a:cxn>
                <a:cxn ang="0">
                  <a:pos x="T8" y="T9"/>
                </a:cxn>
                <a:cxn ang="0">
                  <a:pos x="T10" y="T11"/>
                </a:cxn>
              </a:cxnLst>
              <a:rect l="0" t="0" r="r" b="b"/>
              <a:pathLst>
                <a:path w="83" h="68">
                  <a:moveTo>
                    <a:pt x="0" y="34"/>
                  </a:moveTo>
                  <a:cubicBezTo>
                    <a:pt x="0" y="34"/>
                    <a:pt x="8" y="29"/>
                    <a:pt x="11" y="26"/>
                  </a:cubicBezTo>
                  <a:cubicBezTo>
                    <a:pt x="17" y="19"/>
                    <a:pt x="23" y="2"/>
                    <a:pt x="43" y="1"/>
                  </a:cubicBezTo>
                  <a:cubicBezTo>
                    <a:pt x="62" y="0"/>
                    <a:pt x="71" y="15"/>
                    <a:pt x="75" y="26"/>
                  </a:cubicBezTo>
                  <a:cubicBezTo>
                    <a:pt x="77" y="34"/>
                    <a:pt x="73" y="47"/>
                    <a:pt x="74" y="55"/>
                  </a:cubicBezTo>
                  <a:cubicBezTo>
                    <a:pt x="75" y="63"/>
                    <a:pt x="83" y="68"/>
                    <a:pt x="83" y="68"/>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109" name="Freeform 49">
              <a:extLst>
                <a:ext uri="{FF2B5EF4-FFF2-40B4-BE49-F238E27FC236}">
                  <a16:creationId xmlns:a16="http://schemas.microsoft.com/office/drawing/2014/main" id="{744C8A55-843F-91B1-D3BD-D42DB1777A6D}"/>
                </a:ext>
              </a:extLst>
            </p:cNvPr>
            <p:cNvSpPr>
              <a:spLocks/>
            </p:cNvSpPr>
            <p:nvPr/>
          </p:nvSpPr>
          <p:spPr bwMode="auto">
            <a:xfrm>
              <a:off x="3139873" y="1625600"/>
              <a:ext cx="14288" cy="152400"/>
            </a:xfrm>
            <a:custGeom>
              <a:avLst/>
              <a:gdLst>
                <a:gd name="T0" fmla="*/ 0 w 3"/>
                <a:gd name="T1" fmla="*/ 0 h 34"/>
                <a:gd name="T2" fmla="*/ 3 w 3"/>
                <a:gd name="T3" fmla="*/ 19 h 34"/>
                <a:gd name="T4" fmla="*/ 0 w 3"/>
                <a:gd name="T5" fmla="*/ 34 h 34"/>
              </a:gdLst>
              <a:ahLst/>
              <a:cxnLst>
                <a:cxn ang="0">
                  <a:pos x="T0" y="T1"/>
                </a:cxn>
                <a:cxn ang="0">
                  <a:pos x="T2" y="T3"/>
                </a:cxn>
                <a:cxn ang="0">
                  <a:pos x="T4" y="T5"/>
                </a:cxn>
              </a:cxnLst>
              <a:rect l="0" t="0" r="r" b="b"/>
              <a:pathLst>
                <a:path w="3" h="34">
                  <a:moveTo>
                    <a:pt x="0" y="0"/>
                  </a:moveTo>
                  <a:cubicBezTo>
                    <a:pt x="0" y="0"/>
                    <a:pt x="3" y="11"/>
                    <a:pt x="3" y="19"/>
                  </a:cubicBezTo>
                  <a:cubicBezTo>
                    <a:pt x="2" y="26"/>
                    <a:pt x="0" y="34"/>
                    <a:pt x="0" y="34"/>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110" name="Freeform 50">
              <a:extLst>
                <a:ext uri="{FF2B5EF4-FFF2-40B4-BE49-F238E27FC236}">
                  <a16:creationId xmlns:a16="http://schemas.microsoft.com/office/drawing/2014/main" id="{3AD47559-F64A-9416-03BE-17C80105A8F1}"/>
                </a:ext>
              </a:extLst>
            </p:cNvPr>
            <p:cNvSpPr>
              <a:spLocks/>
            </p:cNvSpPr>
            <p:nvPr/>
          </p:nvSpPr>
          <p:spPr bwMode="auto">
            <a:xfrm>
              <a:off x="2768398" y="1584325"/>
              <a:ext cx="327025" cy="296863"/>
            </a:xfrm>
            <a:custGeom>
              <a:avLst/>
              <a:gdLst>
                <a:gd name="T0" fmla="*/ 0 w 73"/>
                <a:gd name="T1" fmla="*/ 37 h 66"/>
                <a:gd name="T2" fmla="*/ 16 w 73"/>
                <a:gd name="T3" fmla="*/ 23 h 66"/>
                <a:gd name="T4" fmla="*/ 42 w 73"/>
                <a:gd name="T5" fmla="*/ 0 h 66"/>
                <a:gd name="T6" fmla="*/ 64 w 73"/>
                <a:gd name="T7" fmla="*/ 22 h 66"/>
                <a:gd name="T8" fmla="*/ 62 w 73"/>
                <a:gd name="T9" fmla="*/ 49 h 66"/>
                <a:gd name="T10" fmla="*/ 73 w 73"/>
                <a:gd name="T11" fmla="*/ 66 h 66"/>
              </a:gdLst>
              <a:ahLst/>
              <a:cxnLst>
                <a:cxn ang="0">
                  <a:pos x="T0" y="T1"/>
                </a:cxn>
                <a:cxn ang="0">
                  <a:pos x="T2" y="T3"/>
                </a:cxn>
                <a:cxn ang="0">
                  <a:pos x="T4" y="T5"/>
                </a:cxn>
                <a:cxn ang="0">
                  <a:pos x="T6" y="T7"/>
                </a:cxn>
                <a:cxn ang="0">
                  <a:pos x="T8" y="T9"/>
                </a:cxn>
                <a:cxn ang="0">
                  <a:pos x="T10" y="T11"/>
                </a:cxn>
              </a:cxnLst>
              <a:rect l="0" t="0" r="r" b="b"/>
              <a:pathLst>
                <a:path w="73" h="66">
                  <a:moveTo>
                    <a:pt x="0" y="37"/>
                  </a:moveTo>
                  <a:cubicBezTo>
                    <a:pt x="0" y="37"/>
                    <a:pt x="12" y="29"/>
                    <a:pt x="16" y="23"/>
                  </a:cubicBezTo>
                  <a:cubicBezTo>
                    <a:pt x="21" y="15"/>
                    <a:pt x="27" y="0"/>
                    <a:pt x="42" y="0"/>
                  </a:cubicBezTo>
                  <a:cubicBezTo>
                    <a:pt x="56" y="0"/>
                    <a:pt x="64" y="9"/>
                    <a:pt x="64" y="22"/>
                  </a:cubicBezTo>
                  <a:cubicBezTo>
                    <a:pt x="64" y="34"/>
                    <a:pt x="61" y="39"/>
                    <a:pt x="62" y="49"/>
                  </a:cubicBezTo>
                  <a:cubicBezTo>
                    <a:pt x="64" y="60"/>
                    <a:pt x="73" y="66"/>
                    <a:pt x="73" y="66"/>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111" name="Freeform 51">
              <a:extLst>
                <a:ext uri="{FF2B5EF4-FFF2-40B4-BE49-F238E27FC236}">
                  <a16:creationId xmlns:a16="http://schemas.microsoft.com/office/drawing/2014/main" id="{DF61BC96-9521-E082-7E5F-71EFBA28774E}"/>
                </a:ext>
              </a:extLst>
            </p:cNvPr>
            <p:cNvSpPr>
              <a:spLocks/>
            </p:cNvSpPr>
            <p:nvPr/>
          </p:nvSpPr>
          <p:spPr bwMode="auto">
            <a:xfrm>
              <a:off x="2763636" y="1625600"/>
              <a:ext cx="260350" cy="279400"/>
            </a:xfrm>
            <a:custGeom>
              <a:avLst/>
              <a:gdLst>
                <a:gd name="T0" fmla="*/ 0 w 58"/>
                <a:gd name="T1" fmla="*/ 42 h 62"/>
                <a:gd name="T2" fmla="*/ 27 w 58"/>
                <a:gd name="T3" fmla="*/ 20 h 62"/>
                <a:gd name="T4" fmla="*/ 46 w 58"/>
                <a:gd name="T5" fmla="*/ 3 h 62"/>
                <a:gd name="T6" fmla="*/ 41 w 58"/>
                <a:gd name="T7" fmla="*/ 39 h 62"/>
                <a:gd name="T8" fmla="*/ 16 w 58"/>
                <a:gd name="T9" fmla="*/ 62 h 62"/>
              </a:gdLst>
              <a:ahLst/>
              <a:cxnLst>
                <a:cxn ang="0">
                  <a:pos x="T0" y="T1"/>
                </a:cxn>
                <a:cxn ang="0">
                  <a:pos x="T2" y="T3"/>
                </a:cxn>
                <a:cxn ang="0">
                  <a:pos x="T4" y="T5"/>
                </a:cxn>
                <a:cxn ang="0">
                  <a:pos x="T6" y="T7"/>
                </a:cxn>
                <a:cxn ang="0">
                  <a:pos x="T8" y="T9"/>
                </a:cxn>
              </a:cxnLst>
              <a:rect l="0" t="0" r="r" b="b"/>
              <a:pathLst>
                <a:path w="58" h="62">
                  <a:moveTo>
                    <a:pt x="0" y="42"/>
                  </a:moveTo>
                  <a:cubicBezTo>
                    <a:pt x="0" y="42"/>
                    <a:pt x="20" y="30"/>
                    <a:pt x="27" y="20"/>
                  </a:cubicBezTo>
                  <a:cubicBezTo>
                    <a:pt x="34" y="10"/>
                    <a:pt x="35" y="0"/>
                    <a:pt x="46" y="3"/>
                  </a:cubicBezTo>
                  <a:cubicBezTo>
                    <a:pt x="58" y="5"/>
                    <a:pt x="58" y="23"/>
                    <a:pt x="41" y="39"/>
                  </a:cubicBezTo>
                  <a:cubicBezTo>
                    <a:pt x="24" y="56"/>
                    <a:pt x="16" y="62"/>
                    <a:pt x="16" y="62"/>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112" name="Freeform 52">
              <a:extLst>
                <a:ext uri="{FF2B5EF4-FFF2-40B4-BE49-F238E27FC236}">
                  <a16:creationId xmlns:a16="http://schemas.microsoft.com/office/drawing/2014/main" id="{5C407A31-EE4B-199B-7A06-9853EE2746A3}"/>
                </a:ext>
              </a:extLst>
            </p:cNvPr>
            <p:cNvSpPr>
              <a:spLocks/>
            </p:cNvSpPr>
            <p:nvPr/>
          </p:nvSpPr>
          <p:spPr bwMode="auto">
            <a:xfrm>
              <a:off x="2790623" y="1692275"/>
              <a:ext cx="169863" cy="176213"/>
            </a:xfrm>
            <a:custGeom>
              <a:avLst/>
              <a:gdLst>
                <a:gd name="T0" fmla="*/ 0 w 38"/>
                <a:gd name="T1" fmla="*/ 39 h 39"/>
                <a:gd name="T2" fmla="*/ 22 w 38"/>
                <a:gd name="T3" fmla="*/ 21 h 39"/>
                <a:gd name="T4" fmla="*/ 38 w 38"/>
                <a:gd name="T5" fmla="*/ 0 h 39"/>
              </a:gdLst>
              <a:ahLst/>
              <a:cxnLst>
                <a:cxn ang="0">
                  <a:pos x="T0" y="T1"/>
                </a:cxn>
                <a:cxn ang="0">
                  <a:pos x="T2" y="T3"/>
                </a:cxn>
                <a:cxn ang="0">
                  <a:pos x="T4" y="T5"/>
                </a:cxn>
              </a:cxnLst>
              <a:rect l="0" t="0" r="r" b="b"/>
              <a:pathLst>
                <a:path w="38" h="39">
                  <a:moveTo>
                    <a:pt x="0" y="39"/>
                  </a:moveTo>
                  <a:cubicBezTo>
                    <a:pt x="0" y="39"/>
                    <a:pt x="13" y="31"/>
                    <a:pt x="22" y="21"/>
                  </a:cubicBezTo>
                  <a:cubicBezTo>
                    <a:pt x="31" y="12"/>
                    <a:pt x="38" y="0"/>
                    <a:pt x="38"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113" name="Freeform 53">
              <a:extLst>
                <a:ext uri="{FF2B5EF4-FFF2-40B4-BE49-F238E27FC236}">
                  <a16:creationId xmlns:a16="http://schemas.microsoft.com/office/drawing/2014/main" id="{C6019C79-88BD-EA80-C731-0022BF356383}"/>
                </a:ext>
              </a:extLst>
            </p:cNvPr>
            <p:cNvSpPr>
              <a:spLocks/>
            </p:cNvSpPr>
            <p:nvPr/>
          </p:nvSpPr>
          <p:spPr bwMode="auto">
            <a:xfrm>
              <a:off x="2982711" y="1800225"/>
              <a:ext cx="63500" cy="112713"/>
            </a:xfrm>
            <a:custGeom>
              <a:avLst/>
              <a:gdLst>
                <a:gd name="T0" fmla="*/ 3 w 14"/>
                <a:gd name="T1" fmla="*/ 0 h 25"/>
                <a:gd name="T2" fmla="*/ 4 w 14"/>
                <a:gd name="T3" fmla="*/ 14 h 25"/>
                <a:gd name="T4" fmla="*/ 14 w 14"/>
                <a:gd name="T5" fmla="*/ 25 h 25"/>
              </a:gdLst>
              <a:ahLst/>
              <a:cxnLst>
                <a:cxn ang="0">
                  <a:pos x="T0" y="T1"/>
                </a:cxn>
                <a:cxn ang="0">
                  <a:pos x="T2" y="T3"/>
                </a:cxn>
                <a:cxn ang="0">
                  <a:pos x="T4" y="T5"/>
                </a:cxn>
              </a:cxnLst>
              <a:rect l="0" t="0" r="r" b="b"/>
              <a:pathLst>
                <a:path w="14" h="25">
                  <a:moveTo>
                    <a:pt x="3" y="0"/>
                  </a:moveTo>
                  <a:cubicBezTo>
                    <a:pt x="3" y="0"/>
                    <a:pt x="0" y="7"/>
                    <a:pt x="4" y="14"/>
                  </a:cubicBezTo>
                  <a:cubicBezTo>
                    <a:pt x="9" y="21"/>
                    <a:pt x="14" y="25"/>
                    <a:pt x="14" y="25"/>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114" name="Freeform 54">
              <a:extLst>
                <a:ext uri="{FF2B5EF4-FFF2-40B4-BE49-F238E27FC236}">
                  <a16:creationId xmlns:a16="http://schemas.microsoft.com/office/drawing/2014/main" id="{5DED48CC-FABA-731E-2A35-9C0DE016EA5B}"/>
                </a:ext>
              </a:extLst>
            </p:cNvPr>
            <p:cNvSpPr>
              <a:spLocks/>
            </p:cNvSpPr>
            <p:nvPr/>
          </p:nvSpPr>
          <p:spPr bwMode="auto">
            <a:xfrm>
              <a:off x="2889048" y="1881188"/>
              <a:ext cx="93663" cy="50800"/>
            </a:xfrm>
            <a:custGeom>
              <a:avLst/>
              <a:gdLst>
                <a:gd name="T0" fmla="*/ 0 w 21"/>
                <a:gd name="T1" fmla="*/ 9 h 11"/>
                <a:gd name="T2" fmla="*/ 12 w 21"/>
                <a:gd name="T3" fmla="*/ 1 h 11"/>
                <a:gd name="T4" fmla="*/ 21 w 21"/>
                <a:gd name="T5" fmla="*/ 11 h 11"/>
              </a:gdLst>
              <a:ahLst/>
              <a:cxnLst>
                <a:cxn ang="0">
                  <a:pos x="T0" y="T1"/>
                </a:cxn>
                <a:cxn ang="0">
                  <a:pos x="T2" y="T3"/>
                </a:cxn>
                <a:cxn ang="0">
                  <a:pos x="T4" y="T5"/>
                </a:cxn>
              </a:cxnLst>
              <a:rect l="0" t="0" r="r" b="b"/>
              <a:pathLst>
                <a:path w="21" h="11">
                  <a:moveTo>
                    <a:pt x="0" y="9"/>
                  </a:moveTo>
                  <a:cubicBezTo>
                    <a:pt x="0" y="9"/>
                    <a:pt x="5" y="0"/>
                    <a:pt x="12" y="1"/>
                  </a:cubicBezTo>
                  <a:cubicBezTo>
                    <a:pt x="19" y="1"/>
                    <a:pt x="21" y="11"/>
                    <a:pt x="21" y="11"/>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grpSp>
      <p:sp>
        <p:nvSpPr>
          <p:cNvPr id="94" name="Ellipse 15">
            <a:extLst>
              <a:ext uri="{FF2B5EF4-FFF2-40B4-BE49-F238E27FC236}">
                <a16:creationId xmlns:a16="http://schemas.microsoft.com/office/drawing/2014/main" id="{B74605DE-EC5C-DC70-DA31-DD0D9BE4515A}"/>
              </a:ext>
            </a:extLst>
          </p:cNvPr>
          <p:cNvSpPr/>
          <p:nvPr/>
        </p:nvSpPr>
        <p:spPr>
          <a:xfrm>
            <a:off x="5483375" y="4115823"/>
            <a:ext cx="523951" cy="516738"/>
          </a:xfrm>
          <a:prstGeom prst="ellipse">
            <a:avLst/>
          </a:prstGeom>
          <a:solidFill>
            <a:srgbClr val="F8F5E7"/>
          </a:solidFill>
          <a:ln w="12700" cap="flat" cmpd="sng" algn="ctr">
            <a:noFill/>
            <a:prstDash val="solid"/>
            <a:miter lim="800000"/>
          </a:ln>
          <a:effectLst/>
        </p:spPr>
        <p:txBody>
          <a:bodyPr lIns="0" tIns="0" rIns="0" bIns="0" rtlCol="0" anchor="ctr"/>
          <a:lstStyle/>
          <a:p>
            <a:pPr algn="ctr" defTabSz="914400">
              <a:lnSpc>
                <a:spcPct val="100000"/>
              </a:lnSpc>
              <a:spcAft>
                <a:spcPts val="0"/>
              </a:spcAft>
              <a:buNone/>
              <a:defRPr/>
            </a:pPr>
            <a:endParaRPr lang="en-GB" kern="0">
              <a:solidFill>
                <a:prstClr val="white"/>
              </a:solidFill>
              <a:latin typeface="+mj-lt"/>
              <a:ea typeface="Impact" charset="0"/>
              <a:cs typeface="Impact" charset="0"/>
            </a:endParaRPr>
          </a:p>
        </p:txBody>
      </p:sp>
      <p:grpSp>
        <p:nvGrpSpPr>
          <p:cNvPr id="95" name="Group 94">
            <a:extLst>
              <a:ext uri="{FF2B5EF4-FFF2-40B4-BE49-F238E27FC236}">
                <a16:creationId xmlns:a16="http://schemas.microsoft.com/office/drawing/2014/main" id="{A16A900B-058B-687D-E031-F18AD74FEF52}"/>
              </a:ext>
            </a:extLst>
          </p:cNvPr>
          <p:cNvGrpSpPr/>
          <p:nvPr/>
        </p:nvGrpSpPr>
        <p:grpSpPr>
          <a:xfrm>
            <a:off x="5616106" y="4222499"/>
            <a:ext cx="258490" cy="303385"/>
            <a:chOff x="3087034" y="4802356"/>
            <a:chExt cx="424270" cy="497958"/>
          </a:xfrm>
        </p:grpSpPr>
        <p:sp>
          <p:nvSpPr>
            <p:cNvPr id="96" name="Freeform: Shape 95">
              <a:extLst>
                <a:ext uri="{FF2B5EF4-FFF2-40B4-BE49-F238E27FC236}">
                  <a16:creationId xmlns:a16="http://schemas.microsoft.com/office/drawing/2014/main" id="{4D7B5DA4-3684-A26F-5789-75B33A68908A}"/>
                </a:ext>
              </a:extLst>
            </p:cNvPr>
            <p:cNvSpPr/>
            <p:nvPr/>
          </p:nvSpPr>
          <p:spPr>
            <a:xfrm>
              <a:off x="3087034" y="4802356"/>
              <a:ext cx="144813" cy="171142"/>
            </a:xfrm>
            <a:custGeom>
              <a:avLst/>
              <a:gdLst>
                <a:gd name="connsiteX0" fmla="*/ 212649 w 209550"/>
                <a:gd name="connsiteY0" fmla="*/ 253841 h 247650"/>
                <a:gd name="connsiteX1" fmla="*/ 160547 w 209550"/>
                <a:gd name="connsiteY1" fmla="*/ 155829 h 247650"/>
                <a:gd name="connsiteX2" fmla="*/ 174739 w 209550"/>
                <a:gd name="connsiteY2" fmla="*/ 48863 h 247650"/>
                <a:gd name="connsiteX3" fmla="*/ 98730 w 209550"/>
                <a:gd name="connsiteY3" fmla="*/ 0 h 247650"/>
                <a:gd name="connsiteX4" fmla="*/ 135115 w 209550"/>
                <a:gd name="connsiteY4" fmla="*/ 68390 h 247650"/>
                <a:gd name="connsiteX5" fmla="*/ 106159 w 209550"/>
                <a:gd name="connsiteY5" fmla="*/ 114872 h 247650"/>
                <a:gd name="connsiteX6" fmla="*/ 51390 w 209550"/>
                <a:gd name="connsiteY6" fmla="*/ 112967 h 247650"/>
                <a:gd name="connsiteX7" fmla="*/ 14243 w 209550"/>
                <a:gd name="connsiteY7" fmla="*/ 43148 h 247650"/>
                <a:gd name="connsiteX8" fmla="*/ 10814 w 209550"/>
                <a:gd name="connsiteY8" fmla="*/ 136017 h 247650"/>
                <a:gd name="connsiteX9" fmla="*/ 107398 w 209550"/>
                <a:gd name="connsiteY9" fmla="*/ 183928 h 247650"/>
                <a:gd name="connsiteX10" fmla="*/ 144545 w 209550"/>
                <a:gd name="connsiteY10" fmla="*/ 25374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550" h="247650">
                  <a:moveTo>
                    <a:pt x="212649" y="253841"/>
                  </a:moveTo>
                  <a:lnTo>
                    <a:pt x="160547" y="155829"/>
                  </a:lnTo>
                  <a:cubicBezTo>
                    <a:pt x="186931" y="127635"/>
                    <a:pt x="193884" y="84868"/>
                    <a:pt x="174739" y="48863"/>
                  </a:cubicBezTo>
                  <a:cubicBezTo>
                    <a:pt x="159023" y="19431"/>
                    <a:pt x="129781" y="2000"/>
                    <a:pt x="98730" y="0"/>
                  </a:cubicBezTo>
                  <a:lnTo>
                    <a:pt x="135115" y="68390"/>
                  </a:lnTo>
                  <a:lnTo>
                    <a:pt x="106159" y="114872"/>
                  </a:lnTo>
                  <a:lnTo>
                    <a:pt x="51390" y="112967"/>
                  </a:lnTo>
                  <a:lnTo>
                    <a:pt x="14243" y="43148"/>
                  </a:lnTo>
                  <a:cubicBezTo>
                    <a:pt x="-2807" y="70390"/>
                    <a:pt x="-5283" y="105632"/>
                    <a:pt x="10814" y="136017"/>
                  </a:cubicBezTo>
                  <a:cubicBezTo>
                    <a:pt x="29959" y="171926"/>
                    <a:pt x="69393" y="190119"/>
                    <a:pt x="107398" y="183928"/>
                  </a:cubicBezTo>
                  <a:lnTo>
                    <a:pt x="144545" y="253746"/>
                  </a:lnTo>
                </a:path>
              </a:pathLst>
            </a:custGeom>
            <a:noFill/>
            <a:ln w="6350" cap="rnd">
              <a:solidFill>
                <a:srgbClr val="244655"/>
              </a:solidFill>
              <a:prstDash val="solid"/>
              <a:round/>
            </a:ln>
          </p:spPr>
          <p:txBody>
            <a:bodyPr rtlCol="0" anchor="ctr"/>
            <a:lstStyle/>
            <a:p>
              <a:endParaRPr lang="de-DE">
                <a:latin typeface="+mj-lt"/>
              </a:endParaRPr>
            </a:p>
          </p:txBody>
        </p:sp>
        <p:grpSp>
          <p:nvGrpSpPr>
            <p:cNvPr id="97" name="Graphic 10">
              <a:extLst>
                <a:ext uri="{FF2B5EF4-FFF2-40B4-BE49-F238E27FC236}">
                  <a16:creationId xmlns:a16="http://schemas.microsoft.com/office/drawing/2014/main" id="{FE939077-8A4C-7EA6-E916-27129EFBAE08}"/>
                </a:ext>
              </a:extLst>
            </p:cNvPr>
            <p:cNvGrpSpPr/>
            <p:nvPr/>
          </p:nvGrpSpPr>
          <p:grpSpPr>
            <a:xfrm>
              <a:off x="3369717" y="4812361"/>
              <a:ext cx="118483" cy="164560"/>
              <a:chOff x="4057918" y="4483591"/>
              <a:chExt cx="171450" cy="238125"/>
            </a:xfrm>
            <a:noFill/>
          </p:grpSpPr>
          <p:sp>
            <p:nvSpPr>
              <p:cNvPr id="102" name="Freeform: Shape 101">
                <a:extLst>
                  <a:ext uri="{FF2B5EF4-FFF2-40B4-BE49-F238E27FC236}">
                    <a16:creationId xmlns:a16="http://schemas.microsoft.com/office/drawing/2014/main" id="{4E9318C2-48E2-06CB-F488-792CAE637205}"/>
                  </a:ext>
                </a:extLst>
              </p:cNvPr>
              <p:cNvSpPr/>
              <p:nvPr/>
            </p:nvSpPr>
            <p:spPr>
              <a:xfrm>
                <a:off x="4057918" y="4483591"/>
                <a:ext cx="171450" cy="238125"/>
              </a:xfrm>
              <a:custGeom>
                <a:avLst/>
                <a:gdLst>
                  <a:gd name="connsiteX0" fmla="*/ 0 w 171450"/>
                  <a:gd name="connsiteY0" fmla="*/ 239363 h 238125"/>
                  <a:gd name="connsiteX1" fmla="*/ 112871 w 171450"/>
                  <a:gd name="connsiteY1" fmla="*/ 30480 h 238125"/>
                  <a:gd name="connsiteX2" fmla="*/ 169164 w 171450"/>
                  <a:gd name="connsiteY2" fmla="*/ 0 h 238125"/>
                  <a:gd name="connsiteX3" fmla="*/ 174403 w 171450"/>
                  <a:gd name="connsiteY3" fmla="*/ 63722 h 238125"/>
                  <a:gd name="connsiteX4" fmla="*/ 79438 w 171450"/>
                  <a:gd name="connsiteY4" fmla="*/ 239363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238125">
                    <a:moveTo>
                      <a:pt x="0" y="239363"/>
                    </a:moveTo>
                    <a:lnTo>
                      <a:pt x="112871" y="30480"/>
                    </a:lnTo>
                    <a:lnTo>
                      <a:pt x="169164" y="0"/>
                    </a:lnTo>
                    <a:lnTo>
                      <a:pt x="174403" y="63722"/>
                    </a:lnTo>
                    <a:lnTo>
                      <a:pt x="79438" y="239363"/>
                    </a:lnTo>
                  </a:path>
                </a:pathLst>
              </a:custGeom>
              <a:noFill/>
              <a:ln w="6350" cap="rnd">
                <a:solidFill>
                  <a:srgbClr val="244655"/>
                </a:solidFill>
                <a:prstDash val="solid"/>
                <a:round/>
              </a:ln>
            </p:spPr>
            <p:txBody>
              <a:bodyPr rtlCol="0" anchor="ctr"/>
              <a:lstStyle/>
              <a:p>
                <a:endParaRPr lang="de-DE">
                  <a:latin typeface="+mj-lt"/>
                </a:endParaRPr>
              </a:p>
            </p:txBody>
          </p:sp>
          <p:sp>
            <p:nvSpPr>
              <p:cNvPr id="103" name="Freeform: Shape 102">
                <a:extLst>
                  <a:ext uri="{FF2B5EF4-FFF2-40B4-BE49-F238E27FC236}">
                    <a16:creationId xmlns:a16="http://schemas.microsoft.com/office/drawing/2014/main" id="{9961A940-8B4B-38BD-1CB8-91D26335DA2A}"/>
                  </a:ext>
                </a:extLst>
              </p:cNvPr>
              <p:cNvSpPr/>
              <p:nvPr/>
            </p:nvSpPr>
            <p:spPr>
              <a:xfrm>
                <a:off x="4170790" y="4513976"/>
                <a:ext cx="57150" cy="28575"/>
              </a:xfrm>
              <a:custGeom>
                <a:avLst/>
                <a:gdLst>
                  <a:gd name="connsiteX0" fmla="*/ 61531 w 57150"/>
                  <a:gd name="connsiteY0" fmla="*/ 33242 h 28575"/>
                  <a:gd name="connsiteX1" fmla="*/ 0 w 57150"/>
                  <a:gd name="connsiteY1" fmla="*/ 0 h 28575"/>
                </a:gdLst>
                <a:ahLst/>
                <a:cxnLst>
                  <a:cxn ang="0">
                    <a:pos x="connsiteX0" y="connsiteY0"/>
                  </a:cxn>
                  <a:cxn ang="0">
                    <a:pos x="connsiteX1" y="connsiteY1"/>
                  </a:cxn>
                </a:cxnLst>
                <a:rect l="l" t="t" r="r" b="b"/>
                <a:pathLst>
                  <a:path w="57150" h="28575">
                    <a:moveTo>
                      <a:pt x="61531" y="33242"/>
                    </a:moveTo>
                    <a:lnTo>
                      <a:pt x="0" y="0"/>
                    </a:lnTo>
                  </a:path>
                </a:pathLst>
              </a:custGeom>
              <a:ln w="6350" cap="rnd">
                <a:solidFill>
                  <a:srgbClr val="244655"/>
                </a:solidFill>
                <a:prstDash val="solid"/>
                <a:round/>
              </a:ln>
            </p:spPr>
            <p:txBody>
              <a:bodyPr rtlCol="0" anchor="ctr"/>
              <a:lstStyle/>
              <a:p>
                <a:endParaRPr lang="de-DE">
                  <a:latin typeface="+mj-lt"/>
                </a:endParaRPr>
              </a:p>
            </p:txBody>
          </p:sp>
        </p:grpSp>
        <p:grpSp>
          <p:nvGrpSpPr>
            <p:cNvPr id="98" name="Graphic 10">
              <a:extLst>
                <a:ext uri="{FF2B5EF4-FFF2-40B4-BE49-F238E27FC236}">
                  <a16:creationId xmlns:a16="http://schemas.microsoft.com/office/drawing/2014/main" id="{9086B0DA-CDBB-2A07-F510-69B7CC027A11}"/>
                </a:ext>
              </a:extLst>
            </p:cNvPr>
            <p:cNvGrpSpPr/>
            <p:nvPr/>
          </p:nvGrpSpPr>
          <p:grpSpPr>
            <a:xfrm>
              <a:off x="3243928" y="4807622"/>
              <a:ext cx="131648" cy="164560"/>
              <a:chOff x="3875896" y="4476733"/>
              <a:chExt cx="190500" cy="238125"/>
            </a:xfrm>
            <a:noFill/>
          </p:grpSpPr>
          <p:sp>
            <p:nvSpPr>
              <p:cNvPr id="100" name="Freeform: Shape 99">
                <a:extLst>
                  <a:ext uri="{FF2B5EF4-FFF2-40B4-BE49-F238E27FC236}">
                    <a16:creationId xmlns:a16="http://schemas.microsoft.com/office/drawing/2014/main" id="{B8BEB70B-EDEA-DF1F-885E-03FF294D8EAD}"/>
                  </a:ext>
                </a:extLst>
              </p:cNvPr>
              <p:cNvSpPr/>
              <p:nvPr/>
            </p:nvSpPr>
            <p:spPr>
              <a:xfrm>
                <a:off x="3875896" y="4476733"/>
                <a:ext cx="190500" cy="238125"/>
              </a:xfrm>
              <a:custGeom>
                <a:avLst/>
                <a:gdLst>
                  <a:gd name="connsiteX0" fmla="*/ 54673 w 190500"/>
                  <a:gd name="connsiteY0" fmla="*/ 246221 h 238125"/>
                  <a:gd name="connsiteX1" fmla="*/ 54673 w 190500"/>
                  <a:gd name="connsiteY1" fmla="*/ 212122 h 238125"/>
                  <a:gd name="connsiteX2" fmla="*/ 35052 w 190500"/>
                  <a:gd name="connsiteY2" fmla="*/ 178308 h 238125"/>
                  <a:gd name="connsiteX3" fmla="*/ 0 w 190500"/>
                  <a:gd name="connsiteY3" fmla="*/ 98012 h 238125"/>
                  <a:gd name="connsiteX4" fmla="*/ 97060 w 190500"/>
                  <a:gd name="connsiteY4" fmla="*/ 0 h 238125"/>
                  <a:gd name="connsiteX5" fmla="*/ 193834 w 190500"/>
                  <a:gd name="connsiteY5" fmla="*/ 102394 h 238125"/>
                  <a:gd name="connsiteX6" fmla="*/ 163830 w 190500"/>
                  <a:gd name="connsiteY6" fmla="*/ 170688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238125">
                    <a:moveTo>
                      <a:pt x="54673" y="246221"/>
                    </a:moveTo>
                    <a:cubicBezTo>
                      <a:pt x="54673" y="246221"/>
                      <a:pt x="54673" y="232982"/>
                      <a:pt x="54673" y="212122"/>
                    </a:cubicBezTo>
                    <a:cubicBezTo>
                      <a:pt x="54673" y="191262"/>
                      <a:pt x="35052" y="178308"/>
                      <a:pt x="35052" y="178308"/>
                    </a:cubicBezTo>
                    <a:cubicBezTo>
                      <a:pt x="35052" y="178308"/>
                      <a:pt x="0" y="150781"/>
                      <a:pt x="0" y="98012"/>
                    </a:cubicBezTo>
                    <a:cubicBezTo>
                      <a:pt x="0" y="45244"/>
                      <a:pt x="39814" y="0"/>
                      <a:pt x="97060" y="0"/>
                    </a:cubicBezTo>
                    <a:cubicBezTo>
                      <a:pt x="154305" y="0"/>
                      <a:pt x="193834" y="46768"/>
                      <a:pt x="193834" y="102394"/>
                    </a:cubicBezTo>
                    <a:cubicBezTo>
                      <a:pt x="193834" y="146971"/>
                      <a:pt x="163830" y="170688"/>
                      <a:pt x="163830" y="170688"/>
                    </a:cubicBezTo>
                  </a:path>
                </a:pathLst>
              </a:custGeom>
              <a:noFill/>
              <a:ln w="6350" cap="rnd">
                <a:solidFill>
                  <a:srgbClr val="244655"/>
                </a:solidFill>
                <a:prstDash val="solid"/>
                <a:round/>
              </a:ln>
            </p:spPr>
            <p:txBody>
              <a:bodyPr rtlCol="0" anchor="ctr"/>
              <a:lstStyle/>
              <a:p>
                <a:endParaRPr lang="de-DE">
                  <a:latin typeface="+mj-lt"/>
                </a:endParaRPr>
              </a:p>
            </p:txBody>
          </p:sp>
          <p:sp>
            <p:nvSpPr>
              <p:cNvPr id="101" name="Freeform: Shape 100">
                <a:extLst>
                  <a:ext uri="{FF2B5EF4-FFF2-40B4-BE49-F238E27FC236}">
                    <a16:creationId xmlns:a16="http://schemas.microsoft.com/office/drawing/2014/main" id="{BEC7CAD9-4F6F-9E53-BC87-AEC9F9D8D2C8}"/>
                  </a:ext>
                </a:extLst>
              </p:cNvPr>
              <p:cNvSpPr/>
              <p:nvPr/>
            </p:nvSpPr>
            <p:spPr>
              <a:xfrm>
                <a:off x="3944418" y="4587680"/>
                <a:ext cx="47625" cy="133350"/>
              </a:xfrm>
              <a:custGeom>
                <a:avLst/>
                <a:gdLst>
                  <a:gd name="connsiteX0" fmla="*/ 57 w 47625"/>
                  <a:gd name="connsiteY0" fmla="*/ 35072 h 133350"/>
                  <a:gd name="connsiteX1" fmla="*/ 20631 w 47625"/>
                  <a:gd name="connsiteY1" fmla="*/ 972 h 133350"/>
                  <a:gd name="connsiteX2" fmla="*/ 55683 w 47625"/>
                  <a:gd name="connsiteY2" fmla="*/ 35072 h 133350"/>
                  <a:gd name="connsiteX3" fmla="*/ 38919 w 47625"/>
                  <a:gd name="connsiteY3" fmla="*/ 68409 h 133350"/>
                  <a:gd name="connsiteX4" fmla="*/ 27489 w 47625"/>
                  <a:gd name="connsiteY4" fmla="*/ 94317 h 133350"/>
                  <a:gd name="connsiteX5" fmla="*/ 27489 w 47625"/>
                  <a:gd name="connsiteY5" fmla="*/ 13527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133350">
                    <a:moveTo>
                      <a:pt x="57" y="35072"/>
                    </a:moveTo>
                    <a:cubicBezTo>
                      <a:pt x="57" y="35072"/>
                      <a:pt x="-2134" y="5639"/>
                      <a:pt x="20631" y="972"/>
                    </a:cubicBezTo>
                    <a:cubicBezTo>
                      <a:pt x="43396" y="-3790"/>
                      <a:pt x="55683" y="9164"/>
                      <a:pt x="55683" y="35072"/>
                    </a:cubicBezTo>
                    <a:cubicBezTo>
                      <a:pt x="55683" y="49645"/>
                      <a:pt x="46730" y="61170"/>
                      <a:pt x="38919" y="68409"/>
                    </a:cubicBezTo>
                    <a:cubicBezTo>
                      <a:pt x="31680" y="75077"/>
                      <a:pt x="27489" y="84411"/>
                      <a:pt x="27489" y="94317"/>
                    </a:cubicBezTo>
                    <a:lnTo>
                      <a:pt x="27489" y="135275"/>
                    </a:lnTo>
                  </a:path>
                </a:pathLst>
              </a:custGeom>
              <a:noFill/>
              <a:ln w="6350" cap="rnd">
                <a:solidFill>
                  <a:srgbClr val="244655"/>
                </a:solidFill>
                <a:prstDash val="solid"/>
                <a:round/>
              </a:ln>
            </p:spPr>
            <p:txBody>
              <a:bodyPr rtlCol="0" anchor="ctr"/>
              <a:lstStyle/>
              <a:p>
                <a:endParaRPr lang="de-DE">
                  <a:latin typeface="+mj-lt"/>
                </a:endParaRPr>
              </a:p>
            </p:txBody>
          </p:sp>
        </p:grpSp>
        <p:sp>
          <p:nvSpPr>
            <p:cNvPr id="99" name="Freeform: Shape 98">
              <a:extLst>
                <a:ext uri="{FF2B5EF4-FFF2-40B4-BE49-F238E27FC236}">
                  <a16:creationId xmlns:a16="http://schemas.microsoft.com/office/drawing/2014/main" id="{FA37C81A-B42A-2242-5DBF-1F2CC9F6FE4B}"/>
                </a:ext>
              </a:extLst>
            </p:cNvPr>
            <p:cNvSpPr/>
            <p:nvPr/>
          </p:nvSpPr>
          <p:spPr>
            <a:xfrm>
              <a:off x="3142690" y="4977777"/>
              <a:ext cx="368614" cy="322537"/>
            </a:xfrm>
            <a:custGeom>
              <a:avLst/>
              <a:gdLst>
                <a:gd name="connsiteX0" fmla="*/ 298323 w 533400"/>
                <a:gd name="connsiteY0" fmla="*/ 470249 h 466725"/>
                <a:gd name="connsiteX1" fmla="*/ 297751 w 533400"/>
                <a:gd name="connsiteY1" fmla="*/ 403384 h 466725"/>
                <a:gd name="connsiteX2" fmla="*/ 397573 w 533400"/>
                <a:gd name="connsiteY2" fmla="*/ 403384 h 466725"/>
                <a:gd name="connsiteX3" fmla="*/ 452819 w 533400"/>
                <a:gd name="connsiteY3" fmla="*/ 348139 h 466725"/>
                <a:gd name="connsiteX4" fmla="*/ 452819 w 533400"/>
                <a:gd name="connsiteY4" fmla="*/ 249174 h 466725"/>
                <a:gd name="connsiteX5" fmla="*/ 539115 w 533400"/>
                <a:gd name="connsiteY5" fmla="*/ 249174 h 466725"/>
                <a:gd name="connsiteX6" fmla="*/ 483965 w 533400"/>
                <a:gd name="connsiteY6" fmla="*/ 62293 h 466725"/>
                <a:gd name="connsiteX7" fmla="*/ 483965 w 533400"/>
                <a:gd name="connsiteY7" fmla="*/ 0 h 466725"/>
                <a:gd name="connsiteX8" fmla="*/ 0 w 533400"/>
                <a:gd name="connsiteY8" fmla="*/ 0 h 466725"/>
                <a:gd name="connsiteX9" fmla="*/ 0 w 533400"/>
                <a:gd name="connsiteY9" fmla="*/ 47034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400" h="466725">
                  <a:moveTo>
                    <a:pt x="298323" y="470249"/>
                  </a:moveTo>
                  <a:lnTo>
                    <a:pt x="297751" y="403384"/>
                  </a:lnTo>
                  <a:lnTo>
                    <a:pt x="397573" y="403384"/>
                  </a:lnTo>
                  <a:cubicBezTo>
                    <a:pt x="428054" y="403384"/>
                    <a:pt x="452819" y="378619"/>
                    <a:pt x="452819" y="348139"/>
                  </a:cubicBezTo>
                  <a:lnTo>
                    <a:pt x="452819" y="249174"/>
                  </a:lnTo>
                  <a:lnTo>
                    <a:pt x="539115" y="249174"/>
                  </a:lnTo>
                  <a:lnTo>
                    <a:pt x="483965" y="62293"/>
                  </a:lnTo>
                  <a:lnTo>
                    <a:pt x="483965" y="0"/>
                  </a:lnTo>
                  <a:lnTo>
                    <a:pt x="0" y="0"/>
                  </a:lnTo>
                  <a:lnTo>
                    <a:pt x="0" y="470345"/>
                  </a:lnTo>
                </a:path>
              </a:pathLst>
            </a:custGeom>
            <a:noFill/>
            <a:ln w="6350" cap="rnd">
              <a:solidFill>
                <a:srgbClr val="244655"/>
              </a:solidFill>
              <a:prstDash val="solid"/>
              <a:round/>
            </a:ln>
          </p:spPr>
          <p:txBody>
            <a:bodyPr rtlCol="0" anchor="ctr"/>
            <a:lstStyle/>
            <a:p>
              <a:endParaRPr lang="de-DE">
                <a:latin typeface="+mj-lt"/>
              </a:endParaRPr>
            </a:p>
          </p:txBody>
        </p:sp>
      </p:grpSp>
      <p:sp>
        <p:nvSpPr>
          <p:cNvPr id="82" name="Ellipse 15">
            <a:extLst>
              <a:ext uri="{FF2B5EF4-FFF2-40B4-BE49-F238E27FC236}">
                <a16:creationId xmlns:a16="http://schemas.microsoft.com/office/drawing/2014/main" id="{445E6735-F12C-61DB-3273-A9D18236F359}"/>
              </a:ext>
            </a:extLst>
          </p:cNvPr>
          <p:cNvSpPr/>
          <p:nvPr/>
        </p:nvSpPr>
        <p:spPr>
          <a:xfrm>
            <a:off x="4655848" y="2725317"/>
            <a:ext cx="523951" cy="516738"/>
          </a:xfrm>
          <a:prstGeom prst="ellipse">
            <a:avLst/>
          </a:prstGeom>
          <a:solidFill>
            <a:srgbClr val="F8F5E7"/>
          </a:solidFill>
          <a:ln w="12700" cap="flat" cmpd="sng" algn="ctr">
            <a:noFill/>
            <a:prstDash val="solid"/>
            <a:miter lim="800000"/>
          </a:ln>
          <a:effectLst/>
        </p:spPr>
        <p:txBody>
          <a:bodyPr lIns="0" tIns="0" rIns="0" bIns="0" rtlCol="0" anchor="ctr"/>
          <a:lstStyle/>
          <a:p>
            <a:pPr algn="ctr" defTabSz="914400">
              <a:lnSpc>
                <a:spcPct val="100000"/>
              </a:lnSpc>
              <a:spcAft>
                <a:spcPts val="0"/>
              </a:spcAft>
              <a:buNone/>
              <a:defRPr/>
            </a:pPr>
            <a:endParaRPr lang="en-GB" kern="0">
              <a:solidFill>
                <a:prstClr val="white"/>
              </a:solidFill>
              <a:latin typeface="+mj-lt"/>
              <a:ea typeface="Impact" charset="0"/>
              <a:cs typeface="Impact" charset="0"/>
            </a:endParaRPr>
          </a:p>
        </p:txBody>
      </p:sp>
      <p:grpSp>
        <p:nvGrpSpPr>
          <p:cNvPr id="83" name="Group 82">
            <a:extLst>
              <a:ext uri="{FF2B5EF4-FFF2-40B4-BE49-F238E27FC236}">
                <a16:creationId xmlns:a16="http://schemas.microsoft.com/office/drawing/2014/main" id="{0C6A8457-68D1-0845-C692-DE65A47F5E42}"/>
              </a:ext>
            </a:extLst>
          </p:cNvPr>
          <p:cNvGrpSpPr/>
          <p:nvPr/>
        </p:nvGrpSpPr>
        <p:grpSpPr>
          <a:xfrm>
            <a:off x="4786005" y="2855419"/>
            <a:ext cx="263636" cy="256535"/>
            <a:chOff x="2694919" y="954275"/>
            <a:chExt cx="444828" cy="432846"/>
          </a:xfrm>
        </p:grpSpPr>
        <p:grpSp>
          <p:nvGrpSpPr>
            <p:cNvPr id="84" name="Graphic 8">
              <a:extLst>
                <a:ext uri="{FF2B5EF4-FFF2-40B4-BE49-F238E27FC236}">
                  <a16:creationId xmlns:a16="http://schemas.microsoft.com/office/drawing/2014/main" id="{2548CEA5-0359-71CD-7130-2C708E239A7B}"/>
                </a:ext>
              </a:extLst>
            </p:cNvPr>
            <p:cNvGrpSpPr/>
            <p:nvPr/>
          </p:nvGrpSpPr>
          <p:grpSpPr>
            <a:xfrm>
              <a:off x="2765719" y="1078494"/>
              <a:ext cx="325713" cy="308570"/>
              <a:chOff x="3175129" y="1796927"/>
              <a:chExt cx="471321" cy="446514"/>
            </a:xfrm>
            <a:noFill/>
          </p:grpSpPr>
          <p:sp>
            <p:nvSpPr>
              <p:cNvPr id="92" name="Freeform: Shape 91">
                <a:extLst>
                  <a:ext uri="{FF2B5EF4-FFF2-40B4-BE49-F238E27FC236}">
                    <a16:creationId xmlns:a16="http://schemas.microsoft.com/office/drawing/2014/main" id="{7DBD5343-F69A-6611-BEBC-0B64B643FE4D}"/>
                  </a:ext>
                </a:extLst>
              </p:cNvPr>
              <p:cNvSpPr/>
              <p:nvPr/>
            </p:nvSpPr>
            <p:spPr>
              <a:xfrm>
                <a:off x="3519855" y="1877465"/>
                <a:ext cx="124032" cy="363826"/>
              </a:xfrm>
              <a:custGeom>
                <a:avLst/>
                <a:gdLst>
                  <a:gd name="connsiteX0" fmla="*/ 127339 w 124031"/>
                  <a:gd name="connsiteY0" fmla="*/ 371351 h 363826"/>
                  <a:gd name="connsiteX1" fmla="*/ 84921 w 124031"/>
                  <a:gd name="connsiteY1" fmla="*/ 194647 h 363826"/>
                  <a:gd name="connsiteX2" fmla="*/ 0 w 124031"/>
                  <a:gd name="connsiteY2" fmla="*/ 108900 h 363826"/>
                  <a:gd name="connsiteX3" fmla="*/ 55897 w 124031"/>
                  <a:gd name="connsiteY3" fmla="*/ 0 h 363826"/>
                </a:gdLst>
                <a:ahLst/>
                <a:cxnLst>
                  <a:cxn ang="0">
                    <a:pos x="connsiteX0" y="connsiteY0"/>
                  </a:cxn>
                  <a:cxn ang="0">
                    <a:pos x="connsiteX1" y="connsiteY1"/>
                  </a:cxn>
                  <a:cxn ang="0">
                    <a:pos x="connsiteX2" y="connsiteY2"/>
                  </a:cxn>
                  <a:cxn ang="0">
                    <a:pos x="connsiteX3" y="connsiteY3"/>
                  </a:cxn>
                </a:cxnLst>
                <a:rect l="l" t="t" r="r" b="b"/>
                <a:pathLst>
                  <a:path w="124031" h="363826">
                    <a:moveTo>
                      <a:pt x="127339" y="371351"/>
                    </a:moveTo>
                    <a:lnTo>
                      <a:pt x="84921" y="194647"/>
                    </a:lnTo>
                    <a:lnTo>
                      <a:pt x="0" y="108900"/>
                    </a:lnTo>
                    <a:lnTo>
                      <a:pt x="55897" y="0"/>
                    </a:lnTo>
                  </a:path>
                </a:pathLst>
              </a:custGeom>
              <a:noFill/>
              <a:ln w="6350" cap="rnd">
                <a:solidFill>
                  <a:srgbClr val="244655"/>
                </a:solidFill>
                <a:prstDash val="solid"/>
                <a:round/>
              </a:ln>
            </p:spPr>
            <p:txBody>
              <a:bodyPr rtlCol="0" anchor="ctr"/>
              <a:lstStyle/>
              <a:p>
                <a:endParaRPr lang="de-DE">
                  <a:latin typeface="+mj-lt"/>
                </a:endParaRPr>
              </a:p>
            </p:txBody>
          </p:sp>
          <p:sp>
            <p:nvSpPr>
              <p:cNvPr id="93" name="Freeform: Shape 92">
                <a:extLst>
                  <a:ext uri="{FF2B5EF4-FFF2-40B4-BE49-F238E27FC236}">
                    <a16:creationId xmlns:a16="http://schemas.microsoft.com/office/drawing/2014/main" id="{B61FF60D-3D0C-61A2-8FE6-3A41C158D742}"/>
                  </a:ext>
                </a:extLst>
              </p:cNvPr>
              <p:cNvSpPr/>
              <p:nvPr/>
            </p:nvSpPr>
            <p:spPr>
              <a:xfrm>
                <a:off x="3175129" y="1796927"/>
                <a:ext cx="297676" cy="281139"/>
              </a:xfrm>
              <a:custGeom>
                <a:avLst/>
                <a:gdLst>
                  <a:gd name="connsiteX0" fmla="*/ 297842 w 297676"/>
                  <a:gd name="connsiteY0" fmla="*/ 0 h 281138"/>
                  <a:gd name="connsiteX1" fmla="*/ 175216 w 297676"/>
                  <a:gd name="connsiteY1" fmla="*/ 251619 h 281138"/>
                  <a:gd name="connsiteX2" fmla="*/ 0 w 297676"/>
                  <a:gd name="connsiteY2" fmla="*/ 282710 h 281138"/>
                </a:gdLst>
                <a:ahLst/>
                <a:cxnLst>
                  <a:cxn ang="0">
                    <a:pos x="connsiteX0" y="connsiteY0"/>
                  </a:cxn>
                  <a:cxn ang="0">
                    <a:pos x="connsiteX1" y="connsiteY1"/>
                  </a:cxn>
                  <a:cxn ang="0">
                    <a:pos x="connsiteX2" y="connsiteY2"/>
                  </a:cxn>
                </a:cxnLst>
                <a:rect l="l" t="t" r="r" b="b"/>
                <a:pathLst>
                  <a:path w="297676" h="281138">
                    <a:moveTo>
                      <a:pt x="297842" y="0"/>
                    </a:moveTo>
                    <a:lnTo>
                      <a:pt x="175216" y="251619"/>
                    </a:lnTo>
                    <a:lnTo>
                      <a:pt x="0" y="282710"/>
                    </a:lnTo>
                  </a:path>
                </a:pathLst>
              </a:custGeom>
              <a:noFill/>
              <a:ln w="6350" cap="rnd">
                <a:solidFill>
                  <a:srgbClr val="244655"/>
                </a:solidFill>
                <a:prstDash val="solid"/>
                <a:round/>
              </a:ln>
            </p:spPr>
            <p:txBody>
              <a:bodyPr rtlCol="0" anchor="ctr"/>
              <a:lstStyle/>
              <a:p>
                <a:endParaRPr lang="de-DE">
                  <a:latin typeface="+mj-lt"/>
                </a:endParaRPr>
              </a:p>
            </p:txBody>
          </p:sp>
        </p:grpSp>
        <p:sp>
          <p:nvSpPr>
            <p:cNvPr id="85" name="Freeform: Shape 84">
              <a:extLst>
                <a:ext uri="{FF2B5EF4-FFF2-40B4-BE49-F238E27FC236}">
                  <a16:creationId xmlns:a16="http://schemas.microsoft.com/office/drawing/2014/main" id="{5C837F4B-E0F1-89B2-2E7C-E958F12AF02B}"/>
                </a:ext>
              </a:extLst>
            </p:cNvPr>
            <p:cNvSpPr/>
            <p:nvPr/>
          </p:nvSpPr>
          <p:spPr>
            <a:xfrm>
              <a:off x="2770062" y="1232836"/>
              <a:ext cx="279998" cy="154285"/>
            </a:xfrm>
            <a:custGeom>
              <a:avLst/>
              <a:gdLst>
                <a:gd name="connsiteX0" fmla="*/ 0 w 405170"/>
                <a:gd name="connsiteY0" fmla="*/ 117913 h 223257"/>
                <a:gd name="connsiteX1" fmla="*/ 204818 w 405170"/>
                <a:gd name="connsiteY1" fmla="*/ 83845 h 223257"/>
                <a:gd name="connsiteX2" fmla="*/ 271216 w 405170"/>
                <a:gd name="connsiteY2" fmla="*/ 0 h 223257"/>
                <a:gd name="connsiteX3" fmla="*/ 359444 w 405170"/>
                <a:gd name="connsiteY3" fmla="*/ 77644 h 223257"/>
                <a:gd name="connsiteX4" fmla="*/ 407237 w 405170"/>
                <a:gd name="connsiteY4" fmla="*/ 228549 h 223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170" h="223257">
                  <a:moveTo>
                    <a:pt x="0" y="117913"/>
                  </a:moveTo>
                  <a:lnTo>
                    <a:pt x="204818" y="83845"/>
                  </a:lnTo>
                  <a:lnTo>
                    <a:pt x="271216" y="0"/>
                  </a:lnTo>
                  <a:lnTo>
                    <a:pt x="359444" y="77644"/>
                  </a:lnTo>
                  <a:lnTo>
                    <a:pt x="407237" y="228549"/>
                  </a:lnTo>
                </a:path>
              </a:pathLst>
            </a:custGeom>
            <a:noFill/>
            <a:ln w="6350" cap="rnd">
              <a:solidFill>
                <a:srgbClr val="244655"/>
              </a:solidFill>
              <a:prstDash val="solid"/>
              <a:round/>
            </a:ln>
          </p:spPr>
          <p:txBody>
            <a:bodyPr rtlCol="0" anchor="ctr"/>
            <a:lstStyle/>
            <a:p>
              <a:endParaRPr lang="de-DE">
                <a:latin typeface="+mj-lt"/>
              </a:endParaRPr>
            </a:p>
          </p:txBody>
        </p:sp>
        <p:sp>
          <p:nvSpPr>
            <p:cNvPr id="86" name="Freeform: Shape 85">
              <a:extLst>
                <a:ext uri="{FF2B5EF4-FFF2-40B4-BE49-F238E27FC236}">
                  <a16:creationId xmlns:a16="http://schemas.microsoft.com/office/drawing/2014/main" id="{7AACCE61-94AC-37AA-4D62-C19A34F2534C}"/>
                </a:ext>
              </a:extLst>
            </p:cNvPr>
            <p:cNvSpPr/>
            <p:nvPr/>
          </p:nvSpPr>
          <p:spPr>
            <a:xfrm>
              <a:off x="2905462" y="1033423"/>
              <a:ext cx="234285" cy="165714"/>
            </a:xfrm>
            <a:custGeom>
              <a:avLst/>
              <a:gdLst>
                <a:gd name="connsiteX0" fmla="*/ 344518 w 339020"/>
                <a:gd name="connsiteY0" fmla="*/ 242751 h 239794"/>
                <a:gd name="connsiteX1" fmla="*/ 241985 w 339020"/>
                <a:gd name="connsiteY1" fmla="*/ 135918 h 239794"/>
                <a:gd name="connsiteX2" fmla="*/ 202874 w 339020"/>
                <a:gd name="connsiteY2" fmla="*/ 30243 h 239794"/>
                <a:gd name="connsiteX3" fmla="*/ 151525 w 339020"/>
                <a:gd name="connsiteY3" fmla="*/ 5685 h 239794"/>
                <a:gd name="connsiteX4" fmla="*/ 16744 w 339020"/>
                <a:gd name="connsiteY4" fmla="*/ 60507 h 239794"/>
                <a:gd name="connsiteX5" fmla="*/ 7565 w 339020"/>
                <a:gd name="connsiteY5" fmla="*/ 179825 h 23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020" h="239794">
                  <a:moveTo>
                    <a:pt x="344518" y="242751"/>
                  </a:moveTo>
                  <a:cubicBezTo>
                    <a:pt x="218668" y="242751"/>
                    <a:pt x="241985" y="135918"/>
                    <a:pt x="241985" y="135918"/>
                  </a:cubicBezTo>
                  <a:cubicBezTo>
                    <a:pt x="253562" y="81592"/>
                    <a:pt x="239091" y="47525"/>
                    <a:pt x="202874" y="30243"/>
                  </a:cubicBezTo>
                  <a:lnTo>
                    <a:pt x="151525" y="5685"/>
                  </a:lnTo>
                  <a:cubicBezTo>
                    <a:pt x="96372" y="-17799"/>
                    <a:pt x="32951" y="37602"/>
                    <a:pt x="16744" y="60507"/>
                  </a:cubicBezTo>
                  <a:cubicBezTo>
                    <a:pt x="-6988" y="94078"/>
                    <a:pt x="-1034" y="125003"/>
                    <a:pt x="7565" y="179825"/>
                  </a:cubicBezTo>
                </a:path>
              </a:pathLst>
            </a:custGeom>
            <a:noFill/>
            <a:ln w="6350" cap="rnd">
              <a:solidFill>
                <a:srgbClr val="244655"/>
              </a:solidFill>
              <a:prstDash val="solid"/>
              <a:round/>
            </a:ln>
          </p:spPr>
          <p:txBody>
            <a:bodyPr rtlCol="0" anchor="ctr"/>
            <a:lstStyle/>
            <a:p>
              <a:endParaRPr lang="de-DE">
                <a:latin typeface="+mj-lt"/>
              </a:endParaRPr>
            </a:p>
          </p:txBody>
        </p:sp>
        <p:sp>
          <p:nvSpPr>
            <p:cNvPr id="87" name="Freeform: Shape 86">
              <a:extLst>
                <a:ext uri="{FF2B5EF4-FFF2-40B4-BE49-F238E27FC236}">
                  <a16:creationId xmlns:a16="http://schemas.microsoft.com/office/drawing/2014/main" id="{49AE47EC-E45B-BE9A-77E4-5C331C2ADEFB}"/>
                </a:ext>
              </a:extLst>
            </p:cNvPr>
            <p:cNvSpPr/>
            <p:nvPr/>
          </p:nvSpPr>
          <p:spPr>
            <a:xfrm>
              <a:off x="3016404" y="954275"/>
              <a:ext cx="74285" cy="91429"/>
            </a:xfrm>
            <a:custGeom>
              <a:avLst/>
              <a:gdLst>
                <a:gd name="connsiteX0" fmla="*/ 0 w 107494"/>
                <a:gd name="connsiteY0" fmla="*/ 53155 h 132300"/>
                <a:gd name="connsiteX1" fmla="*/ 73096 w 107494"/>
                <a:gd name="connsiteY1" fmla="*/ 3294 h 132300"/>
                <a:gd name="connsiteX2" fmla="*/ 100631 w 107494"/>
                <a:gd name="connsiteY2" fmla="*/ 87387 h 132300"/>
                <a:gd name="connsiteX3" fmla="*/ 27535 w 107494"/>
                <a:gd name="connsiteY3" fmla="*/ 137248 h 132300"/>
                <a:gd name="connsiteX4" fmla="*/ 24310 w 107494"/>
                <a:gd name="connsiteY4" fmla="*/ 136090 h 13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4" h="132300">
                  <a:moveTo>
                    <a:pt x="0" y="53155"/>
                  </a:moveTo>
                  <a:cubicBezTo>
                    <a:pt x="9261" y="15201"/>
                    <a:pt x="36383" y="-9192"/>
                    <a:pt x="73096" y="3294"/>
                  </a:cubicBezTo>
                  <a:cubicBezTo>
                    <a:pt x="109727" y="15780"/>
                    <a:pt x="116425" y="51583"/>
                    <a:pt x="100631" y="87387"/>
                  </a:cubicBezTo>
                  <a:cubicBezTo>
                    <a:pt x="82853" y="127739"/>
                    <a:pt x="48703" y="144442"/>
                    <a:pt x="27535" y="137248"/>
                  </a:cubicBezTo>
                  <a:lnTo>
                    <a:pt x="24310" y="136090"/>
                  </a:lnTo>
                </a:path>
              </a:pathLst>
            </a:custGeom>
            <a:noFill/>
            <a:ln w="6350" cap="rnd">
              <a:solidFill>
                <a:srgbClr val="244655"/>
              </a:solidFill>
              <a:prstDash val="solid"/>
              <a:round/>
            </a:ln>
          </p:spPr>
          <p:txBody>
            <a:bodyPr rtlCol="0" anchor="ctr"/>
            <a:lstStyle/>
            <a:p>
              <a:endParaRPr lang="de-DE">
                <a:latin typeface="+mj-lt"/>
              </a:endParaRPr>
            </a:p>
          </p:txBody>
        </p:sp>
        <p:sp>
          <p:nvSpPr>
            <p:cNvPr id="88" name="Freeform: Shape 87">
              <a:extLst>
                <a:ext uri="{FF2B5EF4-FFF2-40B4-BE49-F238E27FC236}">
                  <a16:creationId xmlns:a16="http://schemas.microsoft.com/office/drawing/2014/main" id="{597D62C1-F075-11BB-9E09-900D30181C34}"/>
                </a:ext>
              </a:extLst>
            </p:cNvPr>
            <p:cNvSpPr/>
            <p:nvPr/>
          </p:nvSpPr>
          <p:spPr>
            <a:xfrm>
              <a:off x="2796062" y="1055637"/>
              <a:ext cx="80000" cy="5714"/>
            </a:xfrm>
            <a:custGeom>
              <a:avLst/>
              <a:gdLst>
                <a:gd name="connsiteX0" fmla="*/ 0 w 115762"/>
                <a:gd name="connsiteY0" fmla="*/ 0 h 0"/>
                <a:gd name="connsiteX1" fmla="*/ 119897 w 115762"/>
                <a:gd name="connsiteY1" fmla="*/ 0 h 0"/>
              </a:gdLst>
              <a:ahLst/>
              <a:cxnLst>
                <a:cxn ang="0">
                  <a:pos x="connsiteX0" y="connsiteY0"/>
                </a:cxn>
                <a:cxn ang="0">
                  <a:pos x="connsiteX1" y="connsiteY1"/>
                </a:cxn>
              </a:cxnLst>
              <a:rect l="l" t="t" r="r" b="b"/>
              <a:pathLst>
                <a:path w="115762">
                  <a:moveTo>
                    <a:pt x="0" y="0"/>
                  </a:moveTo>
                  <a:lnTo>
                    <a:pt x="119897" y="0"/>
                  </a:lnTo>
                </a:path>
              </a:pathLst>
            </a:custGeom>
            <a:ln w="6350" cap="rnd">
              <a:solidFill>
                <a:srgbClr val="244655"/>
              </a:solidFill>
              <a:prstDash val="solid"/>
              <a:round/>
            </a:ln>
          </p:spPr>
          <p:txBody>
            <a:bodyPr rtlCol="0" anchor="ctr"/>
            <a:lstStyle/>
            <a:p>
              <a:endParaRPr lang="de-DE">
                <a:latin typeface="+mj-lt"/>
              </a:endParaRPr>
            </a:p>
          </p:txBody>
        </p:sp>
        <p:sp>
          <p:nvSpPr>
            <p:cNvPr id="89" name="Freeform: Shape 88">
              <a:extLst>
                <a:ext uri="{FF2B5EF4-FFF2-40B4-BE49-F238E27FC236}">
                  <a16:creationId xmlns:a16="http://schemas.microsoft.com/office/drawing/2014/main" id="{58DB4BCE-66DE-084B-B49E-6D87F77AD816}"/>
                </a:ext>
              </a:extLst>
            </p:cNvPr>
            <p:cNvSpPr/>
            <p:nvPr/>
          </p:nvSpPr>
          <p:spPr>
            <a:xfrm>
              <a:off x="2694919" y="1169008"/>
              <a:ext cx="108571" cy="5714"/>
            </a:xfrm>
            <a:custGeom>
              <a:avLst/>
              <a:gdLst>
                <a:gd name="connsiteX0" fmla="*/ 0 w 157106"/>
                <a:gd name="connsiteY0" fmla="*/ 0 h 0"/>
                <a:gd name="connsiteX1" fmla="*/ 164632 w 157106"/>
                <a:gd name="connsiteY1" fmla="*/ 0 h 0"/>
              </a:gdLst>
              <a:ahLst/>
              <a:cxnLst>
                <a:cxn ang="0">
                  <a:pos x="connsiteX0" y="connsiteY0"/>
                </a:cxn>
                <a:cxn ang="0">
                  <a:pos x="connsiteX1" y="connsiteY1"/>
                </a:cxn>
              </a:cxnLst>
              <a:rect l="l" t="t" r="r" b="b"/>
              <a:pathLst>
                <a:path w="157106">
                  <a:moveTo>
                    <a:pt x="0" y="0"/>
                  </a:moveTo>
                  <a:lnTo>
                    <a:pt x="164632" y="0"/>
                  </a:lnTo>
                </a:path>
              </a:pathLst>
            </a:custGeom>
            <a:ln w="6350" cap="rnd">
              <a:solidFill>
                <a:srgbClr val="244655"/>
              </a:solidFill>
              <a:prstDash val="solid"/>
              <a:round/>
            </a:ln>
          </p:spPr>
          <p:txBody>
            <a:bodyPr rtlCol="0" anchor="ctr"/>
            <a:lstStyle/>
            <a:p>
              <a:endParaRPr lang="de-DE">
                <a:latin typeface="+mj-lt"/>
              </a:endParaRPr>
            </a:p>
          </p:txBody>
        </p:sp>
        <p:sp>
          <p:nvSpPr>
            <p:cNvPr id="90" name="Freeform: Shape 89">
              <a:extLst>
                <a:ext uri="{FF2B5EF4-FFF2-40B4-BE49-F238E27FC236}">
                  <a16:creationId xmlns:a16="http://schemas.microsoft.com/office/drawing/2014/main" id="{AAAFBEAD-F573-E24F-EB5C-D12FBBF5922C}"/>
                </a:ext>
              </a:extLst>
            </p:cNvPr>
            <p:cNvSpPr/>
            <p:nvPr/>
          </p:nvSpPr>
          <p:spPr>
            <a:xfrm>
              <a:off x="2750462" y="1135179"/>
              <a:ext cx="114285" cy="5714"/>
            </a:xfrm>
            <a:custGeom>
              <a:avLst/>
              <a:gdLst>
                <a:gd name="connsiteX0" fmla="*/ 0 w 165375"/>
                <a:gd name="connsiteY0" fmla="*/ 0 h 0"/>
                <a:gd name="connsiteX1" fmla="*/ 169758 w 165375"/>
                <a:gd name="connsiteY1" fmla="*/ 0 h 0"/>
              </a:gdLst>
              <a:ahLst/>
              <a:cxnLst>
                <a:cxn ang="0">
                  <a:pos x="connsiteX0" y="connsiteY0"/>
                </a:cxn>
                <a:cxn ang="0">
                  <a:pos x="connsiteX1" y="connsiteY1"/>
                </a:cxn>
              </a:cxnLst>
              <a:rect l="l" t="t" r="r" b="b"/>
              <a:pathLst>
                <a:path w="165375">
                  <a:moveTo>
                    <a:pt x="0" y="0"/>
                  </a:moveTo>
                  <a:lnTo>
                    <a:pt x="169758" y="0"/>
                  </a:lnTo>
                </a:path>
              </a:pathLst>
            </a:custGeom>
            <a:ln w="6350" cap="rnd">
              <a:solidFill>
                <a:srgbClr val="244655"/>
              </a:solidFill>
              <a:prstDash val="solid"/>
              <a:round/>
            </a:ln>
          </p:spPr>
          <p:txBody>
            <a:bodyPr rtlCol="0" anchor="ctr"/>
            <a:lstStyle/>
            <a:p>
              <a:endParaRPr lang="de-DE">
                <a:latin typeface="+mj-lt"/>
              </a:endParaRPr>
            </a:p>
          </p:txBody>
        </p:sp>
        <p:sp>
          <p:nvSpPr>
            <p:cNvPr id="91" name="Freeform: Shape 90">
              <a:extLst>
                <a:ext uri="{FF2B5EF4-FFF2-40B4-BE49-F238E27FC236}">
                  <a16:creationId xmlns:a16="http://schemas.microsoft.com/office/drawing/2014/main" id="{02DDE880-0A73-5FEF-6515-82449B4D642D}"/>
                </a:ext>
              </a:extLst>
            </p:cNvPr>
            <p:cNvSpPr/>
            <p:nvPr/>
          </p:nvSpPr>
          <p:spPr>
            <a:xfrm>
              <a:off x="2747433" y="1021809"/>
              <a:ext cx="142857" cy="5714"/>
            </a:xfrm>
            <a:custGeom>
              <a:avLst/>
              <a:gdLst>
                <a:gd name="connsiteX0" fmla="*/ 0 w 206719"/>
                <a:gd name="connsiteY0" fmla="*/ 0 h 0"/>
                <a:gd name="connsiteX1" fmla="*/ 210358 w 206719"/>
                <a:gd name="connsiteY1" fmla="*/ 0 h 0"/>
              </a:gdLst>
              <a:ahLst/>
              <a:cxnLst>
                <a:cxn ang="0">
                  <a:pos x="connsiteX0" y="connsiteY0"/>
                </a:cxn>
                <a:cxn ang="0">
                  <a:pos x="connsiteX1" y="connsiteY1"/>
                </a:cxn>
              </a:cxnLst>
              <a:rect l="l" t="t" r="r" b="b"/>
              <a:pathLst>
                <a:path w="206719">
                  <a:moveTo>
                    <a:pt x="0" y="0"/>
                  </a:moveTo>
                  <a:lnTo>
                    <a:pt x="210358" y="0"/>
                  </a:lnTo>
                </a:path>
              </a:pathLst>
            </a:custGeom>
            <a:ln w="6350" cap="rnd">
              <a:solidFill>
                <a:srgbClr val="244655"/>
              </a:solidFill>
              <a:prstDash val="solid"/>
              <a:round/>
            </a:ln>
          </p:spPr>
          <p:txBody>
            <a:bodyPr rtlCol="0" anchor="ctr"/>
            <a:lstStyle/>
            <a:p>
              <a:endParaRPr lang="de-DE">
                <a:latin typeface="+mj-lt"/>
              </a:endParaRPr>
            </a:p>
          </p:txBody>
        </p:sp>
      </p:grpSp>
      <p:sp>
        <p:nvSpPr>
          <p:cNvPr id="65" name="Ellipse 15">
            <a:extLst>
              <a:ext uri="{FF2B5EF4-FFF2-40B4-BE49-F238E27FC236}">
                <a16:creationId xmlns:a16="http://schemas.microsoft.com/office/drawing/2014/main" id="{A59650AD-F4B3-D7D9-49CA-36896F63F70B}"/>
              </a:ext>
            </a:extLst>
          </p:cNvPr>
          <p:cNvSpPr/>
          <p:nvPr/>
        </p:nvSpPr>
        <p:spPr>
          <a:xfrm>
            <a:off x="3852388" y="3176164"/>
            <a:ext cx="523951" cy="516738"/>
          </a:xfrm>
          <a:prstGeom prst="ellipse">
            <a:avLst/>
          </a:prstGeom>
          <a:solidFill>
            <a:srgbClr val="244655"/>
          </a:solidFill>
          <a:ln w="12700" cap="flat" cmpd="sng" algn="ctr">
            <a:noFill/>
            <a:prstDash val="solid"/>
            <a:miter lim="800000"/>
          </a:ln>
          <a:effectLst/>
        </p:spPr>
        <p:txBody>
          <a:bodyPr lIns="0" tIns="0" rIns="0" bIns="0" rtlCol="0" anchor="ctr"/>
          <a:lstStyle/>
          <a:p>
            <a:pPr algn="ctr" defTabSz="914400">
              <a:lnSpc>
                <a:spcPct val="100000"/>
              </a:lnSpc>
              <a:spcAft>
                <a:spcPts val="0"/>
              </a:spcAft>
              <a:buNone/>
              <a:defRPr/>
            </a:pPr>
            <a:endParaRPr lang="en-GB" kern="0">
              <a:solidFill>
                <a:prstClr val="white"/>
              </a:solidFill>
              <a:latin typeface="+mj-lt"/>
              <a:ea typeface="Impact" charset="0"/>
              <a:cs typeface="Impact" charset="0"/>
            </a:endParaRPr>
          </a:p>
        </p:txBody>
      </p:sp>
      <p:grpSp>
        <p:nvGrpSpPr>
          <p:cNvPr id="66" name="Group 65">
            <a:extLst>
              <a:ext uri="{FF2B5EF4-FFF2-40B4-BE49-F238E27FC236}">
                <a16:creationId xmlns:a16="http://schemas.microsoft.com/office/drawing/2014/main" id="{7B3646C0-BA62-AB28-1B9E-A6CA284BD61B}"/>
              </a:ext>
            </a:extLst>
          </p:cNvPr>
          <p:cNvGrpSpPr/>
          <p:nvPr/>
        </p:nvGrpSpPr>
        <p:grpSpPr>
          <a:xfrm>
            <a:off x="3935799" y="3278604"/>
            <a:ext cx="357128" cy="334454"/>
            <a:chOff x="4645637" y="5025448"/>
            <a:chExt cx="500063" cy="468313"/>
          </a:xfrm>
        </p:grpSpPr>
        <p:sp>
          <p:nvSpPr>
            <p:cNvPr id="67" name="Line 200">
              <a:extLst>
                <a:ext uri="{FF2B5EF4-FFF2-40B4-BE49-F238E27FC236}">
                  <a16:creationId xmlns:a16="http://schemas.microsoft.com/office/drawing/2014/main" id="{5F61DCC0-C5B9-BCCC-C34D-4AA8325E6598}"/>
                </a:ext>
              </a:extLst>
            </p:cNvPr>
            <p:cNvSpPr>
              <a:spLocks noChangeShapeType="1"/>
            </p:cNvSpPr>
            <p:nvPr/>
          </p:nvSpPr>
          <p:spPr bwMode="auto">
            <a:xfrm>
              <a:off x="4645637" y="5273098"/>
              <a:ext cx="500063"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68" name="Line 201">
              <a:extLst>
                <a:ext uri="{FF2B5EF4-FFF2-40B4-BE49-F238E27FC236}">
                  <a16:creationId xmlns:a16="http://schemas.microsoft.com/office/drawing/2014/main" id="{3DD607BF-B107-8745-A4FE-96A5C4469E95}"/>
                </a:ext>
              </a:extLst>
            </p:cNvPr>
            <p:cNvSpPr>
              <a:spLocks noChangeShapeType="1"/>
            </p:cNvSpPr>
            <p:nvPr/>
          </p:nvSpPr>
          <p:spPr bwMode="auto">
            <a:xfrm flipV="1">
              <a:off x="4717075" y="5219123"/>
              <a:ext cx="4763" cy="4445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69" name="Line 202">
              <a:extLst>
                <a:ext uri="{FF2B5EF4-FFF2-40B4-BE49-F238E27FC236}">
                  <a16:creationId xmlns:a16="http://schemas.microsoft.com/office/drawing/2014/main" id="{A0A28BC5-0BD7-43C5-07FB-AD8EB2420922}"/>
                </a:ext>
              </a:extLst>
            </p:cNvPr>
            <p:cNvSpPr>
              <a:spLocks noChangeShapeType="1"/>
            </p:cNvSpPr>
            <p:nvPr/>
          </p:nvSpPr>
          <p:spPr bwMode="auto">
            <a:xfrm>
              <a:off x="4829787" y="5219123"/>
              <a:ext cx="4763" cy="4445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0" name="Freeform 203">
              <a:extLst>
                <a:ext uri="{FF2B5EF4-FFF2-40B4-BE49-F238E27FC236}">
                  <a16:creationId xmlns:a16="http://schemas.microsoft.com/office/drawing/2014/main" id="{8D8991F2-F25D-78A7-3604-E27ED54E9E60}"/>
                </a:ext>
              </a:extLst>
            </p:cNvPr>
            <p:cNvSpPr>
              <a:spLocks/>
            </p:cNvSpPr>
            <p:nvPr/>
          </p:nvSpPr>
          <p:spPr bwMode="auto">
            <a:xfrm>
              <a:off x="4663100" y="5133398"/>
              <a:ext cx="220663" cy="198438"/>
            </a:xfrm>
            <a:custGeom>
              <a:avLst/>
              <a:gdLst>
                <a:gd name="T0" fmla="*/ 46 w 49"/>
                <a:gd name="T1" fmla="*/ 44 h 44"/>
                <a:gd name="T2" fmla="*/ 46 w 49"/>
                <a:gd name="T3" fmla="*/ 12 h 44"/>
                <a:gd name="T4" fmla="*/ 32 w 49"/>
                <a:gd name="T5" fmla="*/ 0 h 44"/>
                <a:gd name="T6" fmla="*/ 18 w 49"/>
                <a:gd name="T7" fmla="*/ 0 h 44"/>
                <a:gd name="T8" fmla="*/ 4 w 49"/>
                <a:gd name="T9" fmla="*/ 14 h 44"/>
                <a:gd name="T10" fmla="*/ 0 w 49"/>
                <a:gd name="T11" fmla="*/ 43 h 44"/>
              </a:gdLst>
              <a:ahLst/>
              <a:cxnLst>
                <a:cxn ang="0">
                  <a:pos x="T0" y="T1"/>
                </a:cxn>
                <a:cxn ang="0">
                  <a:pos x="T2" y="T3"/>
                </a:cxn>
                <a:cxn ang="0">
                  <a:pos x="T4" y="T5"/>
                </a:cxn>
                <a:cxn ang="0">
                  <a:pos x="T6" y="T7"/>
                </a:cxn>
                <a:cxn ang="0">
                  <a:pos x="T8" y="T9"/>
                </a:cxn>
                <a:cxn ang="0">
                  <a:pos x="T10" y="T11"/>
                </a:cxn>
              </a:cxnLst>
              <a:rect l="0" t="0" r="r" b="b"/>
              <a:pathLst>
                <a:path w="49" h="44">
                  <a:moveTo>
                    <a:pt x="46" y="44"/>
                  </a:moveTo>
                  <a:cubicBezTo>
                    <a:pt x="49" y="36"/>
                    <a:pt x="48" y="24"/>
                    <a:pt x="46" y="12"/>
                  </a:cubicBezTo>
                  <a:cubicBezTo>
                    <a:pt x="45" y="5"/>
                    <a:pt x="40" y="0"/>
                    <a:pt x="32" y="0"/>
                  </a:cubicBezTo>
                  <a:cubicBezTo>
                    <a:pt x="18" y="0"/>
                    <a:pt x="18" y="0"/>
                    <a:pt x="18" y="0"/>
                  </a:cubicBezTo>
                  <a:cubicBezTo>
                    <a:pt x="10" y="0"/>
                    <a:pt x="4" y="4"/>
                    <a:pt x="4" y="14"/>
                  </a:cubicBezTo>
                  <a:cubicBezTo>
                    <a:pt x="4" y="25"/>
                    <a:pt x="2" y="35"/>
                    <a:pt x="0" y="43"/>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1" name="Line 204">
              <a:extLst>
                <a:ext uri="{FF2B5EF4-FFF2-40B4-BE49-F238E27FC236}">
                  <a16:creationId xmlns:a16="http://schemas.microsoft.com/office/drawing/2014/main" id="{D317F1DB-7A25-7C04-378D-70A2611F7065}"/>
                </a:ext>
              </a:extLst>
            </p:cNvPr>
            <p:cNvSpPr>
              <a:spLocks noChangeShapeType="1"/>
            </p:cNvSpPr>
            <p:nvPr/>
          </p:nvSpPr>
          <p:spPr bwMode="auto">
            <a:xfrm>
              <a:off x="4807562" y="5106411"/>
              <a:ext cx="0"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2" name="Freeform 206">
              <a:extLst>
                <a:ext uri="{FF2B5EF4-FFF2-40B4-BE49-F238E27FC236}">
                  <a16:creationId xmlns:a16="http://schemas.microsoft.com/office/drawing/2014/main" id="{B902F460-2883-C4B5-A0EC-5D6E0C6E8EB1}"/>
                </a:ext>
              </a:extLst>
            </p:cNvPr>
            <p:cNvSpPr>
              <a:spLocks/>
            </p:cNvSpPr>
            <p:nvPr/>
          </p:nvSpPr>
          <p:spPr bwMode="auto">
            <a:xfrm>
              <a:off x="4731362" y="5025448"/>
              <a:ext cx="88900" cy="107950"/>
            </a:xfrm>
            <a:custGeom>
              <a:avLst/>
              <a:gdLst>
                <a:gd name="T0" fmla="*/ 10 w 20"/>
                <a:gd name="T1" fmla="*/ 24 h 24"/>
                <a:gd name="T2" fmla="*/ 1 w 20"/>
                <a:gd name="T3" fmla="*/ 12 h 24"/>
                <a:gd name="T4" fmla="*/ 10 w 20"/>
                <a:gd name="T5" fmla="*/ 0 h 24"/>
                <a:gd name="T6" fmla="*/ 19 w 20"/>
                <a:gd name="T7" fmla="*/ 12 h 24"/>
                <a:gd name="T8" fmla="*/ 18 w 20"/>
                <a:gd name="T9" fmla="*/ 18 h 24"/>
              </a:gdLst>
              <a:ahLst/>
              <a:cxnLst>
                <a:cxn ang="0">
                  <a:pos x="T0" y="T1"/>
                </a:cxn>
                <a:cxn ang="0">
                  <a:pos x="T2" y="T3"/>
                </a:cxn>
                <a:cxn ang="0">
                  <a:pos x="T4" y="T5"/>
                </a:cxn>
                <a:cxn ang="0">
                  <a:pos x="T6" y="T7"/>
                </a:cxn>
                <a:cxn ang="0">
                  <a:pos x="T8" y="T9"/>
                </a:cxn>
              </a:cxnLst>
              <a:rect l="0" t="0" r="r" b="b"/>
              <a:pathLst>
                <a:path w="20" h="24">
                  <a:moveTo>
                    <a:pt x="10" y="24"/>
                  </a:moveTo>
                  <a:cubicBezTo>
                    <a:pt x="6" y="24"/>
                    <a:pt x="2" y="19"/>
                    <a:pt x="1" y="12"/>
                  </a:cubicBezTo>
                  <a:cubicBezTo>
                    <a:pt x="0" y="5"/>
                    <a:pt x="3" y="0"/>
                    <a:pt x="10" y="0"/>
                  </a:cubicBezTo>
                  <a:cubicBezTo>
                    <a:pt x="17" y="0"/>
                    <a:pt x="20" y="5"/>
                    <a:pt x="19" y="12"/>
                  </a:cubicBezTo>
                  <a:cubicBezTo>
                    <a:pt x="19" y="14"/>
                    <a:pt x="18" y="16"/>
                    <a:pt x="18" y="18"/>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3" name="Line 207">
              <a:extLst>
                <a:ext uri="{FF2B5EF4-FFF2-40B4-BE49-F238E27FC236}">
                  <a16:creationId xmlns:a16="http://schemas.microsoft.com/office/drawing/2014/main" id="{E1BA579F-9F62-D1DA-424A-ADADA8D507BB}"/>
                </a:ext>
              </a:extLst>
            </p:cNvPr>
            <p:cNvSpPr>
              <a:spLocks noChangeShapeType="1"/>
            </p:cNvSpPr>
            <p:nvPr/>
          </p:nvSpPr>
          <p:spPr bwMode="auto">
            <a:xfrm flipV="1">
              <a:off x="4947262" y="5219123"/>
              <a:ext cx="4763" cy="4445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4" name="Line 208">
              <a:extLst>
                <a:ext uri="{FF2B5EF4-FFF2-40B4-BE49-F238E27FC236}">
                  <a16:creationId xmlns:a16="http://schemas.microsoft.com/office/drawing/2014/main" id="{269374EE-4939-E6D0-A64A-43F9DAAB97D9}"/>
                </a:ext>
              </a:extLst>
            </p:cNvPr>
            <p:cNvSpPr>
              <a:spLocks noChangeShapeType="1"/>
            </p:cNvSpPr>
            <p:nvPr/>
          </p:nvSpPr>
          <p:spPr bwMode="auto">
            <a:xfrm>
              <a:off x="5059975" y="5219123"/>
              <a:ext cx="4763" cy="4445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5" name="Freeform 209">
              <a:extLst>
                <a:ext uri="{FF2B5EF4-FFF2-40B4-BE49-F238E27FC236}">
                  <a16:creationId xmlns:a16="http://schemas.microsoft.com/office/drawing/2014/main" id="{73477C6D-29B7-6BD8-814C-DBA8919860B4}"/>
                </a:ext>
              </a:extLst>
            </p:cNvPr>
            <p:cNvSpPr>
              <a:spLocks/>
            </p:cNvSpPr>
            <p:nvPr/>
          </p:nvSpPr>
          <p:spPr bwMode="auto">
            <a:xfrm>
              <a:off x="4901225" y="5133398"/>
              <a:ext cx="212725" cy="203200"/>
            </a:xfrm>
            <a:custGeom>
              <a:avLst/>
              <a:gdLst>
                <a:gd name="T0" fmla="*/ 43 w 47"/>
                <a:gd name="T1" fmla="*/ 45 h 45"/>
                <a:gd name="T2" fmla="*/ 44 w 47"/>
                <a:gd name="T3" fmla="*/ 13 h 45"/>
                <a:gd name="T4" fmla="*/ 30 w 47"/>
                <a:gd name="T5" fmla="*/ 0 h 45"/>
                <a:gd name="T6" fmla="*/ 17 w 47"/>
                <a:gd name="T7" fmla="*/ 0 h 45"/>
                <a:gd name="T8" fmla="*/ 2 w 47"/>
                <a:gd name="T9" fmla="*/ 14 h 45"/>
                <a:gd name="T10" fmla="*/ 6 w 47"/>
                <a:gd name="T11" fmla="*/ 45 h 45"/>
              </a:gdLst>
              <a:ahLst/>
              <a:cxnLst>
                <a:cxn ang="0">
                  <a:pos x="T0" y="T1"/>
                </a:cxn>
                <a:cxn ang="0">
                  <a:pos x="T2" y="T3"/>
                </a:cxn>
                <a:cxn ang="0">
                  <a:pos x="T4" y="T5"/>
                </a:cxn>
                <a:cxn ang="0">
                  <a:pos x="T6" y="T7"/>
                </a:cxn>
                <a:cxn ang="0">
                  <a:pos x="T8" y="T9"/>
                </a:cxn>
                <a:cxn ang="0">
                  <a:pos x="T10" y="T11"/>
                </a:cxn>
              </a:cxnLst>
              <a:rect l="0" t="0" r="r" b="b"/>
              <a:pathLst>
                <a:path w="47" h="45">
                  <a:moveTo>
                    <a:pt x="43" y="45"/>
                  </a:moveTo>
                  <a:cubicBezTo>
                    <a:pt x="47" y="35"/>
                    <a:pt x="45" y="25"/>
                    <a:pt x="44" y="13"/>
                  </a:cubicBezTo>
                  <a:cubicBezTo>
                    <a:pt x="44" y="5"/>
                    <a:pt x="38" y="0"/>
                    <a:pt x="30" y="0"/>
                  </a:cubicBezTo>
                  <a:cubicBezTo>
                    <a:pt x="17" y="0"/>
                    <a:pt x="17" y="0"/>
                    <a:pt x="17" y="0"/>
                  </a:cubicBezTo>
                  <a:cubicBezTo>
                    <a:pt x="9" y="0"/>
                    <a:pt x="3" y="4"/>
                    <a:pt x="2" y="14"/>
                  </a:cubicBezTo>
                  <a:cubicBezTo>
                    <a:pt x="2" y="29"/>
                    <a:pt x="0" y="37"/>
                    <a:pt x="6" y="45"/>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6" name="Line 210">
              <a:extLst>
                <a:ext uri="{FF2B5EF4-FFF2-40B4-BE49-F238E27FC236}">
                  <a16:creationId xmlns:a16="http://schemas.microsoft.com/office/drawing/2014/main" id="{025FE67E-E8D6-31BF-C70F-6E4F39FF24A2}"/>
                </a:ext>
              </a:extLst>
            </p:cNvPr>
            <p:cNvSpPr>
              <a:spLocks noChangeShapeType="1"/>
            </p:cNvSpPr>
            <p:nvPr/>
          </p:nvSpPr>
          <p:spPr bwMode="auto">
            <a:xfrm>
              <a:off x="5040925" y="5106410"/>
              <a:ext cx="0" cy="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7" name="Freeform 211">
              <a:extLst>
                <a:ext uri="{FF2B5EF4-FFF2-40B4-BE49-F238E27FC236}">
                  <a16:creationId xmlns:a16="http://schemas.microsoft.com/office/drawing/2014/main" id="{7DDE092F-092C-595E-C267-EC1D2C434178}"/>
                </a:ext>
              </a:extLst>
            </p:cNvPr>
            <p:cNvSpPr>
              <a:spLocks/>
            </p:cNvSpPr>
            <p:nvPr/>
          </p:nvSpPr>
          <p:spPr bwMode="auto">
            <a:xfrm>
              <a:off x="4964725" y="5025448"/>
              <a:ext cx="85725" cy="107950"/>
            </a:xfrm>
            <a:custGeom>
              <a:avLst/>
              <a:gdLst>
                <a:gd name="T0" fmla="*/ 9 w 19"/>
                <a:gd name="T1" fmla="*/ 24 h 24"/>
                <a:gd name="T2" fmla="*/ 0 w 19"/>
                <a:gd name="T3" fmla="*/ 12 h 24"/>
                <a:gd name="T4" fmla="*/ 9 w 19"/>
                <a:gd name="T5" fmla="*/ 0 h 24"/>
                <a:gd name="T6" fmla="*/ 18 w 19"/>
                <a:gd name="T7" fmla="*/ 12 h 24"/>
                <a:gd name="T8" fmla="*/ 17 w 19"/>
                <a:gd name="T9" fmla="*/ 18 h 24"/>
              </a:gdLst>
              <a:ahLst/>
              <a:cxnLst>
                <a:cxn ang="0">
                  <a:pos x="T0" y="T1"/>
                </a:cxn>
                <a:cxn ang="0">
                  <a:pos x="T2" y="T3"/>
                </a:cxn>
                <a:cxn ang="0">
                  <a:pos x="T4" y="T5"/>
                </a:cxn>
                <a:cxn ang="0">
                  <a:pos x="T6" y="T7"/>
                </a:cxn>
                <a:cxn ang="0">
                  <a:pos x="T8" y="T9"/>
                </a:cxn>
              </a:cxnLst>
              <a:rect l="0" t="0" r="r" b="b"/>
              <a:pathLst>
                <a:path w="19" h="24">
                  <a:moveTo>
                    <a:pt x="9" y="24"/>
                  </a:moveTo>
                  <a:cubicBezTo>
                    <a:pt x="6" y="24"/>
                    <a:pt x="1" y="19"/>
                    <a:pt x="0" y="12"/>
                  </a:cubicBezTo>
                  <a:cubicBezTo>
                    <a:pt x="0" y="5"/>
                    <a:pt x="3" y="0"/>
                    <a:pt x="9" y="0"/>
                  </a:cubicBezTo>
                  <a:cubicBezTo>
                    <a:pt x="16" y="0"/>
                    <a:pt x="19" y="5"/>
                    <a:pt x="18" y="12"/>
                  </a:cubicBezTo>
                  <a:cubicBezTo>
                    <a:pt x="18" y="14"/>
                    <a:pt x="18" y="16"/>
                    <a:pt x="17" y="18"/>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8" name="Freeform 212">
              <a:extLst>
                <a:ext uri="{FF2B5EF4-FFF2-40B4-BE49-F238E27FC236}">
                  <a16:creationId xmlns:a16="http://schemas.microsoft.com/office/drawing/2014/main" id="{E69DE4F9-42DF-D58B-74DE-B385104B3C76}"/>
                </a:ext>
              </a:extLst>
            </p:cNvPr>
            <p:cNvSpPr>
              <a:spLocks/>
            </p:cNvSpPr>
            <p:nvPr/>
          </p:nvSpPr>
          <p:spPr bwMode="auto">
            <a:xfrm>
              <a:off x="4677387" y="5309610"/>
              <a:ext cx="93663" cy="88900"/>
            </a:xfrm>
            <a:custGeom>
              <a:avLst/>
              <a:gdLst>
                <a:gd name="T0" fmla="*/ 31 w 59"/>
                <a:gd name="T1" fmla="*/ 56 h 56"/>
                <a:gd name="T2" fmla="*/ 0 w 59"/>
                <a:gd name="T3" fmla="*/ 28 h 56"/>
                <a:gd name="T4" fmla="*/ 31 w 59"/>
                <a:gd name="T5" fmla="*/ 0 h 56"/>
                <a:gd name="T6" fmla="*/ 59 w 59"/>
                <a:gd name="T7" fmla="*/ 28 h 56"/>
                <a:gd name="T8" fmla="*/ 31 w 59"/>
                <a:gd name="T9" fmla="*/ 56 h 56"/>
              </a:gdLst>
              <a:ahLst/>
              <a:cxnLst>
                <a:cxn ang="0">
                  <a:pos x="T0" y="T1"/>
                </a:cxn>
                <a:cxn ang="0">
                  <a:pos x="T2" y="T3"/>
                </a:cxn>
                <a:cxn ang="0">
                  <a:pos x="T4" y="T5"/>
                </a:cxn>
                <a:cxn ang="0">
                  <a:pos x="T6" y="T7"/>
                </a:cxn>
                <a:cxn ang="0">
                  <a:pos x="T8" y="T9"/>
                </a:cxn>
              </a:cxnLst>
              <a:rect l="0" t="0" r="r" b="b"/>
              <a:pathLst>
                <a:path w="59" h="56">
                  <a:moveTo>
                    <a:pt x="31" y="56"/>
                  </a:moveTo>
                  <a:lnTo>
                    <a:pt x="0" y="28"/>
                  </a:lnTo>
                  <a:lnTo>
                    <a:pt x="31" y="0"/>
                  </a:lnTo>
                  <a:lnTo>
                    <a:pt x="59" y="28"/>
                  </a:lnTo>
                  <a:lnTo>
                    <a:pt x="31" y="56"/>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79" name="Freeform 213">
              <a:extLst>
                <a:ext uri="{FF2B5EF4-FFF2-40B4-BE49-F238E27FC236}">
                  <a16:creationId xmlns:a16="http://schemas.microsoft.com/office/drawing/2014/main" id="{4C1CF50F-6485-4313-EC73-E318A06365B9}"/>
                </a:ext>
              </a:extLst>
            </p:cNvPr>
            <p:cNvSpPr>
              <a:spLocks/>
            </p:cNvSpPr>
            <p:nvPr/>
          </p:nvSpPr>
          <p:spPr bwMode="auto">
            <a:xfrm>
              <a:off x="4901225" y="5412798"/>
              <a:ext cx="90488" cy="80963"/>
            </a:xfrm>
            <a:custGeom>
              <a:avLst/>
              <a:gdLst>
                <a:gd name="T0" fmla="*/ 32 w 57"/>
                <a:gd name="T1" fmla="*/ 51 h 51"/>
                <a:gd name="T2" fmla="*/ 57 w 57"/>
                <a:gd name="T3" fmla="*/ 0 h 51"/>
                <a:gd name="T4" fmla="*/ 0 w 57"/>
                <a:gd name="T5" fmla="*/ 3 h 51"/>
                <a:gd name="T6" fmla="*/ 32 w 57"/>
                <a:gd name="T7" fmla="*/ 51 h 51"/>
              </a:gdLst>
              <a:ahLst/>
              <a:cxnLst>
                <a:cxn ang="0">
                  <a:pos x="T0" y="T1"/>
                </a:cxn>
                <a:cxn ang="0">
                  <a:pos x="T2" y="T3"/>
                </a:cxn>
                <a:cxn ang="0">
                  <a:pos x="T4" y="T5"/>
                </a:cxn>
                <a:cxn ang="0">
                  <a:pos x="T6" y="T7"/>
                </a:cxn>
              </a:cxnLst>
              <a:rect l="0" t="0" r="r" b="b"/>
              <a:pathLst>
                <a:path w="57" h="51">
                  <a:moveTo>
                    <a:pt x="32" y="51"/>
                  </a:moveTo>
                  <a:lnTo>
                    <a:pt x="57" y="0"/>
                  </a:lnTo>
                  <a:lnTo>
                    <a:pt x="0" y="3"/>
                  </a:lnTo>
                  <a:lnTo>
                    <a:pt x="32" y="51"/>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80" name="Oval 214">
              <a:extLst>
                <a:ext uri="{FF2B5EF4-FFF2-40B4-BE49-F238E27FC236}">
                  <a16:creationId xmlns:a16="http://schemas.microsoft.com/office/drawing/2014/main" id="{FACB8B36-E2AB-33E0-50C2-0EB14D625DA8}"/>
                </a:ext>
              </a:extLst>
            </p:cNvPr>
            <p:cNvSpPr>
              <a:spLocks noChangeArrowheads="1"/>
            </p:cNvSpPr>
            <p:nvPr/>
          </p:nvSpPr>
          <p:spPr bwMode="auto">
            <a:xfrm>
              <a:off x="4785337" y="5390573"/>
              <a:ext cx="80963" cy="76200"/>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sp>
          <p:nvSpPr>
            <p:cNvPr id="81" name="Oval 215">
              <a:extLst>
                <a:ext uri="{FF2B5EF4-FFF2-40B4-BE49-F238E27FC236}">
                  <a16:creationId xmlns:a16="http://schemas.microsoft.com/office/drawing/2014/main" id="{730BFDCC-9DFF-C2F6-3716-9FFECEB6FFE0}"/>
                </a:ext>
              </a:extLst>
            </p:cNvPr>
            <p:cNvSpPr>
              <a:spLocks noChangeArrowheads="1"/>
            </p:cNvSpPr>
            <p:nvPr/>
          </p:nvSpPr>
          <p:spPr bwMode="auto">
            <a:xfrm>
              <a:off x="4969487" y="5304848"/>
              <a:ext cx="76200" cy="80963"/>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latin typeface="+mj-lt"/>
              </a:endParaRPr>
            </a:p>
          </p:txBody>
        </p:sp>
      </p:grpSp>
      <p:sp>
        <p:nvSpPr>
          <p:cNvPr id="58" name="Ellipse 15">
            <a:extLst>
              <a:ext uri="{FF2B5EF4-FFF2-40B4-BE49-F238E27FC236}">
                <a16:creationId xmlns:a16="http://schemas.microsoft.com/office/drawing/2014/main" id="{61778EE8-94C9-4EF4-C2F9-93B8C5BE0890}"/>
              </a:ext>
            </a:extLst>
          </p:cNvPr>
          <p:cNvSpPr/>
          <p:nvPr/>
        </p:nvSpPr>
        <p:spPr>
          <a:xfrm>
            <a:off x="3851036" y="4115823"/>
            <a:ext cx="523951" cy="516738"/>
          </a:xfrm>
          <a:prstGeom prst="ellipse">
            <a:avLst/>
          </a:prstGeom>
          <a:solidFill>
            <a:srgbClr val="F8F5E7"/>
          </a:solidFill>
          <a:ln w="12700" cap="flat" cmpd="sng" algn="ctr">
            <a:noFill/>
            <a:prstDash val="solid"/>
            <a:miter lim="800000"/>
          </a:ln>
          <a:effectLst/>
        </p:spPr>
        <p:txBody>
          <a:bodyPr lIns="0" tIns="0" rIns="0" bIns="0" rtlCol="0" anchor="ctr"/>
          <a:lstStyle/>
          <a:p>
            <a:pPr algn="ctr" defTabSz="914400">
              <a:lnSpc>
                <a:spcPct val="100000"/>
              </a:lnSpc>
              <a:spcAft>
                <a:spcPts val="0"/>
              </a:spcAft>
              <a:buNone/>
              <a:defRPr/>
            </a:pPr>
            <a:endParaRPr lang="en-GB" kern="0">
              <a:solidFill>
                <a:prstClr val="white"/>
              </a:solidFill>
              <a:latin typeface="+mj-lt"/>
              <a:ea typeface="Impact" charset="0"/>
              <a:cs typeface="Impact" charset="0"/>
            </a:endParaRPr>
          </a:p>
        </p:txBody>
      </p:sp>
      <p:grpSp>
        <p:nvGrpSpPr>
          <p:cNvPr id="59" name="Group 58">
            <a:extLst>
              <a:ext uri="{FF2B5EF4-FFF2-40B4-BE49-F238E27FC236}">
                <a16:creationId xmlns:a16="http://schemas.microsoft.com/office/drawing/2014/main" id="{C89C821B-C4F5-BF7D-A5C8-99A89FFE2743}"/>
              </a:ext>
            </a:extLst>
          </p:cNvPr>
          <p:cNvGrpSpPr/>
          <p:nvPr/>
        </p:nvGrpSpPr>
        <p:grpSpPr>
          <a:xfrm>
            <a:off x="3972051" y="4217835"/>
            <a:ext cx="281920" cy="312713"/>
            <a:chOff x="6280311" y="1697783"/>
            <a:chExt cx="342137" cy="379507"/>
          </a:xfrm>
        </p:grpSpPr>
        <p:sp>
          <p:nvSpPr>
            <p:cNvPr id="60" name="Freeform: Shape 59">
              <a:extLst>
                <a:ext uri="{FF2B5EF4-FFF2-40B4-BE49-F238E27FC236}">
                  <a16:creationId xmlns:a16="http://schemas.microsoft.com/office/drawing/2014/main" id="{12CDF5F0-5697-385E-B8BA-18F3FDCC2277}"/>
                </a:ext>
              </a:extLst>
            </p:cNvPr>
            <p:cNvSpPr/>
            <p:nvPr/>
          </p:nvSpPr>
          <p:spPr>
            <a:xfrm>
              <a:off x="6414840" y="1893274"/>
              <a:ext cx="207608" cy="184016"/>
            </a:xfrm>
            <a:custGeom>
              <a:avLst/>
              <a:gdLst>
                <a:gd name="connsiteX0" fmla="*/ 147110 w 207607"/>
                <a:gd name="connsiteY0" fmla="*/ 138852 h 184015"/>
                <a:gd name="connsiteX1" fmla="*/ 199579 w 207607"/>
                <a:gd name="connsiteY1" fmla="*/ 79354 h 184015"/>
                <a:gd name="connsiteX2" fmla="*/ 175326 w 207607"/>
                <a:gd name="connsiteY2" fmla="*/ 11928 h 184015"/>
                <a:gd name="connsiteX3" fmla="*/ 107901 w 207607"/>
                <a:gd name="connsiteY3" fmla="*/ 36181 h 184015"/>
                <a:gd name="connsiteX4" fmla="*/ 105730 w 207607"/>
                <a:gd name="connsiteY4" fmla="*/ 42692 h 184015"/>
                <a:gd name="connsiteX5" fmla="*/ 103560 w 207607"/>
                <a:gd name="connsiteY5" fmla="*/ 36181 h 184015"/>
                <a:gd name="connsiteX6" fmla="*/ 36135 w 207607"/>
                <a:gd name="connsiteY6" fmla="*/ 11928 h 184015"/>
                <a:gd name="connsiteX7" fmla="*/ 11929 w 207607"/>
                <a:gd name="connsiteY7" fmla="*/ 79354 h 184015"/>
                <a:gd name="connsiteX8" fmla="*/ 105730 w 207607"/>
                <a:gd name="connsiteY8" fmla="*/ 177212 h 184015"/>
                <a:gd name="connsiteX9" fmla="*/ 105730 w 207607"/>
                <a:gd name="connsiteY9" fmla="*/ 176976 h 184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607" h="184015">
                  <a:moveTo>
                    <a:pt x="147110" y="138852"/>
                  </a:moveTo>
                  <a:cubicBezTo>
                    <a:pt x="169381" y="117289"/>
                    <a:pt x="193539" y="92235"/>
                    <a:pt x="199579" y="79354"/>
                  </a:cubicBezTo>
                  <a:cubicBezTo>
                    <a:pt x="211516" y="54063"/>
                    <a:pt x="200664" y="23866"/>
                    <a:pt x="175326" y="11928"/>
                  </a:cubicBezTo>
                  <a:cubicBezTo>
                    <a:pt x="150036" y="-9"/>
                    <a:pt x="119838" y="10843"/>
                    <a:pt x="107901" y="36181"/>
                  </a:cubicBezTo>
                  <a:cubicBezTo>
                    <a:pt x="107099" y="37926"/>
                    <a:pt x="106344" y="40144"/>
                    <a:pt x="105730" y="42692"/>
                  </a:cubicBezTo>
                  <a:cubicBezTo>
                    <a:pt x="105117" y="40144"/>
                    <a:pt x="104409" y="37926"/>
                    <a:pt x="103560" y="36181"/>
                  </a:cubicBezTo>
                  <a:cubicBezTo>
                    <a:pt x="91623" y="10890"/>
                    <a:pt x="61472" y="38"/>
                    <a:pt x="36135" y="11928"/>
                  </a:cubicBezTo>
                  <a:cubicBezTo>
                    <a:pt x="10844" y="23866"/>
                    <a:pt x="-8" y="54016"/>
                    <a:pt x="11929" y="79354"/>
                  </a:cubicBezTo>
                  <a:cubicBezTo>
                    <a:pt x="23867" y="104644"/>
                    <a:pt x="105730" y="177212"/>
                    <a:pt x="105730" y="177212"/>
                  </a:cubicBezTo>
                  <a:cubicBezTo>
                    <a:pt x="105730" y="177212"/>
                    <a:pt x="105730" y="177118"/>
                    <a:pt x="105730" y="176976"/>
                  </a:cubicBezTo>
                </a:path>
              </a:pathLst>
            </a:custGeom>
            <a:noFill/>
            <a:ln w="6350" cap="rnd">
              <a:solidFill>
                <a:srgbClr val="244655"/>
              </a:solidFill>
              <a:prstDash val="solid"/>
              <a:round/>
            </a:ln>
          </p:spPr>
          <p:txBody>
            <a:bodyPr rtlCol="0" anchor="ctr"/>
            <a:lstStyle/>
            <a:p>
              <a:endParaRPr lang="en-GB">
                <a:latin typeface="+mj-lt"/>
              </a:endParaRPr>
            </a:p>
          </p:txBody>
        </p:sp>
        <p:sp>
          <p:nvSpPr>
            <p:cNvPr id="61" name="Freeform: Shape 60">
              <a:extLst>
                <a:ext uri="{FF2B5EF4-FFF2-40B4-BE49-F238E27FC236}">
                  <a16:creationId xmlns:a16="http://schemas.microsoft.com/office/drawing/2014/main" id="{F8FEE0E5-5FFD-F696-5E0E-85CC0038A277}"/>
                </a:ext>
              </a:extLst>
            </p:cNvPr>
            <p:cNvSpPr/>
            <p:nvPr/>
          </p:nvSpPr>
          <p:spPr>
            <a:xfrm>
              <a:off x="6359532" y="2042978"/>
              <a:ext cx="141551" cy="14155"/>
            </a:xfrm>
            <a:custGeom>
              <a:avLst/>
              <a:gdLst>
                <a:gd name="connsiteX0" fmla="*/ 137257 w 141550"/>
                <a:gd name="connsiteY0" fmla="*/ 7078 h 14155"/>
                <a:gd name="connsiteX1" fmla="*/ 7078 w 141550"/>
                <a:gd name="connsiteY1" fmla="*/ 7078 h 14155"/>
              </a:gdLst>
              <a:ahLst/>
              <a:cxnLst>
                <a:cxn ang="0">
                  <a:pos x="connsiteX0" y="connsiteY0"/>
                </a:cxn>
                <a:cxn ang="0">
                  <a:pos x="connsiteX1" y="connsiteY1"/>
                </a:cxn>
              </a:cxnLst>
              <a:rect l="l" t="t" r="r" b="b"/>
              <a:pathLst>
                <a:path w="141550" h="14155">
                  <a:moveTo>
                    <a:pt x="137257" y="7078"/>
                  </a:moveTo>
                  <a:lnTo>
                    <a:pt x="7078" y="7078"/>
                  </a:lnTo>
                </a:path>
              </a:pathLst>
            </a:custGeom>
            <a:ln w="6350" cap="rnd">
              <a:solidFill>
                <a:srgbClr val="244655"/>
              </a:solidFill>
              <a:prstDash val="solid"/>
              <a:round/>
            </a:ln>
          </p:spPr>
          <p:txBody>
            <a:bodyPr rtlCol="0" anchor="ctr"/>
            <a:lstStyle/>
            <a:p>
              <a:endParaRPr lang="en-GB">
                <a:latin typeface="+mj-lt"/>
              </a:endParaRPr>
            </a:p>
          </p:txBody>
        </p:sp>
        <p:sp>
          <p:nvSpPr>
            <p:cNvPr id="62" name="Freeform: Shape 61">
              <a:extLst>
                <a:ext uri="{FF2B5EF4-FFF2-40B4-BE49-F238E27FC236}">
                  <a16:creationId xmlns:a16="http://schemas.microsoft.com/office/drawing/2014/main" id="{829BB96C-F154-ECA3-D347-B15F11E94B4F}"/>
                </a:ext>
              </a:extLst>
            </p:cNvPr>
            <p:cNvSpPr/>
            <p:nvPr/>
          </p:nvSpPr>
          <p:spPr>
            <a:xfrm>
              <a:off x="6280311" y="1858396"/>
              <a:ext cx="250073" cy="198171"/>
            </a:xfrm>
            <a:custGeom>
              <a:avLst/>
              <a:gdLst>
                <a:gd name="connsiteX0" fmla="*/ 7078 w 250073"/>
                <a:gd name="connsiteY0" fmla="*/ 191660 h 198170"/>
                <a:gd name="connsiteX1" fmla="*/ 7078 w 250073"/>
                <a:gd name="connsiteY1" fmla="*/ 102624 h 198170"/>
                <a:gd name="connsiteX2" fmla="*/ 102624 w 250073"/>
                <a:gd name="connsiteY2" fmla="*/ 7078 h 198170"/>
                <a:gd name="connsiteX3" fmla="*/ 191094 w 250073"/>
                <a:gd name="connsiteY3" fmla="*/ 7078 h 198170"/>
                <a:gd name="connsiteX4" fmla="*/ 244553 w 250073"/>
                <a:gd name="connsiteY4" fmla="*/ 23403 h 198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73" h="198170">
                  <a:moveTo>
                    <a:pt x="7078" y="191660"/>
                  </a:moveTo>
                  <a:lnTo>
                    <a:pt x="7078" y="102624"/>
                  </a:lnTo>
                  <a:cubicBezTo>
                    <a:pt x="7078" y="49873"/>
                    <a:pt x="49873" y="7078"/>
                    <a:pt x="102624" y="7078"/>
                  </a:cubicBezTo>
                  <a:lnTo>
                    <a:pt x="191094" y="7078"/>
                  </a:lnTo>
                  <a:cubicBezTo>
                    <a:pt x="210911" y="7078"/>
                    <a:pt x="229266" y="13117"/>
                    <a:pt x="244553" y="23403"/>
                  </a:cubicBezTo>
                </a:path>
              </a:pathLst>
            </a:custGeom>
            <a:noFill/>
            <a:ln w="6350" cap="rnd">
              <a:solidFill>
                <a:srgbClr val="244655"/>
              </a:solidFill>
              <a:prstDash val="solid"/>
              <a:round/>
            </a:ln>
          </p:spPr>
          <p:txBody>
            <a:bodyPr rtlCol="0" anchor="ctr"/>
            <a:lstStyle/>
            <a:p>
              <a:endParaRPr lang="en-GB">
                <a:latin typeface="+mj-lt"/>
              </a:endParaRPr>
            </a:p>
          </p:txBody>
        </p:sp>
        <p:sp>
          <p:nvSpPr>
            <p:cNvPr id="63" name="Freeform: Shape 62">
              <a:extLst>
                <a:ext uri="{FF2B5EF4-FFF2-40B4-BE49-F238E27FC236}">
                  <a16:creationId xmlns:a16="http://schemas.microsoft.com/office/drawing/2014/main" id="{AE9E39B0-0CD1-92A0-1657-0F1DD0550607}"/>
                </a:ext>
              </a:extLst>
            </p:cNvPr>
            <p:cNvSpPr/>
            <p:nvPr/>
          </p:nvSpPr>
          <p:spPr>
            <a:xfrm>
              <a:off x="6359538" y="1697783"/>
              <a:ext cx="132114" cy="174579"/>
            </a:xfrm>
            <a:custGeom>
              <a:avLst/>
              <a:gdLst>
                <a:gd name="connsiteX0" fmla="*/ 67844 w 132114"/>
                <a:gd name="connsiteY0" fmla="*/ 167643 h 174579"/>
                <a:gd name="connsiteX1" fmla="*/ 7543 w 132114"/>
                <a:gd name="connsiteY1" fmla="*/ 87384 h 174579"/>
                <a:gd name="connsiteX2" fmla="*/ 67844 w 132114"/>
                <a:gd name="connsiteY2" fmla="*/ 7078 h 174579"/>
                <a:gd name="connsiteX3" fmla="*/ 128145 w 132114"/>
                <a:gd name="connsiteY3" fmla="*/ 87337 h 174579"/>
                <a:gd name="connsiteX4" fmla="*/ 118614 w 132114"/>
                <a:gd name="connsiteY4" fmla="*/ 125225 h 174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14" h="174579">
                  <a:moveTo>
                    <a:pt x="67844" y="167643"/>
                  </a:moveTo>
                  <a:cubicBezTo>
                    <a:pt x="42507" y="167643"/>
                    <a:pt x="11932" y="137210"/>
                    <a:pt x="7543" y="87384"/>
                  </a:cubicBezTo>
                  <a:cubicBezTo>
                    <a:pt x="3675" y="43173"/>
                    <a:pt x="23916" y="7078"/>
                    <a:pt x="67844" y="7078"/>
                  </a:cubicBezTo>
                  <a:cubicBezTo>
                    <a:pt x="111772" y="7078"/>
                    <a:pt x="132061" y="43173"/>
                    <a:pt x="128145" y="87337"/>
                  </a:cubicBezTo>
                  <a:cubicBezTo>
                    <a:pt x="126871" y="101681"/>
                    <a:pt x="123474" y="114373"/>
                    <a:pt x="118614" y="125225"/>
                  </a:cubicBezTo>
                </a:path>
              </a:pathLst>
            </a:custGeom>
            <a:noFill/>
            <a:ln w="6350" cap="rnd">
              <a:solidFill>
                <a:srgbClr val="244655"/>
              </a:solidFill>
              <a:prstDash val="solid"/>
              <a:round/>
            </a:ln>
          </p:spPr>
          <p:txBody>
            <a:bodyPr rtlCol="0" anchor="ctr"/>
            <a:lstStyle/>
            <a:p>
              <a:endParaRPr lang="en-GB">
                <a:latin typeface="+mj-lt"/>
              </a:endParaRPr>
            </a:p>
          </p:txBody>
        </p:sp>
        <p:sp>
          <p:nvSpPr>
            <p:cNvPr id="64" name="Freeform: Shape 63">
              <a:extLst>
                <a:ext uri="{FF2B5EF4-FFF2-40B4-BE49-F238E27FC236}">
                  <a16:creationId xmlns:a16="http://schemas.microsoft.com/office/drawing/2014/main" id="{E47550A6-1275-E99B-676E-ABC66F43A3E6}"/>
                </a:ext>
              </a:extLst>
            </p:cNvPr>
            <p:cNvSpPr/>
            <p:nvPr/>
          </p:nvSpPr>
          <p:spPr>
            <a:xfrm>
              <a:off x="6468385" y="1953754"/>
              <a:ext cx="117959" cy="61339"/>
            </a:xfrm>
            <a:custGeom>
              <a:avLst/>
              <a:gdLst>
                <a:gd name="connsiteX0" fmla="*/ 7078 w 117959"/>
                <a:gd name="connsiteY0" fmla="*/ 35199 h 61338"/>
                <a:gd name="connsiteX1" fmla="*/ 36662 w 117959"/>
                <a:gd name="connsiteY1" fmla="*/ 35199 h 61338"/>
                <a:gd name="connsiteX2" fmla="*/ 36662 w 117959"/>
                <a:gd name="connsiteY2" fmla="*/ 7078 h 61338"/>
                <a:gd name="connsiteX3" fmla="*/ 75683 w 117959"/>
                <a:gd name="connsiteY3" fmla="*/ 56290 h 61338"/>
                <a:gd name="connsiteX4" fmla="*/ 75683 w 117959"/>
                <a:gd name="connsiteY4" fmla="*/ 25809 h 61338"/>
                <a:gd name="connsiteX5" fmla="*/ 110976 w 117959"/>
                <a:gd name="connsiteY5" fmla="*/ 25809 h 6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59" h="61338">
                  <a:moveTo>
                    <a:pt x="7078" y="35199"/>
                  </a:moveTo>
                  <a:lnTo>
                    <a:pt x="36662" y="35199"/>
                  </a:lnTo>
                  <a:lnTo>
                    <a:pt x="36662" y="7078"/>
                  </a:lnTo>
                  <a:lnTo>
                    <a:pt x="75683" y="56290"/>
                  </a:lnTo>
                  <a:lnTo>
                    <a:pt x="75683" y="25809"/>
                  </a:lnTo>
                  <a:lnTo>
                    <a:pt x="110976" y="25809"/>
                  </a:lnTo>
                </a:path>
              </a:pathLst>
            </a:custGeom>
            <a:noFill/>
            <a:ln w="6350" cap="rnd">
              <a:solidFill>
                <a:srgbClr val="244655"/>
              </a:solidFill>
              <a:prstDash val="solid"/>
              <a:round/>
            </a:ln>
          </p:spPr>
          <p:txBody>
            <a:bodyPr rtlCol="0" anchor="ctr"/>
            <a:lstStyle/>
            <a:p>
              <a:endParaRPr lang="en-GB">
                <a:latin typeface="+mj-lt"/>
              </a:endParaRPr>
            </a:p>
          </p:txBody>
        </p:sp>
      </p:grpSp>
      <p:sp>
        <p:nvSpPr>
          <p:cNvPr id="39" name="Ellipse 15">
            <a:extLst>
              <a:ext uri="{FF2B5EF4-FFF2-40B4-BE49-F238E27FC236}">
                <a16:creationId xmlns:a16="http://schemas.microsoft.com/office/drawing/2014/main" id="{75DEF9B9-2107-29D3-8386-73137F487654}"/>
              </a:ext>
            </a:extLst>
          </p:cNvPr>
          <p:cNvSpPr/>
          <p:nvPr/>
        </p:nvSpPr>
        <p:spPr>
          <a:xfrm>
            <a:off x="4655847" y="4600490"/>
            <a:ext cx="523951" cy="516738"/>
          </a:xfrm>
          <a:prstGeom prst="ellipse">
            <a:avLst/>
          </a:prstGeom>
          <a:solidFill>
            <a:srgbClr val="244655"/>
          </a:solidFill>
          <a:ln w="12700" cap="flat" cmpd="sng" algn="ctr">
            <a:noFill/>
            <a:prstDash val="solid"/>
            <a:miter lim="800000"/>
          </a:ln>
          <a:effectLst/>
        </p:spPr>
        <p:txBody>
          <a:bodyPr lIns="0" tIns="0" rIns="0" bIns="0" rtlCol="0" anchor="ctr"/>
          <a:lstStyle/>
          <a:p>
            <a:pPr algn="ctr" defTabSz="914400">
              <a:lnSpc>
                <a:spcPct val="100000"/>
              </a:lnSpc>
              <a:spcAft>
                <a:spcPts val="0"/>
              </a:spcAft>
              <a:buNone/>
              <a:defRPr/>
            </a:pPr>
            <a:endParaRPr lang="en-GB" kern="0">
              <a:solidFill>
                <a:prstClr val="white"/>
              </a:solidFill>
              <a:latin typeface="+mj-lt"/>
              <a:ea typeface="Impact" charset="0"/>
              <a:cs typeface="Impact" charset="0"/>
            </a:endParaRPr>
          </a:p>
        </p:txBody>
      </p:sp>
      <p:grpSp>
        <p:nvGrpSpPr>
          <p:cNvPr id="40" name="Group 39">
            <a:extLst>
              <a:ext uri="{FF2B5EF4-FFF2-40B4-BE49-F238E27FC236}">
                <a16:creationId xmlns:a16="http://schemas.microsoft.com/office/drawing/2014/main" id="{3161FDFC-C814-D53E-E5B0-FC07BD1540DC}"/>
              </a:ext>
            </a:extLst>
          </p:cNvPr>
          <p:cNvGrpSpPr/>
          <p:nvPr/>
        </p:nvGrpSpPr>
        <p:grpSpPr>
          <a:xfrm>
            <a:off x="4766811" y="4767681"/>
            <a:ext cx="302022" cy="248842"/>
            <a:chOff x="3010432" y="4162699"/>
            <a:chExt cx="559232" cy="460762"/>
          </a:xfrm>
        </p:grpSpPr>
        <p:sp>
          <p:nvSpPr>
            <p:cNvPr id="41" name="Freeform: Shape 40">
              <a:extLst>
                <a:ext uri="{FF2B5EF4-FFF2-40B4-BE49-F238E27FC236}">
                  <a16:creationId xmlns:a16="http://schemas.microsoft.com/office/drawing/2014/main" id="{E47DCEE3-393C-7A8E-D692-D0ACFF45AD69}"/>
                </a:ext>
              </a:extLst>
            </p:cNvPr>
            <p:cNvSpPr/>
            <p:nvPr/>
          </p:nvSpPr>
          <p:spPr>
            <a:xfrm>
              <a:off x="3010432" y="4162872"/>
              <a:ext cx="353786" cy="460589"/>
            </a:xfrm>
            <a:custGeom>
              <a:avLst/>
              <a:gdLst>
                <a:gd name="connsiteX0" fmla="*/ 358976 w 353785"/>
                <a:gd name="connsiteY0" fmla="*/ 400339 h 460589"/>
                <a:gd name="connsiteX1" fmla="*/ 281544 w 353785"/>
                <a:gd name="connsiteY1" fmla="*/ 462419 h 460589"/>
                <a:gd name="connsiteX2" fmla="*/ 13868 w 353785"/>
                <a:gd name="connsiteY2" fmla="*/ 207426 h 460589"/>
                <a:gd name="connsiteX3" fmla="*/ 83290 w 353785"/>
                <a:gd name="connsiteY3" fmla="*/ 13845 h 460589"/>
                <a:gd name="connsiteX4" fmla="*/ 156717 w 353785"/>
                <a:gd name="connsiteY4" fmla="*/ 495 h 460589"/>
                <a:gd name="connsiteX5" fmla="*/ 192764 w 353785"/>
                <a:gd name="connsiteY5" fmla="*/ 7837 h 46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785" h="460589">
                  <a:moveTo>
                    <a:pt x="358976" y="400339"/>
                  </a:moveTo>
                  <a:cubicBezTo>
                    <a:pt x="314920" y="436385"/>
                    <a:pt x="281544" y="462419"/>
                    <a:pt x="281544" y="462419"/>
                  </a:cubicBezTo>
                  <a:cubicBezTo>
                    <a:pt x="281544" y="462419"/>
                    <a:pt x="47912" y="280186"/>
                    <a:pt x="13868" y="207426"/>
                  </a:cubicBezTo>
                  <a:cubicBezTo>
                    <a:pt x="-20175" y="134666"/>
                    <a:pt x="10531" y="47889"/>
                    <a:pt x="83290" y="13845"/>
                  </a:cubicBezTo>
                  <a:cubicBezTo>
                    <a:pt x="107321" y="2497"/>
                    <a:pt x="132019" y="-1508"/>
                    <a:pt x="156717" y="495"/>
                  </a:cubicBezTo>
                  <a:cubicBezTo>
                    <a:pt x="168733" y="1162"/>
                    <a:pt x="180748" y="3832"/>
                    <a:pt x="192764" y="7837"/>
                  </a:cubicBezTo>
                </a:path>
              </a:pathLst>
            </a:custGeom>
            <a:noFill/>
            <a:ln w="6350" cap="rnd">
              <a:solidFill>
                <a:schemeClr val="bg1"/>
              </a:solidFill>
              <a:prstDash val="solid"/>
              <a:round/>
            </a:ln>
          </p:spPr>
          <p:txBody>
            <a:bodyPr rtlCol="0" anchor="ctr"/>
            <a:lstStyle/>
            <a:p>
              <a:endParaRPr lang="da-DK">
                <a:latin typeface="+mj-lt"/>
              </a:endParaRPr>
            </a:p>
          </p:txBody>
        </p:sp>
        <p:grpSp>
          <p:nvGrpSpPr>
            <p:cNvPr id="42" name="Group 41">
              <a:extLst>
                <a:ext uri="{FF2B5EF4-FFF2-40B4-BE49-F238E27FC236}">
                  <a16:creationId xmlns:a16="http://schemas.microsoft.com/office/drawing/2014/main" id="{CA265E7D-A3EF-2A2F-FD08-FD97DA989E56}"/>
                </a:ext>
              </a:extLst>
            </p:cNvPr>
            <p:cNvGrpSpPr/>
            <p:nvPr/>
          </p:nvGrpSpPr>
          <p:grpSpPr>
            <a:xfrm>
              <a:off x="3125095" y="4162699"/>
              <a:ext cx="444569" cy="380486"/>
              <a:chOff x="3125095" y="4162699"/>
              <a:chExt cx="444569" cy="380486"/>
            </a:xfrm>
          </p:grpSpPr>
          <p:sp>
            <p:nvSpPr>
              <p:cNvPr id="43" name="Freeform: Shape 42">
                <a:extLst>
                  <a:ext uri="{FF2B5EF4-FFF2-40B4-BE49-F238E27FC236}">
                    <a16:creationId xmlns:a16="http://schemas.microsoft.com/office/drawing/2014/main" id="{F2E08FF5-4840-05E8-D6C5-1E1DA344B4D2}"/>
                  </a:ext>
                </a:extLst>
              </p:cNvPr>
              <p:cNvSpPr/>
              <p:nvPr/>
            </p:nvSpPr>
            <p:spPr>
              <a:xfrm>
                <a:off x="3167149" y="4291531"/>
                <a:ext cx="46726" cy="73427"/>
              </a:xfrm>
              <a:custGeom>
                <a:avLst/>
                <a:gdLst>
                  <a:gd name="connsiteX0" fmla="*/ 0 w 46726"/>
                  <a:gd name="connsiteY0" fmla="*/ 67420 h 73427"/>
                  <a:gd name="connsiteX1" fmla="*/ 0 w 46726"/>
                  <a:gd name="connsiteY1" fmla="*/ 67420 h 73427"/>
                  <a:gd name="connsiteX2" fmla="*/ 24031 w 46726"/>
                  <a:gd name="connsiteY2" fmla="*/ 58074 h 73427"/>
                  <a:gd name="connsiteX3" fmla="*/ 46059 w 46726"/>
                  <a:gd name="connsiteY3" fmla="*/ 0 h 73427"/>
                  <a:gd name="connsiteX4" fmla="*/ 46726 w 46726"/>
                  <a:gd name="connsiteY4" fmla="*/ 75430 h 73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26" h="73427">
                    <a:moveTo>
                      <a:pt x="0" y="67420"/>
                    </a:moveTo>
                    <a:lnTo>
                      <a:pt x="0" y="67420"/>
                    </a:lnTo>
                    <a:cubicBezTo>
                      <a:pt x="10013" y="68087"/>
                      <a:pt x="18023" y="64082"/>
                      <a:pt x="24031" y="58074"/>
                    </a:cubicBezTo>
                    <a:cubicBezTo>
                      <a:pt x="30706" y="51399"/>
                      <a:pt x="46059" y="0"/>
                      <a:pt x="46059" y="0"/>
                    </a:cubicBezTo>
                    <a:lnTo>
                      <a:pt x="46726" y="75430"/>
                    </a:lnTo>
                  </a:path>
                </a:pathLst>
              </a:custGeom>
              <a:noFill/>
              <a:ln w="6350" cap="rnd">
                <a:solidFill>
                  <a:schemeClr val="bg1"/>
                </a:solidFill>
                <a:prstDash val="solid"/>
                <a:round/>
              </a:ln>
            </p:spPr>
            <p:txBody>
              <a:bodyPr rtlCol="0" anchor="ctr"/>
              <a:lstStyle/>
              <a:p>
                <a:endParaRPr lang="da-DK">
                  <a:latin typeface="+mj-lt"/>
                </a:endParaRPr>
              </a:p>
            </p:txBody>
          </p:sp>
          <p:sp>
            <p:nvSpPr>
              <p:cNvPr id="44" name="Freeform: Shape 43">
                <a:extLst>
                  <a:ext uri="{FF2B5EF4-FFF2-40B4-BE49-F238E27FC236}">
                    <a16:creationId xmlns:a16="http://schemas.microsoft.com/office/drawing/2014/main" id="{046CFA71-6DF5-3C63-F556-78DA3FAF7CCD}"/>
                  </a:ext>
                </a:extLst>
              </p:cNvPr>
              <p:cNvSpPr/>
              <p:nvPr/>
            </p:nvSpPr>
            <p:spPr>
              <a:xfrm>
                <a:off x="3326019" y="4168039"/>
                <a:ext cx="20026" cy="120154"/>
              </a:xfrm>
              <a:custGeom>
                <a:avLst/>
                <a:gdLst>
                  <a:gd name="connsiteX0" fmla="*/ 0 w 20025"/>
                  <a:gd name="connsiteY0" fmla="*/ 0 h 120153"/>
                  <a:gd name="connsiteX1" fmla="*/ 1335 w 20025"/>
                  <a:gd name="connsiteY1" fmla="*/ 32709 h 120153"/>
                  <a:gd name="connsiteX2" fmla="*/ 1335 w 20025"/>
                  <a:gd name="connsiteY2" fmla="*/ 32709 h 120153"/>
                  <a:gd name="connsiteX3" fmla="*/ 20693 w 20025"/>
                  <a:gd name="connsiteY3" fmla="*/ 82105 h 120153"/>
                  <a:gd name="connsiteX4" fmla="*/ 22028 w 20025"/>
                  <a:gd name="connsiteY4" fmla="*/ 122824 h 120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25" h="120153">
                    <a:moveTo>
                      <a:pt x="0" y="0"/>
                    </a:moveTo>
                    <a:lnTo>
                      <a:pt x="1335" y="32709"/>
                    </a:lnTo>
                    <a:lnTo>
                      <a:pt x="1335" y="32709"/>
                    </a:lnTo>
                    <a:cubicBezTo>
                      <a:pt x="12683" y="46059"/>
                      <a:pt x="20026" y="63414"/>
                      <a:pt x="20693" y="82105"/>
                    </a:cubicBezTo>
                    <a:lnTo>
                      <a:pt x="22028" y="122824"/>
                    </a:lnTo>
                  </a:path>
                </a:pathLst>
              </a:custGeom>
              <a:noFill/>
              <a:ln w="6350" cap="rnd">
                <a:solidFill>
                  <a:schemeClr val="bg1"/>
                </a:solidFill>
                <a:prstDash val="solid"/>
                <a:round/>
              </a:ln>
            </p:spPr>
            <p:txBody>
              <a:bodyPr rtlCol="0" anchor="ctr"/>
              <a:lstStyle/>
              <a:p>
                <a:endParaRPr lang="da-DK">
                  <a:latin typeface="+mj-lt"/>
                </a:endParaRPr>
              </a:p>
            </p:txBody>
          </p:sp>
          <p:sp>
            <p:nvSpPr>
              <p:cNvPr id="45" name="Freeform: Shape 44">
                <a:extLst>
                  <a:ext uri="{FF2B5EF4-FFF2-40B4-BE49-F238E27FC236}">
                    <a16:creationId xmlns:a16="http://schemas.microsoft.com/office/drawing/2014/main" id="{F5D2686C-8B7E-BD5B-E94B-BF9A78953B8E}"/>
                  </a:ext>
                </a:extLst>
              </p:cNvPr>
              <p:cNvSpPr/>
              <p:nvPr/>
            </p:nvSpPr>
            <p:spPr>
              <a:xfrm>
                <a:off x="3167149" y="4162699"/>
                <a:ext cx="60077" cy="193581"/>
              </a:xfrm>
              <a:custGeom>
                <a:avLst/>
                <a:gdLst>
                  <a:gd name="connsiteX0" fmla="*/ 0 w 60076"/>
                  <a:gd name="connsiteY0" fmla="*/ 196251 h 193580"/>
                  <a:gd name="connsiteX1" fmla="*/ 14685 w 60076"/>
                  <a:gd name="connsiteY1" fmla="*/ 88780 h 193580"/>
                  <a:gd name="connsiteX2" fmla="*/ 64082 w 60076"/>
                  <a:gd name="connsiteY2" fmla="*/ 24698 h 193580"/>
                  <a:gd name="connsiteX3" fmla="*/ 63414 w 60076"/>
                  <a:gd name="connsiteY3" fmla="*/ 0 h 193580"/>
                </a:gdLst>
                <a:ahLst/>
                <a:cxnLst>
                  <a:cxn ang="0">
                    <a:pos x="connsiteX0" y="connsiteY0"/>
                  </a:cxn>
                  <a:cxn ang="0">
                    <a:pos x="connsiteX1" y="connsiteY1"/>
                  </a:cxn>
                  <a:cxn ang="0">
                    <a:pos x="connsiteX2" y="connsiteY2"/>
                  </a:cxn>
                  <a:cxn ang="0">
                    <a:pos x="connsiteX3" y="connsiteY3"/>
                  </a:cxn>
                </a:cxnLst>
                <a:rect l="l" t="t" r="r" b="b"/>
                <a:pathLst>
                  <a:path w="60076" h="193580">
                    <a:moveTo>
                      <a:pt x="0" y="196251"/>
                    </a:moveTo>
                    <a:lnTo>
                      <a:pt x="14685" y="88780"/>
                    </a:lnTo>
                    <a:cubicBezTo>
                      <a:pt x="19358" y="59409"/>
                      <a:pt x="38049" y="35379"/>
                      <a:pt x="64082" y="24698"/>
                    </a:cubicBezTo>
                    <a:lnTo>
                      <a:pt x="63414" y="0"/>
                    </a:lnTo>
                  </a:path>
                </a:pathLst>
              </a:custGeom>
              <a:noFill/>
              <a:ln w="6350" cap="rnd">
                <a:solidFill>
                  <a:schemeClr val="bg1"/>
                </a:solidFill>
                <a:prstDash val="solid"/>
                <a:round/>
              </a:ln>
            </p:spPr>
            <p:txBody>
              <a:bodyPr rtlCol="0" anchor="ctr"/>
              <a:lstStyle/>
              <a:p>
                <a:endParaRPr lang="da-DK">
                  <a:latin typeface="+mj-lt"/>
                </a:endParaRPr>
              </a:p>
            </p:txBody>
          </p:sp>
          <p:sp>
            <p:nvSpPr>
              <p:cNvPr id="46" name="Freeform: Shape 45">
                <a:extLst>
                  <a:ext uri="{FF2B5EF4-FFF2-40B4-BE49-F238E27FC236}">
                    <a16:creationId xmlns:a16="http://schemas.microsoft.com/office/drawing/2014/main" id="{3BF624C7-420A-D28F-E59A-58CB16C81285}"/>
                  </a:ext>
                </a:extLst>
              </p:cNvPr>
              <p:cNvSpPr/>
              <p:nvPr/>
            </p:nvSpPr>
            <p:spPr>
              <a:xfrm>
                <a:off x="3385899" y="4264830"/>
                <a:ext cx="26701" cy="86778"/>
              </a:xfrm>
              <a:custGeom>
                <a:avLst/>
                <a:gdLst>
                  <a:gd name="connsiteX0" fmla="*/ 28232 w 26700"/>
                  <a:gd name="connsiteY0" fmla="*/ 88113 h 86777"/>
                  <a:gd name="connsiteX1" fmla="*/ 6872 w 26700"/>
                  <a:gd name="connsiteY1" fmla="*/ 46059 h 86777"/>
                  <a:gd name="connsiteX2" fmla="*/ 10209 w 26700"/>
                  <a:gd name="connsiteY2" fmla="*/ 0 h 86777"/>
                  <a:gd name="connsiteX3" fmla="*/ 10209 w 26700"/>
                  <a:gd name="connsiteY3" fmla="*/ 0 h 86777"/>
                </a:gdLst>
                <a:ahLst/>
                <a:cxnLst>
                  <a:cxn ang="0">
                    <a:pos x="connsiteX0" y="connsiteY0"/>
                  </a:cxn>
                  <a:cxn ang="0">
                    <a:pos x="connsiteX1" y="connsiteY1"/>
                  </a:cxn>
                  <a:cxn ang="0">
                    <a:pos x="connsiteX2" y="connsiteY2"/>
                  </a:cxn>
                  <a:cxn ang="0">
                    <a:pos x="connsiteX3" y="connsiteY3"/>
                  </a:cxn>
                </a:cxnLst>
                <a:rect l="l" t="t" r="r" b="b"/>
                <a:pathLst>
                  <a:path w="26700" h="86777">
                    <a:moveTo>
                      <a:pt x="28232" y="88113"/>
                    </a:moveTo>
                    <a:lnTo>
                      <a:pt x="6872" y="46059"/>
                    </a:lnTo>
                    <a:cubicBezTo>
                      <a:pt x="-2474" y="28703"/>
                      <a:pt x="-3141" y="12015"/>
                      <a:pt x="10209" y="0"/>
                    </a:cubicBezTo>
                    <a:lnTo>
                      <a:pt x="10209" y="0"/>
                    </a:lnTo>
                  </a:path>
                </a:pathLst>
              </a:custGeom>
              <a:noFill/>
              <a:ln w="6350" cap="rnd">
                <a:solidFill>
                  <a:schemeClr val="bg1"/>
                </a:solidFill>
                <a:prstDash val="solid"/>
                <a:round/>
              </a:ln>
            </p:spPr>
            <p:txBody>
              <a:bodyPr rtlCol="0" anchor="ctr"/>
              <a:lstStyle/>
              <a:p>
                <a:endParaRPr lang="da-DK">
                  <a:latin typeface="+mj-lt"/>
                </a:endParaRPr>
              </a:p>
            </p:txBody>
          </p:sp>
          <p:sp>
            <p:nvSpPr>
              <p:cNvPr id="47" name="Freeform: Shape 46">
                <a:extLst>
                  <a:ext uri="{FF2B5EF4-FFF2-40B4-BE49-F238E27FC236}">
                    <a16:creationId xmlns:a16="http://schemas.microsoft.com/office/drawing/2014/main" id="{95E3D388-F31D-F465-6884-CFE1F85DBCAC}"/>
                  </a:ext>
                </a:extLst>
              </p:cNvPr>
              <p:cNvSpPr/>
              <p:nvPr/>
            </p:nvSpPr>
            <p:spPr>
              <a:xfrm>
                <a:off x="3288051" y="4257306"/>
                <a:ext cx="120154" cy="93453"/>
              </a:xfrm>
              <a:custGeom>
                <a:avLst/>
                <a:gdLst>
                  <a:gd name="connsiteX0" fmla="*/ 5260 w 120153"/>
                  <a:gd name="connsiteY0" fmla="*/ 28217 h 93452"/>
                  <a:gd name="connsiteX1" fmla="*/ 5260 w 120153"/>
                  <a:gd name="connsiteY1" fmla="*/ 4186 h 93452"/>
                  <a:gd name="connsiteX2" fmla="*/ 28623 w 120153"/>
                  <a:gd name="connsiteY2" fmla="*/ 4853 h 93452"/>
                  <a:gd name="connsiteX3" fmla="*/ 126081 w 120153"/>
                  <a:gd name="connsiteY3" fmla="*/ 95636 h 93452"/>
                </a:gdLst>
                <a:ahLst/>
                <a:cxnLst>
                  <a:cxn ang="0">
                    <a:pos x="connsiteX0" y="connsiteY0"/>
                  </a:cxn>
                  <a:cxn ang="0">
                    <a:pos x="connsiteX1" y="connsiteY1"/>
                  </a:cxn>
                  <a:cxn ang="0">
                    <a:pos x="connsiteX2" y="connsiteY2"/>
                  </a:cxn>
                  <a:cxn ang="0">
                    <a:pos x="connsiteX3" y="connsiteY3"/>
                  </a:cxn>
                </a:cxnLst>
                <a:rect l="l" t="t" r="r" b="b"/>
                <a:pathLst>
                  <a:path w="120153" h="93452">
                    <a:moveTo>
                      <a:pt x="5260" y="28217"/>
                    </a:moveTo>
                    <a:cubicBezTo>
                      <a:pt x="-1415" y="22209"/>
                      <a:pt x="-2083" y="10861"/>
                      <a:pt x="5260" y="4186"/>
                    </a:cubicBezTo>
                    <a:cubicBezTo>
                      <a:pt x="11935" y="-1822"/>
                      <a:pt x="21948" y="-1154"/>
                      <a:pt x="28623" y="4853"/>
                    </a:cubicBezTo>
                    <a:lnTo>
                      <a:pt x="126081" y="95636"/>
                    </a:lnTo>
                  </a:path>
                </a:pathLst>
              </a:custGeom>
              <a:noFill/>
              <a:ln w="6350" cap="rnd">
                <a:solidFill>
                  <a:schemeClr val="bg1"/>
                </a:solidFill>
                <a:prstDash val="solid"/>
                <a:round/>
              </a:ln>
            </p:spPr>
            <p:txBody>
              <a:bodyPr rtlCol="0" anchor="ctr"/>
              <a:lstStyle/>
              <a:p>
                <a:endParaRPr lang="da-DK">
                  <a:latin typeface="+mj-lt"/>
                </a:endParaRPr>
              </a:p>
            </p:txBody>
          </p:sp>
          <p:sp>
            <p:nvSpPr>
              <p:cNvPr id="48" name="Freeform: Shape 47">
                <a:extLst>
                  <a:ext uri="{FF2B5EF4-FFF2-40B4-BE49-F238E27FC236}">
                    <a16:creationId xmlns:a16="http://schemas.microsoft.com/office/drawing/2014/main" id="{14B83E07-4098-8436-241B-C844E5647E1D}"/>
                  </a:ext>
                </a:extLst>
              </p:cNvPr>
              <p:cNvSpPr/>
              <p:nvPr/>
            </p:nvSpPr>
            <p:spPr>
              <a:xfrm>
                <a:off x="3248755" y="4264887"/>
                <a:ext cx="93453" cy="113478"/>
              </a:xfrm>
              <a:custGeom>
                <a:avLst/>
                <a:gdLst>
                  <a:gd name="connsiteX0" fmla="*/ 98624 w 93452"/>
                  <a:gd name="connsiteY0" fmla="*/ 115424 h 113478"/>
                  <a:gd name="connsiteX1" fmla="*/ 5839 w 93452"/>
                  <a:gd name="connsiteY1" fmla="*/ 29314 h 113478"/>
                  <a:gd name="connsiteX2" fmla="*/ 3837 w 93452"/>
                  <a:gd name="connsiteY2" fmla="*/ 5951 h 113478"/>
                  <a:gd name="connsiteX3" fmla="*/ 27200 w 93452"/>
                  <a:gd name="connsiteY3" fmla="*/ 4616 h 113478"/>
                  <a:gd name="connsiteX4" fmla="*/ 87944 w 93452"/>
                  <a:gd name="connsiteY4" fmla="*/ 61355 h 113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52" h="113478">
                    <a:moveTo>
                      <a:pt x="98624" y="115424"/>
                    </a:moveTo>
                    <a:lnTo>
                      <a:pt x="5839" y="29314"/>
                    </a:lnTo>
                    <a:cubicBezTo>
                      <a:pt x="-836" y="23307"/>
                      <a:pt x="-2171" y="13294"/>
                      <a:pt x="3837" y="5951"/>
                    </a:cubicBezTo>
                    <a:cubicBezTo>
                      <a:pt x="9844" y="-1392"/>
                      <a:pt x="20525" y="-2059"/>
                      <a:pt x="27200" y="4616"/>
                    </a:cubicBezTo>
                    <a:lnTo>
                      <a:pt x="87944" y="61355"/>
                    </a:lnTo>
                  </a:path>
                </a:pathLst>
              </a:custGeom>
              <a:noFill/>
              <a:ln w="6350" cap="rnd">
                <a:solidFill>
                  <a:schemeClr val="bg1"/>
                </a:solidFill>
                <a:prstDash val="solid"/>
                <a:round/>
              </a:ln>
            </p:spPr>
            <p:txBody>
              <a:bodyPr rtlCol="0" anchor="ctr"/>
              <a:lstStyle/>
              <a:p>
                <a:endParaRPr lang="da-DK">
                  <a:latin typeface="+mj-lt"/>
                </a:endParaRPr>
              </a:p>
            </p:txBody>
          </p:sp>
          <p:sp>
            <p:nvSpPr>
              <p:cNvPr id="49" name="Freeform: Shape 48">
                <a:extLst>
                  <a:ext uri="{FF2B5EF4-FFF2-40B4-BE49-F238E27FC236}">
                    <a16:creationId xmlns:a16="http://schemas.microsoft.com/office/drawing/2014/main" id="{5B79CD40-737F-16EC-EFC6-12390860985A}"/>
                  </a:ext>
                </a:extLst>
              </p:cNvPr>
              <p:cNvSpPr/>
              <p:nvPr/>
            </p:nvSpPr>
            <p:spPr>
              <a:xfrm>
                <a:off x="3243627" y="4304842"/>
                <a:ext cx="66752" cy="80102"/>
              </a:xfrm>
              <a:custGeom>
                <a:avLst/>
                <a:gdLst>
                  <a:gd name="connsiteX0" fmla="*/ 67706 w 66752"/>
                  <a:gd name="connsiteY0" fmla="*/ 86149 h 80102"/>
                  <a:gd name="connsiteX1" fmla="*/ 5627 w 66752"/>
                  <a:gd name="connsiteY1" fmla="*/ 28742 h 80102"/>
                  <a:gd name="connsiteX2" fmla="*/ 2289 w 66752"/>
                  <a:gd name="connsiteY2" fmla="*/ 8049 h 80102"/>
                  <a:gd name="connsiteX3" fmla="*/ 27655 w 66752"/>
                  <a:gd name="connsiteY3" fmla="*/ 4712 h 80102"/>
                </a:gdLst>
                <a:ahLst/>
                <a:cxnLst>
                  <a:cxn ang="0">
                    <a:pos x="connsiteX0" y="connsiteY0"/>
                  </a:cxn>
                  <a:cxn ang="0">
                    <a:pos x="connsiteX1" y="connsiteY1"/>
                  </a:cxn>
                  <a:cxn ang="0">
                    <a:pos x="connsiteX2" y="connsiteY2"/>
                  </a:cxn>
                  <a:cxn ang="0">
                    <a:pos x="connsiteX3" y="connsiteY3"/>
                  </a:cxn>
                </a:cxnLst>
                <a:rect l="l" t="t" r="r" b="b"/>
                <a:pathLst>
                  <a:path w="66752" h="80102">
                    <a:moveTo>
                      <a:pt x="67706" y="86149"/>
                    </a:moveTo>
                    <a:lnTo>
                      <a:pt x="5627" y="28742"/>
                    </a:lnTo>
                    <a:cubicBezTo>
                      <a:pt x="-381" y="23402"/>
                      <a:pt x="-1716" y="14724"/>
                      <a:pt x="2289" y="8049"/>
                    </a:cubicBezTo>
                    <a:cubicBezTo>
                      <a:pt x="7630" y="-1296"/>
                      <a:pt x="20313" y="-2631"/>
                      <a:pt x="27655" y="4712"/>
                    </a:cubicBezTo>
                  </a:path>
                </a:pathLst>
              </a:custGeom>
              <a:noFill/>
              <a:ln w="6350" cap="rnd">
                <a:solidFill>
                  <a:schemeClr val="bg1"/>
                </a:solidFill>
                <a:prstDash val="solid"/>
                <a:round/>
              </a:ln>
            </p:spPr>
            <p:txBody>
              <a:bodyPr rtlCol="0" anchor="ctr"/>
              <a:lstStyle/>
              <a:p>
                <a:endParaRPr lang="da-DK">
                  <a:latin typeface="+mj-lt"/>
                </a:endParaRPr>
              </a:p>
            </p:txBody>
          </p:sp>
          <p:sp>
            <p:nvSpPr>
              <p:cNvPr id="50" name="Freeform: Shape 49">
                <a:extLst>
                  <a:ext uri="{FF2B5EF4-FFF2-40B4-BE49-F238E27FC236}">
                    <a16:creationId xmlns:a16="http://schemas.microsoft.com/office/drawing/2014/main" id="{BE90CE51-C515-64F4-E2B1-0003A2ECCA4B}"/>
                  </a:ext>
                </a:extLst>
              </p:cNvPr>
              <p:cNvSpPr/>
              <p:nvPr/>
            </p:nvSpPr>
            <p:spPr>
              <a:xfrm>
                <a:off x="3252305" y="4358911"/>
                <a:ext cx="166880" cy="153530"/>
              </a:xfrm>
              <a:custGeom>
                <a:avLst/>
                <a:gdLst>
                  <a:gd name="connsiteX0" fmla="*/ 171840 w 166880"/>
                  <a:gd name="connsiteY0" fmla="*/ 158241 h 153529"/>
                  <a:gd name="connsiteX1" fmla="*/ 142469 w 166880"/>
                  <a:gd name="connsiteY1" fmla="*/ 130873 h 153529"/>
                  <a:gd name="connsiteX2" fmla="*/ 142469 w 166880"/>
                  <a:gd name="connsiteY2" fmla="*/ 130873 h 153529"/>
                  <a:gd name="connsiteX3" fmla="*/ 93740 w 166880"/>
                  <a:gd name="connsiteY3" fmla="*/ 109512 h 153529"/>
                  <a:gd name="connsiteX4" fmla="*/ 45011 w 166880"/>
                  <a:gd name="connsiteY4" fmla="*/ 64788 h 153529"/>
                  <a:gd name="connsiteX5" fmla="*/ 5627 w 166880"/>
                  <a:gd name="connsiteY5" fmla="*/ 28742 h 153529"/>
                  <a:gd name="connsiteX6" fmla="*/ 2289 w 166880"/>
                  <a:gd name="connsiteY6" fmla="*/ 8049 h 153529"/>
                  <a:gd name="connsiteX7" fmla="*/ 27655 w 166880"/>
                  <a:gd name="connsiteY7" fmla="*/ 4712 h 15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880" h="153529">
                    <a:moveTo>
                      <a:pt x="171840" y="158241"/>
                    </a:moveTo>
                    <a:lnTo>
                      <a:pt x="142469" y="130873"/>
                    </a:lnTo>
                    <a:lnTo>
                      <a:pt x="142469" y="130873"/>
                    </a:lnTo>
                    <a:cubicBezTo>
                      <a:pt x="125113" y="129538"/>
                      <a:pt x="107758" y="122195"/>
                      <a:pt x="93740" y="109512"/>
                    </a:cubicBezTo>
                    <a:lnTo>
                      <a:pt x="45011" y="64788"/>
                    </a:lnTo>
                    <a:lnTo>
                      <a:pt x="5627" y="28742"/>
                    </a:lnTo>
                    <a:cubicBezTo>
                      <a:pt x="-381" y="23402"/>
                      <a:pt x="-1716" y="14724"/>
                      <a:pt x="2289" y="8049"/>
                    </a:cubicBezTo>
                    <a:cubicBezTo>
                      <a:pt x="7630" y="-1296"/>
                      <a:pt x="20312" y="-2631"/>
                      <a:pt x="27655" y="4712"/>
                    </a:cubicBezTo>
                  </a:path>
                </a:pathLst>
              </a:custGeom>
              <a:noFill/>
              <a:ln w="6350" cap="rnd">
                <a:solidFill>
                  <a:schemeClr val="bg1"/>
                </a:solidFill>
                <a:prstDash val="solid"/>
                <a:round/>
              </a:ln>
            </p:spPr>
            <p:txBody>
              <a:bodyPr rtlCol="0" anchor="ctr"/>
              <a:lstStyle/>
              <a:p>
                <a:endParaRPr lang="da-DK">
                  <a:latin typeface="+mj-lt"/>
                </a:endParaRPr>
              </a:p>
            </p:txBody>
          </p:sp>
          <p:sp>
            <p:nvSpPr>
              <p:cNvPr id="51" name="Freeform: Shape 50">
                <a:extLst>
                  <a:ext uri="{FF2B5EF4-FFF2-40B4-BE49-F238E27FC236}">
                    <a16:creationId xmlns:a16="http://schemas.microsoft.com/office/drawing/2014/main" id="{47C96A10-EDD8-676F-6CCC-C0F428EC75B4}"/>
                  </a:ext>
                </a:extLst>
              </p:cNvPr>
              <p:cNvSpPr/>
              <p:nvPr/>
            </p:nvSpPr>
            <p:spPr>
              <a:xfrm>
                <a:off x="3396108" y="4264830"/>
                <a:ext cx="93453" cy="186906"/>
              </a:xfrm>
              <a:custGeom>
                <a:avLst/>
                <a:gdLst>
                  <a:gd name="connsiteX0" fmla="*/ 0 w 93452"/>
                  <a:gd name="connsiteY0" fmla="*/ 0 h 186905"/>
                  <a:gd name="connsiteX1" fmla="*/ 66084 w 93452"/>
                  <a:gd name="connsiteY1" fmla="*/ 86778 h 186905"/>
                  <a:gd name="connsiteX2" fmla="*/ 72760 w 93452"/>
                  <a:gd name="connsiteY2" fmla="*/ 163543 h 186905"/>
                  <a:gd name="connsiteX3" fmla="*/ 98793 w 93452"/>
                  <a:gd name="connsiteY3" fmla="*/ 188241 h 186905"/>
                </a:gdLst>
                <a:ahLst/>
                <a:cxnLst>
                  <a:cxn ang="0">
                    <a:pos x="connsiteX0" y="connsiteY0"/>
                  </a:cxn>
                  <a:cxn ang="0">
                    <a:pos x="connsiteX1" y="connsiteY1"/>
                  </a:cxn>
                  <a:cxn ang="0">
                    <a:pos x="connsiteX2" y="connsiteY2"/>
                  </a:cxn>
                  <a:cxn ang="0">
                    <a:pos x="connsiteX3" y="connsiteY3"/>
                  </a:cxn>
                </a:cxnLst>
                <a:rect l="l" t="t" r="r" b="b"/>
                <a:pathLst>
                  <a:path w="93452" h="186905">
                    <a:moveTo>
                      <a:pt x="0" y="0"/>
                    </a:moveTo>
                    <a:lnTo>
                      <a:pt x="66084" y="86778"/>
                    </a:lnTo>
                    <a:cubicBezTo>
                      <a:pt x="84108" y="110808"/>
                      <a:pt x="82772" y="137509"/>
                      <a:pt x="72760" y="163543"/>
                    </a:cubicBezTo>
                    <a:lnTo>
                      <a:pt x="98793" y="188241"/>
                    </a:lnTo>
                  </a:path>
                </a:pathLst>
              </a:custGeom>
              <a:noFill/>
              <a:ln w="6350" cap="rnd">
                <a:solidFill>
                  <a:schemeClr val="bg1"/>
                </a:solidFill>
                <a:prstDash val="solid"/>
                <a:round/>
              </a:ln>
            </p:spPr>
            <p:txBody>
              <a:bodyPr rtlCol="0" anchor="ctr"/>
              <a:lstStyle/>
              <a:p>
                <a:endParaRPr lang="da-DK">
                  <a:latin typeface="+mj-lt"/>
                </a:endParaRPr>
              </a:p>
            </p:txBody>
          </p:sp>
          <p:sp>
            <p:nvSpPr>
              <p:cNvPr id="52" name="Freeform: Shape 51">
                <a:extLst>
                  <a:ext uri="{FF2B5EF4-FFF2-40B4-BE49-F238E27FC236}">
                    <a16:creationId xmlns:a16="http://schemas.microsoft.com/office/drawing/2014/main" id="{AA839EED-D05E-D580-D053-A8A76EC5C5C8}"/>
                  </a:ext>
                </a:extLst>
              </p:cNvPr>
              <p:cNvSpPr/>
              <p:nvPr/>
            </p:nvSpPr>
            <p:spPr>
              <a:xfrm>
                <a:off x="3271950" y="4446395"/>
                <a:ext cx="46726" cy="20026"/>
              </a:xfrm>
              <a:custGeom>
                <a:avLst/>
                <a:gdLst>
                  <a:gd name="connsiteX0" fmla="*/ 0 w 46726"/>
                  <a:gd name="connsiteY0" fmla="*/ 26033 h 20025"/>
                  <a:gd name="connsiteX1" fmla="*/ 50731 w 46726"/>
                  <a:gd name="connsiteY1" fmla="*/ 0 h 20025"/>
                </a:gdLst>
                <a:ahLst/>
                <a:cxnLst>
                  <a:cxn ang="0">
                    <a:pos x="connsiteX0" y="connsiteY0"/>
                  </a:cxn>
                  <a:cxn ang="0">
                    <a:pos x="connsiteX1" y="connsiteY1"/>
                  </a:cxn>
                </a:cxnLst>
                <a:rect l="l" t="t" r="r" b="b"/>
                <a:pathLst>
                  <a:path w="46726" h="20025">
                    <a:moveTo>
                      <a:pt x="0" y="26033"/>
                    </a:moveTo>
                    <a:lnTo>
                      <a:pt x="50731" y="0"/>
                    </a:lnTo>
                  </a:path>
                </a:pathLst>
              </a:custGeom>
              <a:ln w="6350" cap="rnd">
                <a:solidFill>
                  <a:schemeClr val="bg1"/>
                </a:solidFill>
                <a:prstDash val="solid"/>
                <a:round/>
              </a:ln>
            </p:spPr>
            <p:txBody>
              <a:bodyPr rtlCol="0" anchor="ctr"/>
              <a:lstStyle/>
              <a:p>
                <a:endParaRPr lang="da-DK">
                  <a:latin typeface="+mj-lt"/>
                </a:endParaRPr>
              </a:p>
            </p:txBody>
          </p:sp>
          <p:sp>
            <p:nvSpPr>
              <p:cNvPr id="53" name="Freeform: Shape 52">
                <a:extLst>
                  <a:ext uri="{FF2B5EF4-FFF2-40B4-BE49-F238E27FC236}">
                    <a16:creationId xmlns:a16="http://schemas.microsoft.com/office/drawing/2014/main" id="{8E9AC408-7277-7522-112E-829A3E3D93BA}"/>
                  </a:ext>
                </a:extLst>
              </p:cNvPr>
              <p:cNvSpPr/>
              <p:nvPr/>
            </p:nvSpPr>
            <p:spPr>
              <a:xfrm>
                <a:off x="3271950" y="4432377"/>
                <a:ext cx="33376" cy="40051"/>
              </a:xfrm>
              <a:custGeom>
                <a:avLst/>
                <a:gdLst>
                  <a:gd name="connsiteX0" fmla="*/ 36046 w 33376"/>
                  <a:gd name="connsiteY0" fmla="*/ 0 h 40051"/>
                  <a:gd name="connsiteX1" fmla="*/ 0 w 33376"/>
                  <a:gd name="connsiteY1" fmla="*/ 40051 h 40051"/>
                </a:gdLst>
                <a:ahLst/>
                <a:cxnLst>
                  <a:cxn ang="0">
                    <a:pos x="connsiteX0" y="connsiteY0"/>
                  </a:cxn>
                  <a:cxn ang="0">
                    <a:pos x="connsiteX1" y="connsiteY1"/>
                  </a:cxn>
                </a:cxnLst>
                <a:rect l="l" t="t" r="r" b="b"/>
                <a:pathLst>
                  <a:path w="33376" h="40051">
                    <a:moveTo>
                      <a:pt x="36046" y="0"/>
                    </a:moveTo>
                    <a:lnTo>
                      <a:pt x="0" y="40051"/>
                    </a:lnTo>
                  </a:path>
                </a:pathLst>
              </a:custGeom>
              <a:ln w="6350" cap="rnd">
                <a:solidFill>
                  <a:schemeClr val="bg1"/>
                </a:solidFill>
                <a:prstDash val="solid"/>
                <a:round/>
              </a:ln>
            </p:spPr>
            <p:txBody>
              <a:bodyPr rtlCol="0" anchor="ctr"/>
              <a:lstStyle/>
              <a:p>
                <a:endParaRPr lang="da-DK">
                  <a:latin typeface="+mj-lt"/>
                </a:endParaRPr>
              </a:p>
            </p:txBody>
          </p:sp>
          <p:sp>
            <p:nvSpPr>
              <p:cNvPr id="54" name="Freeform: Shape 53">
                <a:extLst>
                  <a:ext uri="{FF2B5EF4-FFF2-40B4-BE49-F238E27FC236}">
                    <a16:creationId xmlns:a16="http://schemas.microsoft.com/office/drawing/2014/main" id="{517C1372-1446-B4AE-9E2B-F7885DC5FA31}"/>
                  </a:ext>
                </a:extLst>
              </p:cNvPr>
              <p:cNvSpPr/>
              <p:nvPr/>
            </p:nvSpPr>
            <p:spPr>
              <a:xfrm>
                <a:off x="3125095" y="4332249"/>
                <a:ext cx="120154" cy="146854"/>
              </a:xfrm>
              <a:custGeom>
                <a:avLst/>
                <a:gdLst>
                  <a:gd name="connsiteX0" fmla="*/ 122824 w 120153"/>
                  <a:gd name="connsiteY0" fmla="*/ 0 h 146854"/>
                  <a:gd name="connsiteX1" fmla="*/ 44056 w 120153"/>
                  <a:gd name="connsiteY1" fmla="*/ 81437 h 146854"/>
                  <a:gd name="connsiteX2" fmla="*/ 25366 w 120153"/>
                  <a:gd name="connsiteY2" fmla="*/ 124826 h 146854"/>
                  <a:gd name="connsiteX3" fmla="*/ 25366 w 120153"/>
                  <a:gd name="connsiteY3" fmla="*/ 124826 h 146854"/>
                  <a:gd name="connsiteX4" fmla="*/ 0 w 120153"/>
                  <a:gd name="connsiteY4" fmla="*/ 152862 h 146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53" h="146854">
                    <a:moveTo>
                      <a:pt x="122824" y="0"/>
                    </a:moveTo>
                    <a:lnTo>
                      <a:pt x="44056" y="81437"/>
                    </a:lnTo>
                    <a:cubicBezTo>
                      <a:pt x="32709" y="94120"/>
                      <a:pt x="26701" y="109473"/>
                      <a:pt x="25366" y="124826"/>
                    </a:cubicBezTo>
                    <a:lnTo>
                      <a:pt x="25366" y="124826"/>
                    </a:lnTo>
                    <a:lnTo>
                      <a:pt x="0" y="152862"/>
                    </a:lnTo>
                  </a:path>
                </a:pathLst>
              </a:custGeom>
              <a:noFill/>
              <a:ln w="6350" cap="rnd">
                <a:solidFill>
                  <a:schemeClr val="bg1"/>
                </a:solidFill>
                <a:prstDash val="solid"/>
                <a:round/>
              </a:ln>
            </p:spPr>
            <p:txBody>
              <a:bodyPr rtlCol="0" anchor="ctr"/>
              <a:lstStyle/>
              <a:p>
                <a:endParaRPr lang="da-DK">
                  <a:latin typeface="+mj-lt"/>
                </a:endParaRPr>
              </a:p>
            </p:txBody>
          </p:sp>
          <p:sp>
            <p:nvSpPr>
              <p:cNvPr id="55" name="Freeform: Shape 54">
                <a:extLst>
                  <a:ext uri="{FF2B5EF4-FFF2-40B4-BE49-F238E27FC236}">
                    <a16:creationId xmlns:a16="http://schemas.microsoft.com/office/drawing/2014/main" id="{674EBF30-1397-7C0C-5BC9-5A2F0FCEABDA}"/>
                  </a:ext>
                </a:extLst>
              </p:cNvPr>
              <p:cNvSpPr/>
              <p:nvPr/>
            </p:nvSpPr>
            <p:spPr>
              <a:xfrm>
                <a:off x="3194517" y="4463083"/>
                <a:ext cx="140179" cy="80102"/>
              </a:xfrm>
              <a:custGeom>
                <a:avLst/>
                <a:gdLst>
                  <a:gd name="connsiteX0" fmla="*/ 146187 w 140179"/>
                  <a:gd name="connsiteY0" fmla="*/ 0 h 80102"/>
                  <a:gd name="connsiteX1" fmla="*/ 79435 w 140179"/>
                  <a:gd name="connsiteY1" fmla="*/ 51399 h 80102"/>
                  <a:gd name="connsiteX2" fmla="*/ 20693 w 140179"/>
                  <a:gd name="connsiteY2" fmla="*/ 59409 h 80102"/>
                  <a:gd name="connsiteX3" fmla="*/ 0 w 140179"/>
                  <a:gd name="connsiteY3" fmla="*/ 82105 h 80102"/>
                </a:gdLst>
                <a:ahLst/>
                <a:cxnLst>
                  <a:cxn ang="0">
                    <a:pos x="connsiteX0" y="connsiteY0"/>
                  </a:cxn>
                  <a:cxn ang="0">
                    <a:pos x="connsiteX1" y="connsiteY1"/>
                  </a:cxn>
                  <a:cxn ang="0">
                    <a:pos x="connsiteX2" y="connsiteY2"/>
                  </a:cxn>
                  <a:cxn ang="0">
                    <a:pos x="connsiteX3" y="connsiteY3"/>
                  </a:cxn>
                </a:cxnLst>
                <a:rect l="l" t="t" r="r" b="b"/>
                <a:pathLst>
                  <a:path w="140179" h="80102">
                    <a:moveTo>
                      <a:pt x="146187" y="0"/>
                    </a:moveTo>
                    <a:lnTo>
                      <a:pt x="79435" y="51399"/>
                    </a:lnTo>
                    <a:cubicBezTo>
                      <a:pt x="58074" y="67420"/>
                      <a:pt x="43389" y="68755"/>
                      <a:pt x="20693" y="59409"/>
                    </a:cubicBezTo>
                    <a:lnTo>
                      <a:pt x="0" y="82105"/>
                    </a:lnTo>
                  </a:path>
                </a:pathLst>
              </a:custGeom>
              <a:noFill/>
              <a:ln w="6350" cap="rnd">
                <a:solidFill>
                  <a:schemeClr val="bg1"/>
                </a:solidFill>
                <a:prstDash val="solid"/>
                <a:round/>
              </a:ln>
            </p:spPr>
            <p:txBody>
              <a:bodyPr rtlCol="0" anchor="ctr"/>
              <a:lstStyle/>
              <a:p>
                <a:endParaRPr lang="da-DK">
                  <a:latin typeface="+mj-lt"/>
                </a:endParaRPr>
              </a:p>
            </p:txBody>
          </p:sp>
          <p:sp>
            <p:nvSpPr>
              <p:cNvPr id="56" name="Freeform: Shape 55">
                <a:extLst>
                  <a:ext uri="{FF2B5EF4-FFF2-40B4-BE49-F238E27FC236}">
                    <a16:creationId xmlns:a16="http://schemas.microsoft.com/office/drawing/2014/main" id="{944E3274-167B-738A-DF88-546CFBA0A6C0}"/>
                  </a:ext>
                </a:extLst>
              </p:cNvPr>
              <p:cNvSpPr/>
              <p:nvPr/>
            </p:nvSpPr>
            <p:spPr>
              <a:xfrm>
                <a:off x="3402784" y="4163183"/>
                <a:ext cx="166880" cy="313735"/>
              </a:xfrm>
              <a:custGeom>
                <a:avLst/>
                <a:gdLst>
                  <a:gd name="connsiteX0" fmla="*/ 0 w 166880"/>
                  <a:gd name="connsiteY0" fmla="*/ 2854 h 313734"/>
                  <a:gd name="connsiteX1" fmla="*/ 90115 w 166880"/>
                  <a:gd name="connsiteY1" fmla="*/ 14202 h 313734"/>
                  <a:gd name="connsiteX2" fmla="*/ 159537 w 166880"/>
                  <a:gd name="connsiteY2" fmla="*/ 207782 h 313734"/>
                  <a:gd name="connsiteX3" fmla="*/ 60744 w 166880"/>
                  <a:gd name="connsiteY3" fmla="*/ 318591 h 313734"/>
                </a:gdLst>
                <a:ahLst/>
                <a:cxnLst>
                  <a:cxn ang="0">
                    <a:pos x="connsiteX0" y="connsiteY0"/>
                  </a:cxn>
                  <a:cxn ang="0">
                    <a:pos x="connsiteX1" y="connsiteY1"/>
                  </a:cxn>
                  <a:cxn ang="0">
                    <a:pos x="connsiteX2" y="connsiteY2"/>
                  </a:cxn>
                  <a:cxn ang="0">
                    <a:pos x="connsiteX3" y="connsiteY3"/>
                  </a:cxn>
                </a:cxnLst>
                <a:rect l="l" t="t" r="r" b="b"/>
                <a:pathLst>
                  <a:path w="166880" h="313734">
                    <a:moveTo>
                      <a:pt x="0" y="2854"/>
                    </a:moveTo>
                    <a:cubicBezTo>
                      <a:pt x="29371" y="-3154"/>
                      <a:pt x="60744" y="184"/>
                      <a:pt x="90115" y="14202"/>
                    </a:cubicBezTo>
                    <a:cubicBezTo>
                      <a:pt x="162875" y="48245"/>
                      <a:pt x="193581" y="135023"/>
                      <a:pt x="159537" y="207782"/>
                    </a:cubicBezTo>
                    <a:cubicBezTo>
                      <a:pt x="146855" y="234483"/>
                      <a:pt x="106803" y="276537"/>
                      <a:pt x="60744" y="318591"/>
                    </a:cubicBezTo>
                  </a:path>
                </a:pathLst>
              </a:custGeom>
              <a:noFill/>
              <a:ln w="6350" cap="rnd">
                <a:solidFill>
                  <a:schemeClr val="bg1"/>
                </a:solidFill>
                <a:prstDash val="solid"/>
                <a:round/>
              </a:ln>
            </p:spPr>
            <p:txBody>
              <a:bodyPr rtlCol="0" anchor="ctr"/>
              <a:lstStyle/>
              <a:p>
                <a:endParaRPr lang="da-DK">
                  <a:latin typeface="+mj-lt"/>
                </a:endParaRPr>
              </a:p>
            </p:txBody>
          </p:sp>
          <p:sp>
            <p:nvSpPr>
              <p:cNvPr id="57" name="Freeform: Shape 56">
                <a:extLst>
                  <a:ext uri="{FF2B5EF4-FFF2-40B4-BE49-F238E27FC236}">
                    <a16:creationId xmlns:a16="http://schemas.microsoft.com/office/drawing/2014/main" id="{A4567734-DF8D-963D-F2C0-D49D51D87397}"/>
                  </a:ext>
                </a:extLst>
              </p:cNvPr>
              <p:cNvSpPr/>
              <p:nvPr/>
            </p:nvSpPr>
            <p:spPr>
              <a:xfrm>
                <a:off x="3203195" y="4171377"/>
                <a:ext cx="26701" cy="6675"/>
              </a:xfrm>
              <a:custGeom>
                <a:avLst/>
                <a:gdLst>
                  <a:gd name="connsiteX0" fmla="*/ 0 w 26700"/>
                  <a:gd name="connsiteY0" fmla="*/ 0 h 6675"/>
                  <a:gd name="connsiteX1" fmla="*/ 28036 w 26700"/>
                  <a:gd name="connsiteY1" fmla="*/ 13350 h 6675"/>
                </a:gdLst>
                <a:ahLst/>
                <a:cxnLst>
                  <a:cxn ang="0">
                    <a:pos x="connsiteX0" y="connsiteY0"/>
                  </a:cxn>
                  <a:cxn ang="0">
                    <a:pos x="connsiteX1" y="connsiteY1"/>
                  </a:cxn>
                </a:cxnLst>
                <a:rect l="l" t="t" r="r" b="b"/>
                <a:pathLst>
                  <a:path w="26700" h="6675">
                    <a:moveTo>
                      <a:pt x="0" y="0"/>
                    </a:moveTo>
                    <a:cubicBezTo>
                      <a:pt x="10013" y="3338"/>
                      <a:pt x="19358" y="8010"/>
                      <a:pt x="28036" y="13350"/>
                    </a:cubicBezTo>
                  </a:path>
                </a:pathLst>
              </a:custGeom>
              <a:noFill/>
              <a:ln w="6350" cap="rnd">
                <a:solidFill>
                  <a:schemeClr val="bg1"/>
                </a:solidFill>
                <a:prstDash val="solid"/>
                <a:round/>
              </a:ln>
            </p:spPr>
            <p:txBody>
              <a:bodyPr rtlCol="0" anchor="ctr"/>
              <a:lstStyle/>
              <a:p>
                <a:endParaRPr lang="da-DK">
                  <a:latin typeface="+mj-lt"/>
                </a:endParaRPr>
              </a:p>
            </p:txBody>
          </p:sp>
        </p:grpSp>
      </p:grpSp>
      <p:cxnSp>
        <p:nvCxnSpPr>
          <p:cNvPr id="115" name="Straight Connector 114">
            <a:extLst>
              <a:ext uri="{FF2B5EF4-FFF2-40B4-BE49-F238E27FC236}">
                <a16:creationId xmlns:a16="http://schemas.microsoft.com/office/drawing/2014/main" id="{3CEB9A90-1191-0E80-005E-11CFC6ABDA5B}"/>
              </a:ext>
            </a:extLst>
          </p:cNvPr>
          <p:cNvCxnSpPr>
            <a:cxnSpLocks/>
          </p:cNvCxnSpPr>
          <p:nvPr/>
        </p:nvCxnSpPr>
        <p:spPr>
          <a:xfrm>
            <a:off x="543000" y="1340051"/>
            <a:ext cx="8820000" cy="0"/>
          </a:xfrm>
          <a:prstGeom prst="line">
            <a:avLst/>
          </a:prstGeom>
          <a:ln w="19050">
            <a:solidFill>
              <a:srgbClr val="24465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7844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DB06AE-7DB7-0091-8A3D-AEEDC33392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6" name="think-cell data - do not delete" hidden="1">
                        <a:extLst>
                          <a:ext uri="{FF2B5EF4-FFF2-40B4-BE49-F238E27FC236}">
                            <a16:creationId xmlns:a16="http://schemas.microsoft.com/office/drawing/2014/main" id="{3ADB06AE-7DB7-0091-8A3D-AEEDC33392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152B8A2E-436A-B35E-B10E-F1819EC1D669}"/>
              </a:ext>
            </a:extLst>
          </p:cNvPr>
          <p:cNvSpPr/>
          <p:nvPr/>
        </p:nvSpPr>
        <p:spPr>
          <a:xfrm>
            <a:off x="0" y="3429000"/>
            <a:ext cx="9906000" cy="342900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pic>
        <p:nvPicPr>
          <p:cNvPr id="36" name="Picture Placeholder 10" descr="A picture containing outdoor object, web&#10;&#10;Description automatically generated">
            <a:extLst>
              <a:ext uri="{FF2B5EF4-FFF2-40B4-BE49-F238E27FC236}">
                <a16:creationId xmlns:a16="http://schemas.microsoft.com/office/drawing/2014/main" id="{31F08385-7137-FEC9-DDB5-04401D1AF7DD}"/>
              </a:ext>
            </a:extLst>
          </p:cNvPr>
          <p:cNvPicPr>
            <a:picLocks noChangeAspect="1"/>
          </p:cNvPicPr>
          <p:nvPr/>
        </p:nvPicPr>
        <p:blipFill rotWithShape="1">
          <a:blip r:embed="rId6">
            <a:duotone>
              <a:prstClr val="black"/>
              <a:srgbClr val="244655">
                <a:tint val="45000"/>
                <a:satMod val="400000"/>
              </a:srgbClr>
            </a:duotone>
            <a:extLst>
              <a:ext uri="{28A0092B-C50C-407E-A947-70E740481C1C}">
                <a14:useLocalDpi xmlns:a14="http://schemas.microsoft.com/office/drawing/2010/main" val="0"/>
              </a:ext>
            </a:extLst>
          </a:blip>
          <a:srcRect l="14519" t="50904" r="32768" b="13126"/>
          <a:stretch/>
        </p:blipFill>
        <p:spPr>
          <a:xfrm>
            <a:off x="1" y="3438300"/>
            <a:ext cx="9906000" cy="3406738"/>
          </a:xfrm>
          <a:prstGeom prst="rect">
            <a:avLst/>
          </a:prstGeom>
          <a:noFill/>
          <a:ln>
            <a:solidFill>
              <a:srgbClr val="244655"/>
            </a:solidFill>
          </a:ln>
        </p:spPr>
      </p:pic>
      <p:sp>
        <p:nvSpPr>
          <p:cNvPr id="14" name="Rectangle 13">
            <a:extLst>
              <a:ext uri="{FF2B5EF4-FFF2-40B4-BE49-F238E27FC236}">
                <a16:creationId xmlns:a16="http://schemas.microsoft.com/office/drawing/2014/main" id="{3FCB2A97-D775-BFCF-9F3E-1BFC1C8AA143}"/>
              </a:ext>
            </a:extLst>
          </p:cNvPr>
          <p:cNvSpPr/>
          <p:nvPr/>
        </p:nvSpPr>
        <p:spPr>
          <a:xfrm>
            <a:off x="0" y="0"/>
            <a:ext cx="9906000" cy="3429000"/>
          </a:xfrm>
          <a:prstGeom prst="rect">
            <a:avLst/>
          </a:prstGeom>
          <a:solidFill>
            <a:srgbClr val="24465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pic>
        <p:nvPicPr>
          <p:cNvPr id="24" name="Picture Placeholder 10" descr="A picture containing outdoor object, web&#10;&#10;Description automatically generated">
            <a:extLst>
              <a:ext uri="{FF2B5EF4-FFF2-40B4-BE49-F238E27FC236}">
                <a16:creationId xmlns:a16="http://schemas.microsoft.com/office/drawing/2014/main" id="{09F581F2-1BAF-71EC-5348-8DD866A9B6E8}"/>
              </a:ext>
            </a:extLst>
          </p:cNvPr>
          <p:cNvPicPr>
            <a:picLocks noGrp="1" noChangeAspect="1"/>
          </p:cNvPicPr>
          <p:nvPr>
            <p:ph type="pic" sz="quarter" idx="15"/>
          </p:nvPr>
        </p:nvPicPr>
        <p:blipFill rotWithShape="1">
          <a:blip r:embed="rId6">
            <a:extLst>
              <a:ext uri="{28A0092B-C50C-407E-A947-70E740481C1C}">
                <a14:useLocalDpi xmlns:a14="http://schemas.microsoft.com/office/drawing/2010/main" val="0"/>
              </a:ext>
            </a:extLst>
          </a:blip>
          <a:srcRect l="14634" t="13795" r="22920" b="50235"/>
          <a:stretch/>
        </p:blipFill>
        <p:spPr>
          <a:xfrm>
            <a:off x="1" y="0"/>
            <a:ext cx="9906000" cy="3406738"/>
          </a:xfrm>
          <a:noFill/>
          <a:ln>
            <a:noFill/>
          </a:ln>
        </p:spPr>
      </p:pic>
      <p:sp>
        <p:nvSpPr>
          <p:cNvPr id="12" name="Rectangle 11">
            <a:extLst>
              <a:ext uri="{FF2B5EF4-FFF2-40B4-BE49-F238E27FC236}">
                <a16:creationId xmlns:a16="http://schemas.microsoft.com/office/drawing/2014/main" id="{C19667BC-F1B7-4085-BD34-B7AF89B6CBFE}"/>
              </a:ext>
            </a:extLst>
          </p:cNvPr>
          <p:cNvSpPr/>
          <p:nvPr/>
        </p:nvSpPr>
        <p:spPr>
          <a:xfrm>
            <a:off x="260205" y="272788"/>
            <a:ext cx="9385590" cy="620421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nchorCtr="0">
            <a:noAutofit/>
          </a:bodyPr>
          <a:lstStyle/>
          <a:p>
            <a:pPr algn="l">
              <a:lnSpc>
                <a:spcPct val="93000"/>
              </a:lnSpc>
            </a:pPr>
            <a:endParaRPr lang="da-DK" sz="1100" noProof="0" dirty="0" err="1">
              <a:solidFill>
                <a:sysClr val="windowText" lastClr="000000"/>
              </a:solidFill>
            </a:endParaRPr>
          </a:p>
        </p:txBody>
      </p:sp>
      <p:sp>
        <p:nvSpPr>
          <p:cNvPr id="13" name="Title 1">
            <a:extLst>
              <a:ext uri="{FF2B5EF4-FFF2-40B4-BE49-F238E27FC236}">
                <a16:creationId xmlns:a16="http://schemas.microsoft.com/office/drawing/2014/main" id="{13CF2DD9-37C5-D1C6-8F21-B99C1D12646B}"/>
              </a:ext>
            </a:extLst>
          </p:cNvPr>
          <p:cNvSpPr txBox="1">
            <a:spLocks/>
          </p:cNvSpPr>
          <p:nvPr/>
        </p:nvSpPr>
        <p:spPr>
          <a:xfrm>
            <a:off x="777000" y="419100"/>
            <a:ext cx="8352000" cy="423807"/>
          </a:xfrm>
          <a:prstGeom prst="rect">
            <a:avLst/>
          </a:prstGeom>
        </p:spPr>
        <p:txBody>
          <a:bodyPr vert="horz" lIns="0" tIns="0" rIns="0" bIns="0" rtlCol="0" anchor="b" anchorCtr="0">
            <a:noAutofit/>
          </a:bodyPr>
          <a:lstStyle>
            <a:lvl1pPr algn="l" defTabSz="742969" rtl="0" eaLnBrk="1" latinLnBrk="0" hangingPunct="1">
              <a:lnSpc>
                <a:spcPct val="90000"/>
              </a:lnSpc>
              <a:spcBef>
                <a:spcPct val="0"/>
              </a:spcBef>
              <a:spcAft>
                <a:spcPts val="1200"/>
              </a:spcAft>
              <a:buNone/>
              <a:defRPr sz="4800" kern="1200">
                <a:solidFill>
                  <a:schemeClr val="bg1"/>
                </a:solidFill>
                <a:latin typeface="Palatino Linotype" panose="02040502050505030304" pitchFamily="18" charset="0"/>
                <a:ea typeface="+mj-ea"/>
                <a:cs typeface="+mj-cs"/>
              </a:defRPr>
            </a:lvl1pPr>
          </a:lstStyle>
          <a:p>
            <a:pPr>
              <a:buFontTx/>
            </a:pPr>
            <a:r>
              <a:rPr lang="da-DK" sz="2800" dirty="0">
                <a:solidFill>
                  <a:schemeClr val="tx1"/>
                </a:solidFill>
                <a:latin typeface="Georgia" panose="02040502050405020303" pitchFamily="18" charset="0"/>
                <a:cs typeface="Calibri" panose="020F0502020204030204" pitchFamily="34" charset="0"/>
              </a:rPr>
              <a:t>Fem udviklingsperspektiver</a:t>
            </a:r>
          </a:p>
        </p:txBody>
      </p:sp>
      <p:sp>
        <p:nvSpPr>
          <p:cNvPr id="15" name="TextBox 14">
            <a:extLst>
              <a:ext uri="{FF2B5EF4-FFF2-40B4-BE49-F238E27FC236}">
                <a16:creationId xmlns:a16="http://schemas.microsoft.com/office/drawing/2014/main" id="{886826B9-7B67-B960-49E3-0F694D5686FE}"/>
              </a:ext>
            </a:extLst>
          </p:cNvPr>
          <p:cNvSpPr txBox="1"/>
          <p:nvPr/>
        </p:nvSpPr>
        <p:spPr>
          <a:xfrm>
            <a:off x="777000" y="871358"/>
            <a:ext cx="8352000" cy="350540"/>
          </a:xfrm>
          <a:custGeom>
            <a:avLst/>
            <a:gdLst>
              <a:gd name="connsiteX0" fmla="*/ 0 w 8352000"/>
              <a:gd name="connsiteY0" fmla="*/ 0 h 350540"/>
              <a:gd name="connsiteX1" fmla="*/ 779520 w 8352000"/>
              <a:gd name="connsiteY1" fmla="*/ 0 h 350540"/>
              <a:gd name="connsiteX2" fmla="*/ 1392000 w 8352000"/>
              <a:gd name="connsiteY2" fmla="*/ 0 h 350540"/>
              <a:gd name="connsiteX3" fmla="*/ 2004480 w 8352000"/>
              <a:gd name="connsiteY3" fmla="*/ 0 h 350540"/>
              <a:gd name="connsiteX4" fmla="*/ 2867520 w 8352000"/>
              <a:gd name="connsiteY4" fmla="*/ 0 h 350540"/>
              <a:gd name="connsiteX5" fmla="*/ 3563520 w 8352000"/>
              <a:gd name="connsiteY5" fmla="*/ 0 h 350540"/>
              <a:gd name="connsiteX6" fmla="*/ 4259520 w 8352000"/>
              <a:gd name="connsiteY6" fmla="*/ 0 h 350540"/>
              <a:gd name="connsiteX7" fmla="*/ 4704960 w 8352000"/>
              <a:gd name="connsiteY7" fmla="*/ 0 h 350540"/>
              <a:gd name="connsiteX8" fmla="*/ 5400960 w 8352000"/>
              <a:gd name="connsiteY8" fmla="*/ 0 h 350540"/>
              <a:gd name="connsiteX9" fmla="*/ 5929920 w 8352000"/>
              <a:gd name="connsiteY9" fmla="*/ 0 h 350540"/>
              <a:gd name="connsiteX10" fmla="*/ 6625920 w 8352000"/>
              <a:gd name="connsiteY10" fmla="*/ 0 h 350540"/>
              <a:gd name="connsiteX11" fmla="*/ 7488960 w 8352000"/>
              <a:gd name="connsiteY11" fmla="*/ 0 h 350540"/>
              <a:gd name="connsiteX12" fmla="*/ 8352000 w 8352000"/>
              <a:gd name="connsiteY12" fmla="*/ 0 h 350540"/>
              <a:gd name="connsiteX13" fmla="*/ 8352000 w 8352000"/>
              <a:gd name="connsiteY13" fmla="*/ 350540 h 350540"/>
              <a:gd name="connsiteX14" fmla="*/ 7572480 w 8352000"/>
              <a:gd name="connsiteY14" fmla="*/ 350540 h 350540"/>
              <a:gd name="connsiteX15" fmla="*/ 6709440 w 8352000"/>
              <a:gd name="connsiteY15" fmla="*/ 350540 h 350540"/>
              <a:gd name="connsiteX16" fmla="*/ 6180480 w 8352000"/>
              <a:gd name="connsiteY16" fmla="*/ 350540 h 350540"/>
              <a:gd name="connsiteX17" fmla="*/ 5484480 w 8352000"/>
              <a:gd name="connsiteY17" fmla="*/ 350540 h 350540"/>
              <a:gd name="connsiteX18" fmla="*/ 4704960 w 8352000"/>
              <a:gd name="connsiteY18" fmla="*/ 350540 h 350540"/>
              <a:gd name="connsiteX19" fmla="*/ 4008960 w 8352000"/>
              <a:gd name="connsiteY19" fmla="*/ 350540 h 350540"/>
              <a:gd name="connsiteX20" fmla="*/ 3480000 w 8352000"/>
              <a:gd name="connsiteY20" fmla="*/ 350540 h 350540"/>
              <a:gd name="connsiteX21" fmla="*/ 2867520 w 8352000"/>
              <a:gd name="connsiteY21" fmla="*/ 350540 h 350540"/>
              <a:gd name="connsiteX22" fmla="*/ 2171520 w 8352000"/>
              <a:gd name="connsiteY22" fmla="*/ 350540 h 350540"/>
              <a:gd name="connsiteX23" fmla="*/ 1392000 w 8352000"/>
              <a:gd name="connsiteY23" fmla="*/ 350540 h 350540"/>
              <a:gd name="connsiteX24" fmla="*/ 696000 w 8352000"/>
              <a:gd name="connsiteY24" fmla="*/ 350540 h 350540"/>
              <a:gd name="connsiteX25" fmla="*/ 0 w 8352000"/>
              <a:gd name="connsiteY25" fmla="*/ 350540 h 350540"/>
              <a:gd name="connsiteX26" fmla="*/ 0 w 8352000"/>
              <a:gd name="connsiteY26" fmla="*/ 0 h 350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52000" h="350540" extrusionOk="0">
                <a:moveTo>
                  <a:pt x="0" y="0"/>
                </a:moveTo>
                <a:cubicBezTo>
                  <a:pt x="387060" y="19625"/>
                  <a:pt x="559987" y="-2693"/>
                  <a:pt x="779520" y="0"/>
                </a:cubicBezTo>
                <a:cubicBezTo>
                  <a:pt x="999053" y="2693"/>
                  <a:pt x="1264881" y="-29104"/>
                  <a:pt x="1392000" y="0"/>
                </a:cubicBezTo>
                <a:cubicBezTo>
                  <a:pt x="1519119" y="29104"/>
                  <a:pt x="1792137" y="-12837"/>
                  <a:pt x="2004480" y="0"/>
                </a:cubicBezTo>
                <a:cubicBezTo>
                  <a:pt x="2216823" y="12837"/>
                  <a:pt x="2582299" y="-15840"/>
                  <a:pt x="2867520" y="0"/>
                </a:cubicBezTo>
                <a:cubicBezTo>
                  <a:pt x="3152741" y="15840"/>
                  <a:pt x="3345912" y="28170"/>
                  <a:pt x="3563520" y="0"/>
                </a:cubicBezTo>
                <a:cubicBezTo>
                  <a:pt x="3781128" y="-28170"/>
                  <a:pt x="4010930" y="-16046"/>
                  <a:pt x="4259520" y="0"/>
                </a:cubicBezTo>
                <a:cubicBezTo>
                  <a:pt x="4508110" y="16046"/>
                  <a:pt x="4603516" y="19207"/>
                  <a:pt x="4704960" y="0"/>
                </a:cubicBezTo>
                <a:cubicBezTo>
                  <a:pt x="4806404" y="-19207"/>
                  <a:pt x="5120038" y="5429"/>
                  <a:pt x="5400960" y="0"/>
                </a:cubicBezTo>
                <a:cubicBezTo>
                  <a:pt x="5681882" y="-5429"/>
                  <a:pt x="5759702" y="2544"/>
                  <a:pt x="5929920" y="0"/>
                </a:cubicBezTo>
                <a:cubicBezTo>
                  <a:pt x="6100138" y="-2544"/>
                  <a:pt x="6470973" y="33147"/>
                  <a:pt x="6625920" y="0"/>
                </a:cubicBezTo>
                <a:cubicBezTo>
                  <a:pt x="6780867" y="-33147"/>
                  <a:pt x="7223881" y="26626"/>
                  <a:pt x="7488960" y="0"/>
                </a:cubicBezTo>
                <a:cubicBezTo>
                  <a:pt x="7754039" y="-26626"/>
                  <a:pt x="7986486" y="-16793"/>
                  <a:pt x="8352000" y="0"/>
                </a:cubicBezTo>
                <a:cubicBezTo>
                  <a:pt x="8351494" y="90570"/>
                  <a:pt x="8364227" y="222748"/>
                  <a:pt x="8352000" y="350540"/>
                </a:cubicBezTo>
                <a:cubicBezTo>
                  <a:pt x="8132399" y="367958"/>
                  <a:pt x="7925772" y="367868"/>
                  <a:pt x="7572480" y="350540"/>
                </a:cubicBezTo>
                <a:cubicBezTo>
                  <a:pt x="7219188" y="333212"/>
                  <a:pt x="6918981" y="356277"/>
                  <a:pt x="6709440" y="350540"/>
                </a:cubicBezTo>
                <a:cubicBezTo>
                  <a:pt x="6499899" y="344803"/>
                  <a:pt x="6395064" y="365807"/>
                  <a:pt x="6180480" y="350540"/>
                </a:cubicBezTo>
                <a:cubicBezTo>
                  <a:pt x="5965896" y="335273"/>
                  <a:pt x="5643592" y="351825"/>
                  <a:pt x="5484480" y="350540"/>
                </a:cubicBezTo>
                <a:cubicBezTo>
                  <a:pt x="5325368" y="349255"/>
                  <a:pt x="4907907" y="322373"/>
                  <a:pt x="4704960" y="350540"/>
                </a:cubicBezTo>
                <a:cubicBezTo>
                  <a:pt x="4502013" y="378707"/>
                  <a:pt x="4182376" y="371251"/>
                  <a:pt x="4008960" y="350540"/>
                </a:cubicBezTo>
                <a:cubicBezTo>
                  <a:pt x="3835544" y="329829"/>
                  <a:pt x="3605136" y="331487"/>
                  <a:pt x="3480000" y="350540"/>
                </a:cubicBezTo>
                <a:cubicBezTo>
                  <a:pt x="3354864" y="369593"/>
                  <a:pt x="3170090" y="326771"/>
                  <a:pt x="2867520" y="350540"/>
                </a:cubicBezTo>
                <a:cubicBezTo>
                  <a:pt x="2564950" y="374309"/>
                  <a:pt x="2403231" y="326497"/>
                  <a:pt x="2171520" y="350540"/>
                </a:cubicBezTo>
                <a:cubicBezTo>
                  <a:pt x="1939809" y="374583"/>
                  <a:pt x="1605894" y="384276"/>
                  <a:pt x="1392000" y="350540"/>
                </a:cubicBezTo>
                <a:cubicBezTo>
                  <a:pt x="1178106" y="316804"/>
                  <a:pt x="1005840" y="381027"/>
                  <a:pt x="696000" y="350540"/>
                </a:cubicBezTo>
                <a:cubicBezTo>
                  <a:pt x="386160" y="320053"/>
                  <a:pt x="156070" y="339380"/>
                  <a:pt x="0" y="350540"/>
                </a:cubicBezTo>
                <a:cubicBezTo>
                  <a:pt x="-17131" y="207751"/>
                  <a:pt x="-4430" y="72302"/>
                  <a:pt x="0" y="0"/>
                </a:cubicBezTo>
                <a:close/>
              </a:path>
            </a:pathLst>
          </a:custGeom>
          <a:noFill/>
          <a:ln w="6350">
            <a:noFill/>
            <a:extLst>
              <a:ext uri="{C807C97D-BFC1-408E-A445-0C87EB9F89A2}">
                <ask:lineSketchStyleProps xmlns:ask="http://schemas.microsoft.com/office/drawing/2018/sketchyshapes" sd="755868447">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wrap="square" lIns="0" tIns="72000" rIns="72000" bIns="72000" rtlCol="0" anchor="t" anchorCtr="0">
            <a:noAutofit/>
          </a:bodyPr>
          <a:lstStyle/>
          <a:p>
            <a:pPr>
              <a:buNone/>
            </a:pPr>
            <a:r>
              <a:rPr lang="da-DK" sz="1200" dirty="0">
                <a:solidFill>
                  <a:schemeClr val="tx1"/>
                </a:solidFill>
                <a:latin typeface="Calibri" panose="020F0502020204030204" pitchFamily="34" charset="0"/>
                <a:cs typeface="Calibri" panose="020F0502020204030204" pitchFamily="34" charset="0"/>
              </a:rPr>
              <a:t>Her er fem udviklingsperspektiver, der kan have en positiv betydning både for løsningen af kerneopgaven og for trivsel, arbejdsmiljø, rekruttering og fastholdelse. </a:t>
            </a:r>
          </a:p>
        </p:txBody>
      </p:sp>
      <p:sp>
        <p:nvSpPr>
          <p:cNvPr id="27" name="TextBox 26">
            <a:extLst>
              <a:ext uri="{FF2B5EF4-FFF2-40B4-BE49-F238E27FC236}">
                <a16:creationId xmlns:a16="http://schemas.microsoft.com/office/drawing/2014/main" id="{D7001F52-FB6C-679A-3182-AA30CBB7FA0C}"/>
              </a:ext>
            </a:extLst>
          </p:cNvPr>
          <p:cNvSpPr txBox="1"/>
          <p:nvPr/>
        </p:nvSpPr>
        <p:spPr>
          <a:xfrm>
            <a:off x="9590086" y="6508223"/>
            <a:ext cx="85725" cy="9286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indent="0" algn="l">
              <a:buNone/>
            </a:pPr>
            <a:r>
              <a:rPr lang="da-DK" sz="700" dirty="0">
                <a:solidFill>
                  <a:schemeClr val="tx1"/>
                </a:solidFill>
              </a:rPr>
              <a:t>4</a:t>
            </a:r>
          </a:p>
        </p:txBody>
      </p:sp>
      <p:sp>
        <p:nvSpPr>
          <p:cNvPr id="313" name="Text Placeholder 5">
            <a:extLst>
              <a:ext uri="{FF2B5EF4-FFF2-40B4-BE49-F238E27FC236}">
                <a16:creationId xmlns:a16="http://schemas.microsoft.com/office/drawing/2014/main" id="{304A77BC-F7BA-C8E3-531C-1D6429175252}"/>
              </a:ext>
            </a:extLst>
          </p:cNvPr>
          <p:cNvSpPr txBox="1">
            <a:spLocks/>
          </p:cNvSpPr>
          <p:nvPr/>
        </p:nvSpPr>
        <p:spPr>
          <a:xfrm>
            <a:off x="6429470" y="1472537"/>
            <a:ext cx="2952939" cy="2914425"/>
          </a:xfrm>
          <a:prstGeom prst="rect">
            <a:avLst/>
          </a:prstGeom>
          <a:solidFill>
            <a:srgbClr val="244655"/>
          </a:solidFill>
        </p:spPr>
        <p:txBody>
          <a:bodyPr vert="horz" lIns="108000" tIns="252000" rIns="144000" bIns="0" rtlCol="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0"/>
              </a:spcAft>
              <a:buFont typeface="Arial" panose="020B0604020202020204" pitchFamily="34" charset="0"/>
              <a:buNone/>
              <a:defRPr sz="4800" kern="1200" cap="all" baseline="0">
                <a:solidFill>
                  <a:srgbClr val="1F2023"/>
                </a:solidFill>
                <a:latin typeface="Impact" panose="020B0806030902050204" pitchFamily="34" charset="0"/>
                <a:ea typeface="+mn-ea"/>
                <a:cs typeface="+mn-cs"/>
              </a:defRPr>
            </a:lvl9pPr>
          </a:lstStyle>
          <a:p>
            <a:br>
              <a:rPr lang="da-DK" sz="1050" dirty="0">
                <a:solidFill>
                  <a:schemeClr val="bg1"/>
                </a:solidFill>
                <a:latin typeface="Calibri" panose="020F0502020204030204" pitchFamily="34" charset="0"/>
                <a:cs typeface="Calibri" panose="020F0502020204030204" pitchFamily="34" charset="0"/>
              </a:rPr>
            </a:br>
            <a:r>
              <a:rPr lang="da-DK" sz="1050" dirty="0">
                <a:solidFill>
                  <a:schemeClr val="bg1"/>
                </a:solidFill>
                <a:latin typeface="Calibri" panose="020F0502020204030204" pitchFamily="34" charset="0"/>
                <a:cs typeface="Calibri" panose="020F0502020204030204" pitchFamily="34" charset="0"/>
              </a:rPr>
              <a:t>Ansvar og beslutningskompetence er på sygehusene ofte bundet ind i et relativt stærkt hierarkisk system, hvor medarbejdernes handlerum ofte er eller opleves som begrænset. Flere steder arbejdes der på at skabe større handlerum for medarbejderne til at kunne tage større ansvar for drift og udvikling ved at give ansvar og kompetencer for f.eks. vagt-planlægning og udviklingsarbejdet til medarbejderne.</a:t>
            </a:r>
          </a:p>
        </p:txBody>
      </p:sp>
      <p:sp>
        <p:nvSpPr>
          <p:cNvPr id="314" name="Text Placeholder 5">
            <a:extLst>
              <a:ext uri="{FF2B5EF4-FFF2-40B4-BE49-F238E27FC236}">
                <a16:creationId xmlns:a16="http://schemas.microsoft.com/office/drawing/2014/main" id="{F65ECB94-F2EF-576B-3DD4-7F18968EFF9F}"/>
              </a:ext>
            </a:extLst>
          </p:cNvPr>
          <p:cNvSpPr txBox="1">
            <a:spLocks/>
          </p:cNvSpPr>
          <p:nvPr/>
        </p:nvSpPr>
        <p:spPr>
          <a:xfrm>
            <a:off x="3476531" y="1472536"/>
            <a:ext cx="2952939" cy="2905525"/>
          </a:xfrm>
          <a:prstGeom prst="rect">
            <a:avLst/>
          </a:prstGeom>
          <a:solidFill>
            <a:srgbClr val="F8F5E7"/>
          </a:solidFill>
        </p:spPr>
        <p:txBody>
          <a:bodyPr vert="horz" lIns="108000" tIns="252000" rIns="144000" bIns="0" rtlCol="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0"/>
              </a:spcAft>
              <a:buFont typeface="Arial" panose="020B0604020202020204" pitchFamily="34" charset="0"/>
              <a:buNone/>
              <a:defRPr sz="4800" kern="1200" cap="all" baseline="0">
                <a:solidFill>
                  <a:srgbClr val="1F2023"/>
                </a:solidFill>
                <a:latin typeface="Impact" panose="020B0806030902050204" pitchFamily="34" charset="0"/>
                <a:ea typeface="+mn-ea"/>
                <a:cs typeface="+mn-cs"/>
              </a:defRPr>
            </a:lvl9pPr>
          </a:lstStyle>
          <a:p>
            <a:br>
              <a:rPr lang="da-DK" sz="1050" dirty="0">
                <a:solidFill>
                  <a:schemeClr val="tx1"/>
                </a:solidFill>
                <a:latin typeface="Calibri" panose="020F0502020204030204" pitchFamily="34" charset="0"/>
                <a:cs typeface="Calibri" panose="020F0502020204030204" pitchFamily="34" charset="0"/>
              </a:rPr>
            </a:br>
            <a:r>
              <a:rPr lang="da-DK" sz="1050" dirty="0">
                <a:solidFill>
                  <a:schemeClr val="tx1"/>
                </a:solidFill>
                <a:latin typeface="Calibri" panose="020F0502020204030204" pitchFamily="34" charset="0"/>
                <a:cs typeface="Calibri" panose="020F0502020204030204" pitchFamily="34" charset="0"/>
              </a:rPr>
              <a:t>Teamorganisering om patienten kan være et led i indsatsen med ny opgavefordeling. Med teamorganisering forstås her et koordineret samarbejde mellem en gruppe medarbejdere med fælles ansvar for en gruppe patienter, hvor alle i teamet har klare roller og ansvarsområder, og hver især bidrager med deres særlige viden om hvordan indsatsen over for patienten skal tilrettelægges. Der kan være et klinisk såvel som et arbejdsmiljømæssigt rationale i et </a:t>
            </a:r>
            <a:r>
              <a:rPr lang="da-DK" sz="1050" dirty="0" err="1">
                <a:solidFill>
                  <a:schemeClr val="tx1"/>
                </a:solidFill>
                <a:latin typeface="Calibri" panose="020F0502020204030204" pitchFamily="34" charset="0"/>
                <a:cs typeface="Calibri" panose="020F0502020204030204" pitchFamily="34" charset="0"/>
              </a:rPr>
              <a:t>vel-fungerende</a:t>
            </a:r>
            <a:r>
              <a:rPr lang="da-DK" sz="1050" dirty="0">
                <a:solidFill>
                  <a:schemeClr val="tx1"/>
                </a:solidFill>
                <a:latin typeface="Calibri" panose="020F0502020204030204" pitchFamily="34" charset="0"/>
                <a:cs typeface="Calibri" panose="020F0502020204030204" pitchFamily="34" charset="0"/>
              </a:rPr>
              <a:t> tværfagligt teamsamarbejde. En forudsætning for succesfuld teamorganisering omkring patienterne er, at der er blik for at nye opgaver kræver oplæring og rutine samt at den samlede tværfaglige indsats koordineres, så indsatsen og patientforløbet ikke bliver fragmenteret.</a:t>
            </a:r>
          </a:p>
        </p:txBody>
      </p:sp>
      <p:sp>
        <p:nvSpPr>
          <p:cNvPr id="315" name="Text Placeholder 5">
            <a:extLst>
              <a:ext uri="{FF2B5EF4-FFF2-40B4-BE49-F238E27FC236}">
                <a16:creationId xmlns:a16="http://schemas.microsoft.com/office/drawing/2014/main" id="{A4E310C1-716A-CFAE-98E8-4252C65AAA25}"/>
              </a:ext>
            </a:extLst>
          </p:cNvPr>
          <p:cNvSpPr txBox="1">
            <a:spLocks/>
          </p:cNvSpPr>
          <p:nvPr/>
        </p:nvSpPr>
        <p:spPr>
          <a:xfrm>
            <a:off x="523592" y="1472536"/>
            <a:ext cx="2952939" cy="2909885"/>
          </a:xfrm>
          <a:prstGeom prst="rect">
            <a:avLst/>
          </a:prstGeom>
          <a:solidFill>
            <a:srgbClr val="244655"/>
          </a:solidFill>
        </p:spPr>
        <p:txBody>
          <a:bodyPr vert="horz" lIns="108000" tIns="252000" rIns="144000" bIns="0" rtlCol="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0"/>
              </a:spcAft>
              <a:buFont typeface="Arial" panose="020B0604020202020204" pitchFamily="34" charset="0"/>
              <a:buNone/>
              <a:defRPr sz="4800" kern="1200" cap="all" baseline="0">
                <a:solidFill>
                  <a:srgbClr val="1F2023"/>
                </a:solidFill>
                <a:latin typeface="Impact" panose="020B0806030902050204" pitchFamily="34" charset="0"/>
                <a:ea typeface="+mn-ea"/>
                <a:cs typeface="+mn-cs"/>
              </a:defRPr>
            </a:lvl9pPr>
          </a:lstStyle>
          <a:p>
            <a:pPr>
              <a:buNone/>
            </a:pPr>
            <a:br>
              <a:rPr lang="da-DK" sz="1050" dirty="0">
                <a:solidFill>
                  <a:schemeClr val="bg1"/>
                </a:solidFill>
                <a:latin typeface="Calibri" panose="020F0502020204030204" pitchFamily="34" charset="0"/>
                <a:cs typeface="Calibri" panose="020F0502020204030204" pitchFamily="34" charset="0"/>
              </a:rPr>
            </a:br>
            <a:r>
              <a:rPr lang="da-DK" sz="1050" dirty="0">
                <a:solidFill>
                  <a:schemeClr val="bg1"/>
                </a:solidFill>
                <a:latin typeface="Calibri" panose="020F0502020204030204" pitchFamily="34" charset="0"/>
                <a:cs typeface="Calibri" panose="020F0502020204030204" pitchFamily="34" charset="0"/>
              </a:rPr>
              <a:t>Der er på mange afdelinger en veletableret arbejdsdeling mellem faggrupperne, som over tid er blevet rodfæstet i afdelingens rutiner og kultur. Meget tyder på, at der er en bevægelse i opgavefordelingen, som har taget fart de seneste år. Stadig flere afdelinger eksperimenterer med nye måder at fordele opgaverne på. Det kan enten være ved at fordele opgaver mellem de faggrupper, som allerede er til stede på afdelingen, eller det kan være ved at inddrage faggrupper, der ikke tidligere har været tradition for at have på afdelingen. Eksempler er: farmakonomer varetager opgaver med medicin, ergo- og fysioterapeuter bidrager med mobilisering af patienter, portører bidrager i plejen, og lægesekretærer varetager administrative opgaver relateret til plejen. </a:t>
            </a:r>
          </a:p>
        </p:txBody>
      </p:sp>
      <p:sp>
        <p:nvSpPr>
          <p:cNvPr id="317" name="Text Placeholder 5">
            <a:extLst>
              <a:ext uri="{FF2B5EF4-FFF2-40B4-BE49-F238E27FC236}">
                <a16:creationId xmlns:a16="http://schemas.microsoft.com/office/drawing/2014/main" id="{E5223603-AB22-BC90-542A-97BA13637B7D}"/>
              </a:ext>
            </a:extLst>
          </p:cNvPr>
          <p:cNvSpPr txBox="1">
            <a:spLocks/>
          </p:cNvSpPr>
          <p:nvPr/>
        </p:nvSpPr>
        <p:spPr>
          <a:xfrm>
            <a:off x="523592" y="4381778"/>
            <a:ext cx="2952939" cy="1885672"/>
          </a:xfrm>
          <a:prstGeom prst="rect">
            <a:avLst/>
          </a:prstGeom>
          <a:solidFill>
            <a:srgbClr val="F8F5E7"/>
          </a:solidFill>
        </p:spPr>
        <p:txBody>
          <a:bodyPr vert="horz" lIns="108000" tIns="252000" rIns="144000" bIns="0" rtlCol="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0"/>
              </a:spcAft>
              <a:buFont typeface="Arial" panose="020B0604020202020204" pitchFamily="34" charset="0"/>
              <a:buNone/>
              <a:defRPr sz="4800" kern="1200" cap="all" baseline="0">
                <a:solidFill>
                  <a:srgbClr val="1F2023"/>
                </a:solidFill>
                <a:latin typeface="Impact" panose="020B0806030902050204" pitchFamily="34" charset="0"/>
                <a:ea typeface="+mn-ea"/>
                <a:cs typeface="+mn-cs"/>
              </a:defRPr>
            </a:lvl9pPr>
          </a:lstStyle>
          <a:p>
            <a:br>
              <a:rPr lang="da-DK" sz="1050" b="1" dirty="0">
                <a:solidFill>
                  <a:schemeClr val="tx1"/>
                </a:solidFill>
                <a:latin typeface="Calibri" panose="020F0502020204030204" pitchFamily="34" charset="0"/>
                <a:cs typeface="Calibri" panose="020F0502020204030204" pitchFamily="34" charset="0"/>
              </a:rPr>
            </a:br>
            <a:r>
              <a:rPr lang="da-DK" sz="1050" dirty="0">
                <a:solidFill>
                  <a:schemeClr val="tx1"/>
                </a:solidFill>
                <a:latin typeface="Calibri" panose="020F0502020204030204" pitchFamily="34" charset="0"/>
                <a:cs typeface="Calibri" panose="020F0502020204030204" pitchFamily="34" charset="0"/>
              </a:rPr>
              <a:t>Der er afdækket en række udfordringer, som på forskellige måder kan bidrage til at skabe et psykologisk usikkert miljø. Som svar herpå er der udviklet en række indsatser, som søger at arbejde målrettet med at skabe psykologisk tryghed. Det indebær blandt andet hverdagstræning i psykologisk tryghed, styrket håndtering af traumatiske hændelser og grundigere introduktion af nye medarbejdere.</a:t>
            </a:r>
          </a:p>
        </p:txBody>
      </p:sp>
      <p:sp>
        <p:nvSpPr>
          <p:cNvPr id="318" name="Text Placeholder 5">
            <a:extLst>
              <a:ext uri="{FF2B5EF4-FFF2-40B4-BE49-F238E27FC236}">
                <a16:creationId xmlns:a16="http://schemas.microsoft.com/office/drawing/2014/main" id="{944B0219-4F2D-059A-8D14-6E2C38319006}"/>
              </a:ext>
            </a:extLst>
          </p:cNvPr>
          <p:cNvSpPr txBox="1">
            <a:spLocks/>
          </p:cNvSpPr>
          <p:nvPr/>
        </p:nvSpPr>
        <p:spPr>
          <a:xfrm>
            <a:off x="3476531" y="4381778"/>
            <a:ext cx="2952938" cy="1885672"/>
          </a:xfrm>
          <a:prstGeom prst="rect">
            <a:avLst/>
          </a:prstGeom>
          <a:solidFill>
            <a:srgbClr val="244655"/>
          </a:solidFill>
        </p:spPr>
        <p:txBody>
          <a:bodyPr vert="horz" lIns="108000" tIns="252000" rIns="144000" bIns="0" rtlCol="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0"/>
              </a:spcAft>
              <a:buFont typeface="Arial" panose="020B0604020202020204" pitchFamily="34" charset="0"/>
              <a:buNone/>
              <a:defRPr sz="4800" kern="1200" cap="all" baseline="0">
                <a:solidFill>
                  <a:srgbClr val="1F2023"/>
                </a:solidFill>
                <a:latin typeface="Impact" panose="020B0806030902050204" pitchFamily="34" charset="0"/>
                <a:ea typeface="+mn-ea"/>
                <a:cs typeface="+mn-cs"/>
              </a:defRPr>
            </a:lvl9pPr>
          </a:lstStyle>
          <a:p>
            <a:br>
              <a:rPr lang="da-DK" sz="1050" dirty="0">
                <a:solidFill>
                  <a:schemeClr val="bg1"/>
                </a:solidFill>
                <a:latin typeface="Calibri" panose="020F0502020204030204" pitchFamily="34" charset="0"/>
                <a:cs typeface="Calibri" panose="020F0502020204030204" pitchFamily="34" charset="0"/>
              </a:rPr>
            </a:br>
            <a:r>
              <a:rPr lang="da-DK" sz="1050" dirty="0">
                <a:solidFill>
                  <a:schemeClr val="bg1"/>
                </a:solidFill>
                <a:latin typeface="Calibri" panose="020F0502020204030204" pitchFamily="34" charset="0"/>
                <a:cs typeface="Calibri" panose="020F0502020204030204" pitchFamily="34" charset="0"/>
              </a:rPr>
              <a:t>En udfordring knytter sig ønsket om fleksibilitet. Set fra et ledelsesperspektiv er ønsket om fleksibilitet knyttet til at bruge den samlede kapacitet bedre. Set fra </a:t>
            </a:r>
            <a:r>
              <a:rPr lang="da-DK" sz="1050">
                <a:solidFill>
                  <a:schemeClr val="bg1"/>
                </a:solidFill>
                <a:latin typeface="Calibri" panose="020F0502020204030204" pitchFamily="34" charset="0"/>
                <a:cs typeface="Calibri" panose="020F0502020204030204" pitchFamily="34" charset="0"/>
              </a:rPr>
              <a:t>et medarbejder-perspektiv </a:t>
            </a:r>
            <a:r>
              <a:rPr lang="da-DK" sz="1050" dirty="0">
                <a:solidFill>
                  <a:schemeClr val="bg1"/>
                </a:solidFill>
                <a:latin typeface="Calibri" panose="020F0502020204030204" pitchFamily="34" charset="0"/>
                <a:cs typeface="Calibri" panose="020F0502020204030204" pitchFamily="34" charset="0"/>
              </a:rPr>
              <a:t>handler fleksibilitet blandt andet om at have indflydelse på tid og rammer for arbejdet, således at familie- og arbejdsliv kan hænge bedre sammen. Eksempler på tiltag er 4-dages arbejdsuge, fordeling af vagtbyrde og bedre brug af seniorer.</a:t>
            </a:r>
          </a:p>
        </p:txBody>
      </p:sp>
      <p:grpSp>
        <p:nvGrpSpPr>
          <p:cNvPr id="321" name="Group 320">
            <a:extLst>
              <a:ext uri="{FF2B5EF4-FFF2-40B4-BE49-F238E27FC236}">
                <a16:creationId xmlns:a16="http://schemas.microsoft.com/office/drawing/2014/main" id="{FB43AD6C-6666-6C0B-91BC-2ECD96145C7E}"/>
              </a:ext>
            </a:extLst>
          </p:cNvPr>
          <p:cNvGrpSpPr/>
          <p:nvPr/>
        </p:nvGrpSpPr>
        <p:grpSpPr>
          <a:xfrm>
            <a:off x="672225" y="1582950"/>
            <a:ext cx="379951" cy="228839"/>
            <a:chOff x="4326165" y="809977"/>
            <a:chExt cx="561574" cy="338227"/>
          </a:xfrm>
        </p:grpSpPr>
        <p:sp>
          <p:nvSpPr>
            <p:cNvPr id="322" name="Freeform: Shape 321">
              <a:extLst>
                <a:ext uri="{FF2B5EF4-FFF2-40B4-BE49-F238E27FC236}">
                  <a16:creationId xmlns:a16="http://schemas.microsoft.com/office/drawing/2014/main" id="{87993447-0F2E-E04E-08B9-DD7B6C824057}"/>
                </a:ext>
              </a:extLst>
            </p:cNvPr>
            <p:cNvSpPr/>
            <p:nvPr/>
          </p:nvSpPr>
          <p:spPr>
            <a:xfrm>
              <a:off x="4394641" y="977865"/>
              <a:ext cx="333865" cy="170339"/>
            </a:xfrm>
            <a:custGeom>
              <a:avLst/>
              <a:gdLst>
                <a:gd name="connsiteX0" fmla="*/ 10220 w 333864"/>
                <a:gd name="connsiteY0" fmla="*/ 127618 h 170339"/>
                <a:gd name="connsiteX1" fmla="*/ 60777 w 333864"/>
                <a:gd name="connsiteY1" fmla="*/ 127618 h 170339"/>
                <a:gd name="connsiteX2" fmla="*/ 101522 w 333864"/>
                <a:gd name="connsiteY2" fmla="*/ 86873 h 170339"/>
                <a:gd name="connsiteX3" fmla="*/ 101522 w 333864"/>
                <a:gd name="connsiteY3" fmla="*/ 86873 h 170339"/>
                <a:gd name="connsiteX4" fmla="*/ 178175 w 333864"/>
                <a:gd name="connsiteY4" fmla="*/ 10220 h 170339"/>
                <a:gd name="connsiteX5" fmla="*/ 252988 w 333864"/>
                <a:gd name="connsiteY5" fmla="*/ 10220 h 170339"/>
                <a:gd name="connsiteX6" fmla="*/ 329640 w 333864"/>
                <a:gd name="connsiteY6" fmla="*/ 86873 h 170339"/>
                <a:gd name="connsiteX7" fmla="*/ 329640 w 333864"/>
                <a:gd name="connsiteY7" fmla="*/ 114536 h 170339"/>
                <a:gd name="connsiteX8" fmla="*/ 280855 w 333864"/>
                <a:gd name="connsiteY8" fmla="*/ 163321 h 170339"/>
                <a:gd name="connsiteX9" fmla="*/ 245425 w 333864"/>
                <a:gd name="connsiteY9" fmla="*/ 163321 h 17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864" h="170339">
                  <a:moveTo>
                    <a:pt x="10220" y="127618"/>
                  </a:moveTo>
                  <a:lnTo>
                    <a:pt x="60777" y="127618"/>
                  </a:lnTo>
                  <a:cubicBezTo>
                    <a:pt x="83262" y="127618"/>
                    <a:pt x="101522" y="109358"/>
                    <a:pt x="101522" y="86873"/>
                  </a:cubicBezTo>
                  <a:lnTo>
                    <a:pt x="101522" y="86873"/>
                  </a:lnTo>
                  <a:cubicBezTo>
                    <a:pt x="101522" y="44561"/>
                    <a:pt x="135863" y="10220"/>
                    <a:pt x="178175" y="10220"/>
                  </a:cubicBezTo>
                  <a:lnTo>
                    <a:pt x="252988" y="10220"/>
                  </a:lnTo>
                  <a:cubicBezTo>
                    <a:pt x="295300" y="10220"/>
                    <a:pt x="329640" y="44561"/>
                    <a:pt x="329640" y="86873"/>
                  </a:cubicBezTo>
                  <a:lnTo>
                    <a:pt x="329640" y="114536"/>
                  </a:lnTo>
                  <a:cubicBezTo>
                    <a:pt x="329640" y="141518"/>
                    <a:pt x="307769" y="163321"/>
                    <a:pt x="280855" y="163321"/>
                  </a:cubicBezTo>
                  <a:lnTo>
                    <a:pt x="245425" y="163321"/>
                  </a:lnTo>
                </a:path>
              </a:pathLst>
            </a:custGeom>
            <a:noFill/>
            <a:ln w="12700" cap="rnd">
              <a:solidFill>
                <a:srgbClr val="F8F5E7"/>
              </a:solidFill>
              <a:prstDash val="solid"/>
              <a:round/>
            </a:ln>
          </p:spPr>
          <p:txBody>
            <a:bodyPr rtlCol="0" anchor="ctr"/>
            <a:lstStyle/>
            <a:p>
              <a:endParaRPr lang="en-GB"/>
            </a:p>
          </p:txBody>
        </p:sp>
        <p:sp>
          <p:nvSpPr>
            <p:cNvPr id="323" name="Freeform: Shape 322">
              <a:extLst>
                <a:ext uri="{FF2B5EF4-FFF2-40B4-BE49-F238E27FC236}">
                  <a16:creationId xmlns:a16="http://schemas.microsoft.com/office/drawing/2014/main" id="{857941BD-3DB6-0ECE-D47B-505B856BAEE6}"/>
                </a:ext>
              </a:extLst>
            </p:cNvPr>
            <p:cNvSpPr/>
            <p:nvPr/>
          </p:nvSpPr>
          <p:spPr>
            <a:xfrm>
              <a:off x="4326165" y="942160"/>
              <a:ext cx="231661" cy="129458"/>
            </a:xfrm>
            <a:custGeom>
              <a:avLst/>
              <a:gdLst>
                <a:gd name="connsiteX0" fmla="*/ 10220 w 231661"/>
                <a:gd name="connsiteY0" fmla="*/ 121554 h 129457"/>
                <a:gd name="connsiteX1" fmla="*/ 10220 w 231661"/>
                <a:gd name="connsiteY1" fmla="*/ 86873 h 129457"/>
                <a:gd name="connsiteX2" fmla="*/ 86873 w 231661"/>
                <a:gd name="connsiteY2" fmla="*/ 10220 h 129457"/>
                <a:gd name="connsiteX3" fmla="*/ 161686 w 231661"/>
                <a:gd name="connsiteY3" fmla="*/ 10220 h 129457"/>
                <a:gd name="connsiteX4" fmla="*/ 227573 w 231661"/>
                <a:gd name="connsiteY4" fmla="*/ 48308 h 129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61" h="129457">
                  <a:moveTo>
                    <a:pt x="10220" y="121554"/>
                  </a:moveTo>
                  <a:lnTo>
                    <a:pt x="10220" y="86873"/>
                  </a:lnTo>
                  <a:cubicBezTo>
                    <a:pt x="10220" y="44561"/>
                    <a:pt x="44561" y="10220"/>
                    <a:pt x="86873" y="10220"/>
                  </a:cubicBezTo>
                  <a:lnTo>
                    <a:pt x="161686" y="10220"/>
                  </a:lnTo>
                  <a:cubicBezTo>
                    <a:pt x="188123" y="10220"/>
                    <a:pt x="215990" y="25074"/>
                    <a:pt x="227573" y="48308"/>
                  </a:cubicBezTo>
                </a:path>
              </a:pathLst>
            </a:custGeom>
            <a:noFill/>
            <a:ln w="12700" cap="rnd">
              <a:solidFill>
                <a:srgbClr val="F8F5E7"/>
              </a:solidFill>
              <a:prstDash val="solid"/>
              <a:round/>
            </a:ln>
          </p:spPr>
          <p:txBody>
            <a:bodyPr rtlCol="0" anchor="ctr"/>
            <a:lstStyle/>
            <a:p>
              <a:endParaRPr lang="en-GB"/>
            </a:p>
          </p:txBody>
        </p:sp>
        <p:sp>
          <p:nvSpPr>
            <p:cNvPr id="324" name="Freeform: Shape 323">
              <a:extLst>
                <a:ext uri="{FF2B5EF4-FFF2-40B4-BE49-F238E27FC236}">
                  <a16:creationId xmlns:a16="http://schemas.microsoft.com/office/drawing/2014/main" id="{DC6B6F0E-7C35-B6ED-CD35-F844581D8FCA}"/>
                </a:ext>
              </a:extLst>
            </p:cNvPr>
            <p:cNvSpPr/>
            <p:nvPr/>
          </p:nvSpPr>
          <p:spPr>
            <a:xfrm>
              <a:off x="4656078" y="942162"/>
              <a:ext cx="231661" cy="170339"/>
            </a:xfrm>
            <a:custGeom>
              <a:avLst/>
              <a:gdLst>
                <a:gd name="connsiteX0" fmla="*/ 10220 w 231661"/>
                <a:gd name="connsiteY0" fmla="*/ 48240 h 170339"/>
                <a:gd name="connsiteX1" fmla="*/ 76448 w 231661"/>
                <a:gd name="connsiteY1" fmla="*/ 10220 h 170339"/>
                <a:gd name="connsiteX2" fmla="*/ 151261 w 231661"/>
                <a:gd name="connsiteY2" fmla="*/ 10220 h 170339"/>
                <a:gd name="connsiteX3" fmla="*/ 227914 w 231661"/>
                <a:gd name="connsiteY3" fmla="*/ 86873 h 170339"/>
                <a:gd name="connsiteX4" fmla="*/ 227914 w 231661"/>
                <a:gd name="connsiteY4" fmla="*/ 114536 h 170339"/>
                <a:gd name="connsiteX5" fmla="*/ 179129 w 231661"/>
                <a:gd name="connsiteY5" fmla="*/ 163321 h 170339"/>
                <a:gd name="connsiteX6" fmla="*/ 66364 w 231661"/>
                <a:gd name="connsiteY6" fmla="*/ 163321 h 17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661" h="170339">
                  <a:moveTo>
                    <a:pt x="10220" y="48240"/>
                  </a:moveTo>
                  <a:cubicBezTo>
                    <a:pt x="23507" y="25483"/>
                    <a:pt x="48172" y="10220"/>
                    <a:pt x="76448" y="10220"/>
                  </a:cubicBezTo>
                  <a:lnTo>
                    <a:pt x="151261" y="10220"/>
                  </a:lnTo>
                  <a:cubicBezTo>
                    <a:pt x="193573" y="10220"/>
                    <a:pt x="227914" y="44561"/>
                    <a:pt x="227914" y="86873"/>
                  </a:cubicBezTo>
                  <a:lnTo>
                    <a:pt x="227914" y="114536"/>
                  </a:lnTo>
                  <a:cubicBezTo>
                    <a:pt x="227914" y="141518"/>
                    <a:pt x="206042" y="163321"/>
                    <a:pt x="179129" y="163321"/>
                  </a:cubicBezTo>
                  <a:lnTo>
                    <a:pt x="66364" y="163321"/>
                  </a:lnTo>
                </a:path>
              </a:pathLst>
            </a:custGeom>
            <a:noFill/>
            <a:ln w="12700" cap="rnd">
              <a:solidFill>
                <a:srgbClr val="F8F5E7"/>
              </a:solidFill>
              <a:prstDash val="solid"/>
              <a:round/>
            </a:ln>
          </p:spPr>
          <p:txBody>
            <a:bodyPr rtlCol="0" anchor="ctr"/>
            <a:lstStyle/>
            <a:p>
              <a:endParaRPr lang="en-GB"/>
            </a:p>
          </p:txBody>
        </p:sp>
        <p:sp>
          <p:nvSpPr>
            <p:cNvPr id="325" name="Freeform: Shape 324">
              <a:extLst>
                <a:ext uri="{FF2B5EF4-FFF2-40B4-BE49-F238E27FC236}">
                  <a16:creationId xmlns:a16="http://schemas.microsoft.com/office/drawing/2014/main" id="{B9099DFE-6E19-236A-AF19-3F4070032063}"/>
                </a:ext>
              </a:extLst>
            </p:cNvPr>
            <p:cNvSpPr/>
            <p:nvPr/>
          </p:nvSpPr>
          <p:spPr>
            <a:xfrm>
              <a:off x="4390564" y="809977"/>
              <a:ext cx="122644" cy="149899"/>
            </a:xfrm>
            <a:custGeom>
              <a:avLst/>
              <a:gdLst>
                <a:gd name="connsiteX0" fmla="*/ 60220 w 122644"/>
                <a:gd name="connsiteY0" fmla="*/ 142404 h 149898"/>
                <a:gd name="connsiteX1" fmla="*/ 10549 w 122644"/>
                <a:gd name="connsiteY1" fmla="*/ 76244 h 149898"/>
                <a:gd name="connsiteX2" fmla="*/ 63899 w 122644"/>
                <a:gd name="connsiteY2" fmla="*/ 10220 h 149898"/>
                <a:gd name="connsiteX3" fmla="*/ 102055 w 122644"/>
                <a:gd name="connsiteY3" fmla="*/ 107518 h 149898"/>
              </a:gdLst>
              <a:ahLst/>
              <a:cxnLst>
                <a:cxn ang="0">
                  <a:pos x="connsiteX0" y="connsiteY0"/>
                </a:cxn>
                <a:cxn ang="0">
                  <a:pos x="connsiteX1" y="connsiteY1"/>
                </a:cxn>
                <a:cxn ang="0">
                  <a:pos x="connsiteX2" y="connsiteY2"/>
                </a:cxn>
                <a:cxn ang="0">
                  <a:pos x="connsiteX3" y="connsiteY3"/>
                </a:cxn>
              </a:cxnLst>
              <a:rect l="l" t="t" r="r" b="b"/>
              <a:pathLst>
                <a:path w="122644" h="149898">
                  <a:moveTo>
                    <a:pt x="60220" y="142404"/>
                  </a:moveTo>
                  <a:cubicBezTo>
                    <a:pt x="39302" y="142404"/>
                    <a:pt x="14160" y="117330"/>
                    <a:pt x="10549" y="76244"/>
                  </a:cubicBezTo>
                  <a:cubicBezTo>
                    <a:pt x="7347" y="39859"/>
                    <a:pt x="27719" y="10220"/>
                    <a:pt x="63899" y="10220"/>
                  </a:cubicBezTo>
                  <a:cubicBezTo>
                    <a:pt x="105598" y="10220"/>
                    <a:pt x="132376" y="48104"/>
                    <a:pt x="102055" y="107518"/>
                  </a:cubicBezTo>
                </a:path>
              </a:pathLst>
            </a:custGeom>
            <a:noFill/>
            <a:ln w="12700" cap="rnd">
              <a:solidFill>
                <a:srgbClr val="F8F5E7"/>
              </a:solidFill>
              <a:prstDash val="solid"/>
              <a:round/>
            </a:ln>
          </p:spPr>
          <p:txBody>
            <a:bodyPr rtlCol="0" anchor="ctr"/>
            <a:lstStyle/>
            <a:p>
              <a:endParaRPr lang="en-GB"/>
            </a:p>
          </p:txBody>
        </p:sp>
        <p:sp>
          <p:nvSpPr>
            <p:cNvPr id="326" name="Freeform: Shape 325">
              <a:extLst>
                <a:ext uri="{FF2B5EF4-FFF2-40B4-BE49-F238E27FC236}">
                  <a16:creationId xmlns:a16="http://schemas.microsoft.com/office/drawing/2014/main" id="{BA50EB33-3CAF-B646-9933-ACDE30C45D46}"/>
                </a:ext>
              </a:extLst>
            </p:cNvPr>
            <p:cNvSpPr/>
            <p:nvPr/>
          </p:nvSpPr>
          <p:spPr>
            <a:xfrm>
              <a:off x="4547890" y="845682"/>
              <a:ext cx="122644" cy="149898"/>
            </a:xfrm>
            <a:custGeom>
              <a:avLst/>
              <a:gdLst>
                <a:gd name="connsiteX0" fmla="*/ 60220 w 122644"/>
                <a:gd name="connsiteY0" fmla="*/ 142404 h 149898"/>
                <a:gd name="connsiteX1" fmla="*/ 10549 w 122644"/>
                <a:gd name="connsiteY1" fmla="*/ 76244 h 149898"/>
                <a:gd name="connsiteX2" fmla="*/ 63899 w 122644"/>
                <a:gd name="connsiteY2" fmla="*/ 10220 h 149898"/>
                <a:gd name="connsiteX3" fmla="*/ 102055 w 122644"/>
                <a:gd name="connsiteY3" fmla="*/ 107518 h 149898"/>
              </a:gdLst>
              <a:ahLst/>
              <a:cxnLst>
                <a:cxn ang="0">
                  <a:pos x="connsiteX0" y="connsiteY0"/>
                </a:cxn>
                <a:cxn ang="0">
                  <a:pos x="connsiteX1" y="connsiteY1"/>
                </a:cxn>
                <a:cxn ang="0">
                  <a:pos x="connsiteX2" y="connsiteY2"/>
                </a:cxn>
                <a:cxn ang="0">
                  <a:pos x="connsiteX3" y="connsiteY3"/>
                </a:cxn>
              </a:cxnLst>
              <a:rect l="l" t="t" r="r" b="b"/>
              <a:pathLst>
                <a:path w="122644" h="149898">
                  <a:moveTo>
                    <a:pt x="60220" y="142404"/>
                  </a:moveTo>
                  <a:cubicBezTo>
                    <a:pt x="39302" y="142404"/>
                    <a:pt x="14160" y="117330"/>
                    <a:pt x="10549" y="76244"/>
                  </a:cubicBezTo>
                  <a:cubicBezTo>
                    <a:pt x="7347" y="39859"/>
                    <a:pt x="27719" y="10220"/>
                    <a:pt x="63899" y="10220"/>
                  </a:cubicBezTo>
                  <a:cubicBezTo>
                    <a:pt x="105598" y="10220"/>
                    <a:pt x="132376" y="48104"/>
                    <a:pt x="102055" y="107518"/>
                  </a:cubicBezTo>
                </a:path>
              </a:pathLst>
            </a:custGeom>
            <a:noFill/>
            <a:ln w="12700" cap="rnd">
              <a:solidFill>
                <a:srgbClr val="F8F5E7"/>
              </a:solidFill>
              <a:prstDash val="solid"/>
              <a:round/>
            </a:ln>
          </p:spPr>
          <p:txBody>
            <a:bodyPr rtlCol="0" anchor="ctr"/>
            <a:lstStyle/>
            <a:p>
              <a:endParaRPr lang="en-GB"/>
            </a:p>
          </p:txBody>
        </p:sp>
        <p:sp>
          <p:nvSpPr>
            <p:cNvPr id="327" name="Freeform: Shape 326">
              <a:extLst>
                <a:ext uri="{FF2B5EF4-FFF2-40B4-BE49-F238E27FC236}">
                  <a16:creationId xmlns:a16="http://schemas.microsoft.com/office/drawing/2014/main" id="{C502472B-1194-F1F9-999D-4F2F3B0E9171}"/>
                </a:ext>
              </a:extLst>
            </p:cNvPr>
            <p:cNvSpPr/>
            <p:nvPr/>
          </p:nvSpPr>
          <p:spPr>
            <a:xfrm>
              <a:off x="4706919" y="809977"/>
              <a:ext cx="122644" cy="149898"/>
            </a:xfrm>
            <a:custGeom>
              <a:avLst/>
              <a:gdLst>
                <a:gd name="connsiteX0" fmla="*/ 60220 w 122644"/>
                <a:gd name="connsiteY0" fmla="*/ 142404 h 149898"/>
                <a:gd name="connsiteX1" fmla="*/ 10549 w 122644"/>
                <a:gd name="connsiteY1" fmla="*/ 76244 h 149898"/>
                <a:gd name="connsiteX2" fmla="*/ 63899 w 122644"/>
                <a:gd name="connsiteY2" fmla="*/ 10220 h 149898"/>
                <a:gd name="connsiteX3" fmla="*/ 102055 w 122644"/>
                <a:gd name="connsiteY3" fmla="*/ 107518 h 149898"/>
              </a:gdLst>
              <a:ahLst/>
              <a:cxnLst>
                <a:cxn ang="0">
                  <a:pos x="connsiteX0" y="connsiteY0"/>
                </a:cxn>
                <a:cxn ang="0">
                  <a:pos x="connsiteX1" y="connsiteY1"/>
                </a:cxn>
                <a:cxn ang="0">
                  <a:pos x="connsiteX2" y="connsiteY2"/>
                </a:cxn>
                <a:cxn ang="0">
                  <a:pos x="connsiteX3" y="connsiteY3"/>
                </a:cxn>
              </a:cxnLst>
              <a:rect l="l" t="t" r="r" b="b"/>
              <a:pathLst>
                <a:path w="122644" h="149898">
                  <a:moveTo>
                    <a:pt x="60220" y="142404"/>
                  </a:moveTo>
                  <a:cubicBezTo>
                    <a:pt x="39302" y="142404"/>
                    <a:pt x="14160" y="117330"/>
                    <a:pt x="10549" y="76244"/>
                  </a:cubicBezTo>
                  <a:cubicBezTo>
                    <a:pt x="7347" y="39859"/>
                    <a:pt x="27719" y="10220"/>
                    <a:pt x="63899" y="10220"/>
                  </a:cubicBezTo>
                  <a:cubicBezTo>
                    <a:pt x="105598" y="10220"/>
                    <a:pt x="132376" y="48104"/>
                    <a:pt x="102055" y="107518"/>
                  </a:cubicBezTo>
                </a:path>
              </a:pathLst>
            </a:custGeom>
            <a:noFill/>
            <a:ln w="12700" cap="rnd">
              <a:solidFill>
                <a:srgbClr val="F8F5E7"/>
              </a:solidFill>
              <a:prstDash val="solid"/>
              <a:round/>
            </a:ln>
          </p:spPr>
          <p:txBody>
            <a:bodyPr rtlCol="0" anchor="ctr"/>
            <a:lstStyle/>
            <a:p>
              <a:endParaRPr lang="en-GB"/>
            </a:p>
          </p:txBody>
        </p:sp>
      </p:grpSp>
      <p:grpSp>
        <p:nvGrpSpPr>
          <p:cNvPr id="328" name="Group 327">
            <a:extLst>
              <a:ext uri="{FF2B5EF4-FFF2-40B4-BE49-F238E27FC236}">
                <a16:creationId xmlns:a16="http://schemas.microsoft.com/office/drawing/2014/main" id="{0AA4CC15-1F8D-9A79-8617-77BFE06AE953}"/>
              </a:ext>
            </a:extLst>
          </p:cNvPr>
          <p:cNvGrpSpPr/>
          <p:nvPr/>
        </p:nvGrpSpPr>
        <p:grpSpPr>
          <a:xfrm>
            <a:off x="3599242" y="1535295"/>
            <a:ext cx="280866" cy="250707"/>
            <a:chOff x="5728777" y="3243768"/>
            <a:chExt cx="473075" cy="422275"/>
          </a:xfrm>
        </p:grpSpPr>
        <p:sp>
          <p:nvSpPr>
            <p:cNvPr id="329" name="Freeform 120">
              <a:extLst>
                <a:ext uri="{FF2B5EF4-FFF2-40B4-BE49-F238E27FC236}">
                  <a16:creationId xmlns:a16="http://schemas.microsoft.com/office/drawing/2014/main" id="{CDA27EF4-BF31-76EE-9FEE-2EDCD8A45C8C}"/>
                </a:ext>
              </a:extLst>
            </p:cNvPr>
            <p:cNvSpPr>
              <a:spLocks/>
            </p:cNvSpPr>
            <p:nvPr/>
          </p:nvSpPr>
          <p:spPr bwMode="auto">
            <a:xfrm>
              <a:off x="5890702" y="3432680"/>
              <a:ext cx="152400" cy="152400"/>
            </a:xfrm>
            <a:custGeom>
              <a:avLst/>
              <a:gdLst>
                <a:gd name="T0" fmla="*/ 17 w 34"/>
                <a:gd name="T1" fmla="*/ 34 h 34"/>
                <a:gd name="T2" fmla="*/ 17 w 34"/>
                <a:gd name="T3" fmla="*/ 34 h 34"/>
                <a:gd name="T4" fmla="*/ 0 w 34"/>
                <a:gd name="T5" fmla="*/ 17 h 34"/>
                <a:gd name="T6" fmla="*/ 0 w 34"/>
                <a:gd name="T7" fmla="*/ 17 h 34"/>
                <a:gd name="T8" fmla="*/ 17 w 34"/>
                <a:gd name="T9" fmla="*/ 0 h 34"/>
                <a:gd name="T10" fmla="*/ 17 w 34"/>
                <a:gd name="T11" fmla="*/ 0 h 34"/>
                <a:gd name="T12" fmla="*/ 34 w 34"/>
                <a:gd name="T13" fmla="*/ 17 h 34"/>
                <a:gd name="T14" fmla="*/ 34 w 34"/>
                <a:gd name="T15" fmla="*/ 17 h 34"/>
                <a:gd name="T16" fmla="*/ 17 w 3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34"/>
                  </a:moveTo>
                  <a:cubicBezTo>
                    <a:pt x="17" y="34"/>
                    <a:pt x="17" y="34"/>
                    <a:pt x="17" y="34"/>
                  </a:cubicBezTo>
                  <a:cubicBezTo>
                    <a:pt x="8" y="34"/>
                    <a:pt x="0" y="27"/>
                    <a:pt x="0" y="17"/>
                  </a:cubicBezTo>
                  <a:cubicBezTo>
                    <a:pt x="0" y="17"/>
                    <a:pt x="0" y="17"/>
                    <a:pt x="0" y="17"/>
                  </a:cubicBezTo>
                  <a:cubicBezTo>
                    <a:pt x="0" y="8"/>
                    <a:pt x="8" y="0"/>
                    <a:pt x="17" y="0"/>
                  </a:cubicBezTo>
                  <a:cubicBezTo>
                    <a:pt x="17" y="0"/>
                    <a:pt x="17" y="0"/>
                    <a:pt x="17" y="0"/>
                  </a:cubicBezTo>
                  <a:cubicBezTo>
                    <a:pt x="26" y="0"/>
                    <a:pt x="34" y="8"/>
                    <a:pt x="34" y="17"/>
                  </a:cubicBezTo>
                  <a:cubicBezTo>
                    <a:pt x="34" y="17"/>
                    <a:pt x="34" y="17"/>
                    <a:pt x="34" y="17"/>
                  </a:cubicBezTo>
                  <a:cubicBezTo>
                    <a:pt x="34" y="27"/>
                    <a:pt x="26" y="34"/>
                    <a:pt x="17" y="34"/>
                  </a:cubicBezTo>
                  <a:close/>
                </a:path>
              </a:pathLst>
            </a:custGeom>
            <a:noFill/>
            <a:ln w="12700" cap="rnd">
              <a:solidFill>
                <a:srgbClr val="24465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30" name="Line 121">
              <a:extLst>
                <a:ext uri="{FF2B5EF4-FFF2-40B4-BE49-F238E27FC236}">
                  <a16:creationId xmlns:a16="http://schemas.microsoft.com/office/drawing/2014/main" id="{AEF2CD00-FA34-E762-E6FB-9CC85B62316E}"/>
                </a:ext>
              </a:extLst>
            </p:cNvPr>
            <p:cNvSpPr>
              <a:spLocks noChangeShapeType="1"/>
            </p:cNvSpPr>
            <p:nvPr/>
          </p:nvSpPr>
          <p:spPr bwMode="auto">
            <a:xfrm flipV="1">
              <a:off x="5966902" y="3288218"/>
              <a:ext cx="0" cy="122238"/>
            </a:xfrm>
            <a:prstGeom prst="line">
              <a:avLst/>
            </a:prstGeom>
            <a:noFill/>
            <a:ln w="12700" cap="rnd">
              <a:solidFill>
                <a:srgbClr val="24465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31" name="Line 122">
              <a:extLst>
                <a:ext uri="{FF2B5EF4-FFF2-40B4-BE49-F238E27FC236}">
                  <a16:creationId xmlns:a16="http://schemas.microsoft.com/office/drawing/2014/main" id="{40625B3F-D77A-C9B7-B992-14B14361925A}"/>
                </a:ext>
              </a:extLst>
            </p:cNvPr>
            <p:cNvSpPr>
              <a:spLocks noChangeShapeType="1"/>
            </p:cNvSpPr>
            <p:nvPr/>
          </p:nvSpPr>
          <p:spPr bwMode="auto">
            <a:xfrm flipH="1">
              <a:off x="5773227" y="3562855"/>
              <a:ext cx="103188" cy="58738"/>
            </a:xfrm>
            <a:prstGeom prst="line">
              <a:avLst/>
            </a:prstGeom>
            <a:noFill/>
            <a:ln w="12700" cap="rnd">
              <a:solidFill>
                <a:srgbClr val="24465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32" name="Line 123">
              <a:extLst>
                <a:ext uri="{FF2B5EF4-FFF2-40B4-BE49-F238E27FC236}">
                  <a16:creationId xmlns:a16="http://schemas.microsoft.com/office/drawing/2014/main" id="{CA3A99B1-4B80-46BF-91A8-889CE5D18099}"/>
                </a:ext>
              </a:extLst>
            </p:cNvPr>
            <p:cNvSpPr>
              <a:spLocks noChangeShapeType="1"/>
            </p:cNvSpPr>
            <p:nvPr/>
          </p:nvSpPr>
          <p:spPr bwMode="auto">
            <a:xfrm>
              <a:off x="6057389" y="3562855"/>
              <a:ext cx="103188" cy="58738"/>
            </a:xfrm>
            <a:prstGeom prst="line">
              <a:avLst/>
            </a:prstGeom>
            <a:noFill/>
            <a:ln w="12700" cap="rnd">
              <a:solidFill>
                <a:srgbClr val="24465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33" name="Freeform 124">
              <a:extLst>
                <a:ext uri="{FF2B5EF4-FFF2-40B4-BE49-F238E27FC236}">
                  <a16:creationId xmlns:a16="http://schemas.microsoft.com/office/drawing/2014/main" id="{9A7C4D0D-E15E-5233-493C-6D1B04E0571E}"/>
                </a:ext>
              </a:extLst>
            </p:cNvPr>
            <p:cNvSpPr>
              <a:spLocks/>
            </p:cNvSpPr>
            <p:nvPr/>
          </p:nvSpPr>
          <p:spPr bwMode="auto">
            <a:xfrm>
              <a:off x="5922452" y="3243768"/>
              <a:ext cx="90488" cy="44450"/>
            </a:xfrm>
            <a:custGeom>
              <a:avLst/>
              <a:gdLst>
                <a:gd name="T0" fmla="*/ 0 w 57"/>
                <a:gd name="T1" fmla="*/ 28 h 28"/>
                <a:gd name="T2" fmla="*/ 28 w 57"/>
                <a:gd name="T3" fmla="*/ 0 h 28"/>
                <a:gd name="T4" fmla="*/ 57 w 57"/>
                <a:gd name="T5" fmla="*/ 28 h 28"/>
              </a:gdLst>
              <a:ahLst/>
              <a:cxnLst>
                <a:cxn ang="0">
                  <a:pos x="T0" y="T1"/>
                </a:cxn>
                <a:cxn ang="0">
                  <a:pos x="T2" y="T3"/>
                </a:cxn>
                <a:cxn ang="0">
                  <a:pos x="T4" y="T5"/>
                </a:cxn>
              </a:cxnLst>
              <a:rect l="0" t="0" r="r" b="b"/>
              <a:pathLst>
                <a:path w="57" h="28">
                  <a:moveTo>
                    <a:pt x="0" y="28"/>
                  </a:moveTo>
                  <a:lnTo>
                    <a:pt x="28" y="0"/>
                  </a:lnTo>
                  <a:lnTo>
                    <a:pt x="57" y="28"/>
                  </a:lnTo>
                </a:path>
              </a:pathLst>
            </a:custGeom>
            <a:noFill/>
            <a:ln w="12700" cap="rnd">
              <a:solidFill>
                <a:srgbClr val="24465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34" name="Freeform 125">
              <a:extLst>
                <a:ext uri="{FF2B5EF4-FFF2-40B4-BE49-F238E27FC236}">
                  <a16:creationId xmlns:a16="http://schemas.microsoft.com/office/drawing/2014/main" id="{CEF5643D-8008-180F-62D8-C9AFE1B46314}"/>
                </a:ext>
              </a:extLst>
            </p:cNvPr>
            <p:cNvSpPr>
              <a:spLocks/>
            </p:cNvSpPr>
            <p:nvPr/>
          </p:nvSpPr>
          <p:spPr bwMode="auto">
            <a:xfrm>
              <a:off x="5728777" y="3589843"/>
              <a:ext cx="58738" cy="76200"/>
            </a:xfrm>
            <a:custGeom>
              <a:avLst/>
              <a:gdLst>
                <a:gd name="T0" fmla="*/ 37 w 37"/>
                <a:gd name="T1" fmla="*/ 48 h 48"/>
                <a:gd name="T2" fmla="*/ 0 w 37"/>
                <a:gd name="T3" fmla="*/ 37 h 48"/>
                <a:gd name="T4" fmla="*/ 11 w 37"/>
                <a:gd name="T5" fmla="*/ 0 h 48"/>
              </a:gdLst>
              <a:ahLst/>
              <a:cxnLst>
                <a:cxn ang="0">
                  <a:pos x="T0" y="T1"/>
                </a:cxn>
                <a:cxn ang="0">
                  <a:pos x="T2" y="T3"/>
                </a:cxn>
                <a:cxn ang="0">
                  <a:pos x="T4" y="T5"/>
                </a:cxn>
              </a:cxnLst>
              <a:rect l="0" t="0" r="r" b="b"/>
              <a:pathLst>
                <a:path w="37" h="48">
                  <a:moveTo>
                    <a:pt x="37" y="48"/>
                  </a:moveTo>
                  <a:lnTo>
                    <a:pt x="0" y="37"/>
                  </a:lnTo>
                  <a:lnTo>
                    <a:pt x="11" y="0"/>
                  </a:lnTo>
                </a:path>
              </a:pathLst>
            </a:custGeom>
            <a:noFill/>
            <a:ln w="12700" cap="rnd">
              <a:solidFill>
                <a:srgbClr val="24465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35" name="Freeform 126">
              <a:extLst>
                <a:ext uri="{FF2B5EF4-FFF2-40B4-BE49-F238E27FC236}">
                  <a16:creationId xmlns:a16="http://schemas.microsoft.com/office/drawing/2014/main" id="{E815B9CF-3CC5-22A9-182A-DE4D34EA515D}"/>
                </a:ext>
              </a:extLst>
            </p:cNvPr>
            <p:cNvSpPr>
              <a:spLocks/>
            </p:cNvSpPr>
            <p:nvPr/>
          </p:nvSpPr>
          <p:spPr bwMode="auto">
            <a:xfrm>
              <a:off x="6143114" y="3585080"/>
              <a:ext cx="58738" cy="80963"/>
            </a:xfrm>
            <a:custGeom>
              <a:avLst/>
              <a:gdLst>
                <a:gd name="T0" fmla="*/ 22 w 37"/>
                <a:gd name="T1" fmla="*/ 0 h 51"/>
                <a:gd name="T2" fmla="*/ 37 w 37"/>
                <a:gd name="T3" fmla="*/ 34 h 51"/>
                <a:gd name="T4" fmla="*/ 0 w 37"/>
                <a:gd name="T5" fmla="*/ 51 h 51"/>
              </a:gdLst>
              <a:ahLst/>
              <a:cxnLst>
                <a:cxn ang="0">
                  <a:pos x="T0" y="T1"/>
                </a:cxn>
                <a:cxn ang="0">
                  <a:pos x="T2" y="T3"/>
                </a:cxn>
                <a:cxn ang="0">
                  <a:pos x="T4" y="T5"/>
                </a:cxn>
              </a:cxnLst>
              <a:rect l="0" t="0" r="r" b="b"/>
              <a:pathLst>
                <a:path w="37" h="51">
                  <a:moveTo>
                    <a:pt x="22" y="0"/>
                  </a:moveTo>
                  <a:lnTo>
                    <a:pt x="37" y="34"/>
                  </a:lnTo>
                  <a:lnTo>
                    <a:pt x="0" y="51"/>
                  </a:lnTo>
                </a:path>
              </a:pathLst>
            </a:custGeom>
            <a:noFill/>
            <a:ln w="12700" cap="rnd">
              <a:solidFill>
                <a:srgbClr val="24465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336" name="Group 335">
            <a:extLst>
              <a:ext uri="{FF2B5EF4-FFF2-40B4-BE49-F238E27FC236}">
                <a16:creationId xmlns:a16="http://schemas.microsoft.com/office/drawing/2014/main" id="{1CBCD42D-65FF-898B-5B2C-D82D020176E4}"/>
              </a:ext>
            </a:extLst>
          </p:cNvPr>
          <p:cNvGrpSpPr/>
          <p:nvPr/>
        </p:nvGrpSpPr>
        <p:grpSpPr>
          <a:xfrm>
            <a:off x="6559261" y="1514693"/>
            <a:ext cx="233172" cy="304582"/>
            <a:chOff x="6097418" y="3818899"/>
            <a:chExt cx="459872" cy="600702"/>
          </a:xfrm>
        </p:grpSpPr>
        <p:sp>
          <p:nvSpPr>
            <p:cNvPr id="337" name="Freeform: Shape 336">
              <a:extLst>
                <a:ext uri="{FF2B5EF4-FFF2-40B4-BE49-F238E27FC236}">
                  <a16:creationId xmlns:a16="http://schemas.microsoft.com/office/drawing/2014/main" id="{187BB397-6B9C-5FC6-3251-705917AB5B26}"/>
                </a:ext>
              </a:extLst>
            </p:cNvPr>
            <p:cNvSpPr/>
            <p:nvPr/>
          </p:nvSpPr>
          <p:spPr>
            <a:xfrm>
              <a:off x="6286455" y="4084488"/>
              <a:ext cx="100433" cy="16739"/>
            </a:xfrm>
            <a:custGeom>
              <a:avLst/>
              <a:gdLst>
                <a:gd name="connsiteX0" fmla="*/ 9965 w 119580"/>
                <a:gd name="connsiteY0" fmla="*/ 9965 h 19930"/>
                <a:gd name="connsiteX1" fmla="*/ 110612 w 119580"/>
                <a:gd name="connsiteY1" fmla="*/ 9965 h 19930"/>
              </a:gdLst>
              <a:ahLst/>
              <a:cxnLst>
                <a:cxn ang="0">
                  <a:pos x="connsiteX0" y="connsiteY0"/>
                </a:cxn>
                <a:cxn ang="0">
                  <a:pos x="connsiteX1" y="connsiteY1"/>
                </a:cxn>
              </a:cxnLst>
              <a:rect l="l" t="t" r="r" b="b"/>
              <a:pathLst>
                <a:path w="119580" h="19930">
                  <a:moveTo>
                    <a:pt x="9965" y="9965"/>
                  </a:moveTo>
                  <a:lnTo>
                    <a:pt x="110612" y="9965"/>
                  </a:lnTo>
                </a:path>
              </a:pathLst>
            </a:custGeom>
            <a:ln w="12700" cap="rnd">
              <a:solidFill>
                <a:srgbClr val="F8F5E7"/>
              </a:solidFill>
              <a:prstDash val="solid"/>
              <a:round/>
            </a:ln>
          </p:spPr>
          <p:txBody>
            <a:bodyPr rtlCol="0" anchor="ctr"/>
            <a:lstStyle/>
            <a:p>
              <a:endParaRPr lang="en-GB"/>
            </a:p>
          </p:txBody>
        </p:sp>
        <p:sp>
          <p:nvSpPr>
            <p:cNvPr id="338" name="Freeform: Shape 337">
              <a:extLst>
                <a:ext uri="{FF2B5EF4-FFF2-40B4-BE49-F238E27FC236}">
                  <a16:creationId xmlns:a16="http://schemas.microsoft.com/office/drawing/2014/main" id="{789CECD6-BC8D-7FA5-2811-41DDFF29BC3B}"/>
                </a:ext>
              </a:extLst>
            </p:cNvPr>
            <p:cNvSpPr/>
            <p:nvPr/>
          </p:nvSpPr>
          <p:spPr>
            <a:xfrm>
              <a:off x="6286455" y="4115958"/>
              <a:ext cx="100433" cy="16739"/>
            </a:xfrm>
            <a:custGeom>
              <a:avLst/>
              <a:gdLst>
                <a:gd name="connsiteX0" fmla="*/ 9965 w 119580"/>
                <a:gd name="connsiteY0" fmla="*/ 9965 h 19930"/>
                <a:gd name="connsiteX1" fmla="*/ 110612 w 119580"/>
                <a:gd name="connsiteY1" fmla="*/ 9965 h 19930"/>
              </a:gdLst>
              <a:ahLst/>
              <a:cxnLst>
                <a:cxn ang="0">
                  <a:pos x="connsiteX0" y="connsiteY0"/>
                </a:cxn>
                <a:cxn ang="0">
                  <a:pos x="connsiteX1" y="connsiteY1"/>
                </a:cxn>
              </a:cxnLst>
              <a:rect l="l" t="t" r="r" b="b"/>
              <a:pathLst>
                <a:path w="119580" h="19930">
                  <a:moveTo>
                    <a:pt x="9965" y="9965"/>
                  </a:moveTo>
                  <a:lnTo>
                    <a:pt x="110612" y="9965"/>
                  </a:lnTo>
                </a:path>
              </a:pathLst>
            </a:custGeom>
            <a:ln w="12700" cap="rnd">
              <a:solidFill>
                <a:srgbClr val="F8F5E7"/>
              </a:solidFill>
              <a:prstDash val="solid"/>
              <a:round/>
            </a:ln>
          </p:spPr>
          <p:txBody>
            <a:bodyPr rtlCol="0" anchor="ctr"/>
            <a:lstStyle/>
            <a:p>
              <a:endParaRPr lang="en-GB"/>
            </a:p>
          </p:txBody>
        </p:sp>
        <p:sp>
          <p:nvSpPr>
            <p:cNvPr id="339" name="Freeform: Shape 338">
              <a:extLst>
                <a:ext uri="{FF2B5EF4-FFF2-40B4-BE49-F238E27FC236}">
                  <a16:creationId xmlns:a16="http://schemas.microsoft.com/office/drawing/2014/main" id="{30A33ABA-EFDE-3079-DBB6-978E2D0A119B}"/>
                </a:ext>
              </a:extLst>
            </p:cNvPr>
            <p:cNvSpPr/>
            <p:nvPr/>
          </p:nvSpPr>
          <p:spPr>
            <a:xfrm>
              <a:off x="6238750" y="3818899"/>
              <a:ext cx="195286" cy="245503"/>
            </a:xfrm>
            <a:custGeom>
              <a:avLst/>
              <a:gdLst>
                <a:gd name="connsiteX0" fmla="*/ 70752 w 232518"/>
                <a:gd name="connsiteY0" fmla="*/ 283606 h 292309"/>
                <a:gd name="connsiteX1" fmla="*/ 70752 w 232518"/>
                <a:gd name="connsiteY1" fmla="*/ 245673 h 292309"/>
                <a:gd name="connsiteX2" fmla="*/ 48962 w 232518"/>
                <a:gd name="connsiteY2" fmla="*/ 208071 h 292309"/>
                <a:gd name="connsiteX3" fmla="*/ 9965 w 232518"/>
                <a:gd name="connsiteY3" fmla="*/ 118850 h 292309"/>
                <a:gd name="connsiteX4" fmla="*/ 117787 w 232518"/>
                <a:gd name="connsiteY4" fmla="*/ 9965 h 292309"/>
                <a:gd name="connsiteX5" fmla="*/ 225277 w 232518"/>
                <a:gd name="connsiteY5" fmla="*/ 123766 h 292309"/>
                <a:gd name="connsiteX6" fmla="*/ 191928 w 232518"/>
                <a:gd name="connsiteY6" fmla="*/ 199634 h 29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2518" h="292309">
                  <a:moveTo>
                    <a:pt x="70752" y="283606"/>
                  </a:moveTo>
                  <a:cubicBezTo>
                    <a:pt x="70752" y="283606"/>
                    <a:pt x="70752" y="268858"/>
                    <a:pt x="70752" y="245673"/>
                  </a:cubicBezTo>
                  <a:cubicBezTo>
                    <a:pt x="70752" y="222487"/>
                    <a:pt x="48962" y="208071"/>
                    <a:pt x="48962" y="208071"/>
                  </a:cubicBezTo>
                  <a:cubicBezTo>
                    <a:pt x="48962" y="208071"/>
                    <a:pt x="9965" y="177511"/>
                    <a:pt x="9965" y="118850"/>
                  </a:cubicBezTo>
                  <a:cubicBezTo>
                    <a:pt x="9965" y="60189"/>
                    <a:pt x="54210" y="9965"/>
                    <a:pt x="117787" y="9965"/>
                  </a:cubicBezTo>
                  <a:cubicBezTo>
                    <a:pt x="181365" y="9965"/>
                    <a:pt x="225277" y="61983"/>
                    <a:pt x="225277" y="123766"/>
                  </a:cubicBezTo>
                  <a:cubicBezTo>
                    <a:pt x="225277" y="173326"/>
                    <a:pt x="191928" y="199634"/>
                    <a:pt x="191928" y="199634"/>
                  </a:cubicBezTo>
                </a:path>
              </a:pathLst>
            </a:custGeom>
            <a:noFill/>
            <a:ln w="12700" cap="rnd">
              <a:solidFill>
                <a:srgbClr val="F8F5E7"/>
              </a:solidFill>
              <a:prstDash val="solid"/>
              <a:round/>
            </a:ln>
          </p:spPr>
          <p:txBody>
            <a:bodyPr rtlCol="0" anchor="ctr"/>
            <a:lstStyle/>
            <a:p>
              <a:endParaRPr lang="en-GB"/>
            </a:p>
          </p:txBody>
        </p:sp>
        <p:sp>
          <p:nvSpPr>
            <p:cNvPr id="340" name="Freeform: Shape 339">
              <a:extLst>
                <a:ext uri="{FF2B5EF4-FFF2-40B4-BE49-F238E27FC236}">
                  <a16:creationId xmlns:a16="http://schemas.microsoft.com/office/drawing/2014/main" id="{89754D75-B7B9-8E49-6E4F-292CDBBF96EE}"/>
                </a:ext>
              </a:extLst>
            </p:cNvPr>
            <p:cNvSpPr/>
            <p:nvPr/>
          </p:nvSpPr>
          <p:spPr>
            <a:xfrm>
              <a:off x="6302749" y="3922398"/>
              <a:ext cx="66956" cy="139491"/>
            </a:xfrm>
            <a:custGeom>
              <a:avLst/>
              <a:gdLst>
                <a:gd name="connsiteX0" fmla="*/ 10030 w 79720"/>
                <a:gd name="connsiteY0" fmla="*/ 48966 h 166084"/>
                <a:gd name="connsiteX1" fmla="*/ 32884 w 79720"/>
                <a:gd name="connsiteY1" fmla="*/ 11032 h 166084"/>
                <a:gd name="connsiteX2" fmla="*/ 71880 w 79720"/>
                <a:gd name="connsiteY2" fmla="*/ 48966 h 166084"/>
                <a:gd name="connsiteX3" fmla="*/ 53279 w 79720"/>
                <a:gd name="connsiteY3" fmla="*/ 86036 h 166084"/>
                <a:gd name="connsiteX4" fmla="*/ 40590 w 79720"/>
                <a:gd name="connsiteY4" fmla="*/ 114802 h 166084"/>
                <a:gd name="connsiteX5" fmla="*/ 40590 w 79720"/>
                <a:gd name="connsiteY5" fmla="*/ 160375 h 16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720" h="166084">
                  <a:moveTo>
                    <a:pt x="10030" y="48966"/>
                  </a:moveTo>
                  <a:cubicBezTo>
                    <a:pt x="10030" y="48966"/>
                    <a:pt x="7572" y="16280"/>
                    <a:pt x="32884" y="11032"/>
                  </a:cubicBezTo>
                  <a:cubicBezTo>
                    <a:pt x="58195" y="5784"/>
                    <a:pt x="71880" y="20133"/>
                    <a:pt x="71880" y="48966"/>
                  </a:cubicBezTo>
                  <a:cubicBezTo>
                    <a:pt x="71880" y="65176"/>
                    <a:pt x="61982" y="77997"/>
                    <a:pt x="53279" y="86036"/>
                  </a:cubicBezTo>
                  <a:cubicBezTo>
                    <a:pt x="45240" y="93476"/>
                    <a:pt x="40590" y="103840"/>
                    <a:pt x="40590" y="114802"/>
                  </a:cubicBezTo>
                  <a:lnTo>
                    <a:pt x="40590" y="160375"/>
                  </a:lnTo>
                </a:path>
              </a:pathLst>
            </a:custGeom>
            <a:noFill/>
            <a:ln w="12700" cap="rnd">
              <a:solidFill>
                <a:srgbClr val="F8F5E7"/>
              </a:solidFill>
              <a:prstDash val="solid"/>
              <a:round/>
            </a:ln>
          </p:spPr>
          <p:txBody>
            <a:bodyPr rtlCol="0" anchor="ctr"/>
            <a:lstStyle/>
            <a:p>
              <a:endParaRPr lang="en-GB"/>
            </a:p>
          </p:txBody>
        </p:sp>
        <p:sp>
          <p:nvSpPr>
            <p:cNvPr id="341" name="Freeform: Shape 340">
              <a:extLst>
                <a:ext uri="{FF2B5EF4-FFF2-40B4-BE49-F238E27FC236}">
                  <a16:creationId xmlns:a16="http://schemas.microsoft.com/office/drawing/2014/main" id="{ECCE1F3A-D210-984B-25EF-E292092038BF}"/>
                </a:ext>
              </a:extLst>
            </p:cNvPr>
            <p:cNvSpPr/>
            <p:nvPr/>
          </p:nvSpPr>
          <p:spPr>
            <a:xfrm>
              <a:off x="6153549" y="4280110"/>
              <a:ext cx="273401" cy="139491"/>
            </a:xfrm>
            <a:custGeom>
              <a:avLst/>
              <a:gdLst>
                <a:gd name="connsiteX0" fmla="*/ 9965 w 325525"/>
                <a:gd name="connsiteY0" fmla="*/ 124431 h 166084"/>
                <a:gd name="connsiteX1" fmla="*/ 59259 w 325525"/>
                <a:gd name="connsiteY1" fmla="*/ 124431 h 166084"/>
                <a:gd name="connsiteX2" fmla="*/ 98987 w 325525"/>
                <a:gd name="connsiteY2" fmla="*/ 84703 h 166084"/>
                <a:gd name="connsiteX3" fmla="*/ 98987 w 325525"/>
                <a:gd name="connsiteY3" fmla="*/ 84703 h 166084"/>
                <a:gd name="connsiteX4" fmla="*/ 173725 w 325525"/>
                <a:gd name="connsiteY4" fmla="*/ 9965 h 166084"/>
                <a:gd name="connsiteX5" fmla="*/ 246669 w 325525"/>
                <a:gd name="connsiteY5" fmla="*/ 9965 h 166084"/>
                <a:gd name="connsiteX6" fmla="*/ 321407 w 325525"/>
                <a:gd name="connsiteY6" fmla="*/ 84703 h 166084"/>
                <a:gd name="connsiteX7" fmla="*/ 321407 w 325525"/>
                <a:gd name="connsiteY7" fmla="*/ 111675 h 166084"/>
                <a:gd name="connsiteX8" fmla="*/ 273840 w 325525"/>
                <a:gd name="connsiteY8" fmla="*/ 159242 h 166084"/>
                <a:gd name="connsiteX9" fmla="*/ 239295 w 325525"/>
                <a:gd name="connsiteY9" fmla="*/ 159242 h 16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525" h="166084">
                  <a:moveTo>
                    <a:pt x="9965" y="124431"/>
                  </a:moveTo>
                  <a:lnTo>
                    <a:pt x="59259" y="124431"/>
                  </a:lnTo>
                  <a:cubicBezTo>
                    <a:pt x="81182" y="124431"/>
                    <a:pt x="98987" y="106626"/>
                    <a:pt x="98987" y="84703"/>
                  </a:cubicBezTo>
                  <a:lnTo>
                    <a:pt x="98987" y="84703"/>
                  </a:lnTo>
                  <a:cubicBezTo>
                    <a:pt x="98987" y="43448"/>
                    <a:pt x="132470" y="9965"/>
                    <a:pt x="173725" y="9965"/>
                  </a:cubicBezTo>
                  <a:lnTo>
                    <a:pt x="246669" y="9965"/>
                  </a:lnTo>
                  <a:cubicBezTo>
                    <a:pt x="287924" y="9965"/>
                    <a:pt x="321407" y="43448"/>
                    <a:pt x="321407" y="84703"/>
                  </a:cubicBezTo>
                  <a:lnTo>
                    <a:pt x="321407" y="111675"/>
                  </a:lnTo>
                  <a:cubicBezTo>
                    <a:pt x="321407" y="137983"/>
                    <a:pt x="300082" y="159242"/>
                    <a:pt x="273840" y="159242"/>
                  </a:cubicBezTo>
                  <a:lnTo>
                    <a:pt x="239295" y="159242"/>
                  </a:lnTo>
                </a:path>
              </a:pathLst>
            </a:custGeom>
            <a:noFill/>
            <a:ln w="12700" cap="rnd">
              <a:solidFill>
                <a:srgbClr val="F8F5E7"/>
              </a:solidFill>
              <a:prstDash val="solid"/>
              <a:round/>
            </a:ln>
          </p:spPr>
          <p:txBody>
            <a:bodyPr rtlCol="0" anchor="ctr"/>
            <a:lstStyle/>
            <a:p>
              <a:endParaRPr lang="en-GB"/>
            </a:p>
          </p:txBody>
        </p:sp>
        <p:sp>
          <p:nvSpPr>
            <p:cNvPr id="342" name="Freeform: Shape 341">
              <a:extLst>
                <a:ext uri="{FF2B5EF4-FFF2-40B4-BE49-F238E27FC236}">
                  <a16:creationId xmlns:a16="http://schemas.microsoft.com/office/drawing/2014/main" id="{D1834A47-1B28-4CDF-6F6E-20DD9FB108D9}"/>
                </a:ext>
              </a:extLst>
            </p:cNvPr>
            <p:cNvSpPr/>
            <p:nvPr/>
          </p:nvSpPr>
          <p:spPr>
            <a:xfrm>
              <a:off x="6097418" y="4250873"/>
              <a:ext cx="189707" cy="106012"/>
            </a:xfrm>
            <a:custGeom>
              <a:avLst/>
              <a:gdLst>
                <a:gd name="connsiteX0" fmla="*/ 9965 w 225875"/>
                <a:gd name="connsiteY0" fmla="*/ 118518 h 126224"/>
                <a:gd name="connsiteX1" fmla="*/ 9965 w 225875"/>
                <a:gd name="connsiteY1" fmla="*/ 84703 h 126224"/>
                <a:gd name="connsiteX2" fmla="*/ 84703 w 225875"/>
                <a:gd name="connsiteY2" fmla="*/ 9965 h 126224"/>
                <a:gd name="connsiteX3" fmla="*/ 157648 w 225875"/>
                <a:gd name="connsiteY3" fmla="*/ 9965 h 126224"/>
                <a:gd name="connsiteX4" fmla="*/ 219630 w 225875"/>
                <a:gd name="connsiteY4" fmla="*/ 42916 h 126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875" h="126224">
                  <a:moveTo>
                    <a:pt x="9965" y="118518"/>
                  </a:moveTo>
                  <a:lnTo>
                    <a:pt x="9965" y="84703"/>
                  </a:lnTo>
                  <a:cubicBezTo>
                    <a:pt x="9965" y="43448"/>
                    <a:pt x="43448" y="9965"/>
                    <a:pt x="84703" y="9965"/>
                  </a:cubicBezTo>
                  <a:lnTo>
                    <a:pt x="157648" y="9965"/>
                  </a:lnTo>
                  <a:cubicBezTo>
                    <a:pt x="183424" y="9965"/>
                    <a:pt x="206211" y="23053"/>
                    <a:pt x="219630" y="42916"/>
                  </a:cubicBezTo>
                </a:path>
              </a:pathLst>
            </a:custGeom>
            <a:noFill/>
            <a:ln w="12700" cap="rnd">
              <a:solidFill>
                <a:srgbClr val="F8F5E7"/>
              </a:solidFill>
              <a:prstDash val="solid"/>
              <a:round/>
            </a:ln>
          </p:spPr>
          <p:txBody>
            <a:bodyPr rtlCol="0" anchor="ctr"/>
            <a:lstStyle/>
            <a:p>
              <a:endParaRPr lang="en-GB"/>
            </a:p>
          </p:txBody>
        </p:sp>
        <p:sp>
          <p:nvSpPr>
            <p:cNvPr id="343" name="Freeform: Shape 342">
              <a:extLst>
                <a:ext uri="{FF2B5EF4-FFF2-40B4-BE49-F238E27FC236}">
                  <a16:creationId xmlns:a16="http://schemas.microsoft.com/office/drawing/2014/main" id="{E4C5C24E-786B-CC06-5F0A-C34BB78A5CE1}"/>
                </a:ext>
              </a:extLst>
            </p:cNvPr>
            <p:cNvSpPr/>
            <p:nvPr/>
          </p:nvSpPr>
          <p:spPr>
            <a:xfrm>
              <a:off x="6367583" y="4250929"/>
              <a:ext cx="189707" cy="139491"/>
            </a:xfrm>
            <a:custGeom>
              <a:avLst/>
              <a:gdLst>
                <a:gd name="connsiteX0" fmla="*/ 9965 w 225875"/>
                <a:gd name="connsiteY0" fmla="*/ 47035 h 166084"/>
                <a:gd name="connsiteX1" fmla="*/ 74539 w 225875"/>
                <a:gd name="connsiteY1" fmla="*/ 9965 h 166084"/>
                <a:gd name="connsiteX2" fmla="*/ 147484 w 225875"/>
                <a:gd name="connsiteY2" fmla="*/ 9965 h 166084"/>
                <a:gd name="connsiteX3" fmla="*/ 222222 w 225875"/>
                <a:gd name="connsiteY3" fmla="*/ 84703 h 166084"/>
                <a:gd name="connsiteX4" fmla="*/ 222222 w 225875"/>
                <a:gd name="connsiteY4" fmla="*/ 111675 h 166084"/>
                <a:gd name="connsiteX5" fmla="*/ 174655 w 225875"/>
                <a:gd name="connsiteY5" fmla="*/ 159242 h 166084"/>
                <a:gd name="connsiteX6" fmla="*/ 64707 w 225875"/>
                <a:gd name="connsiteY6" fmla="*/ 159242 h 16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875" h="166084">
                  <a:moveTo>
                    <a:pt x="9965" y="47035"/>
                  </a:moveTo>
                  <a:cubicBezTo>
                    <a:pt x="22920" y="24846"/>
                    <a:pt x="46969" y="9965"/>
                    <a:pt x="74539" y="9965"/>
                  </a:cubicBezTo>
                  <a:lnTo>
                    <a:pt x="147484" y="9965"/>
                  </a:lnTo>
                  <a:cubicBezTo>
                    <a:pt x="188739" y="9965"/>
                    <a:pt x="222222" y="43448"/>
                    <a:pt x="222222" y="84703"/>
                  </a:cubicBezTo>
                  <a:lnTo>
                    <a:pt x="222222" y="111675"/>
                  </a:lnTo>
                  <a:cubicBezTo>
                    <a:pt x="222222" y="137983"/>
                    <a:pt x="200896" y="159242"/>
                    <a:pt x="174655" y="159242"/>
                  </a:cubicBezTo>
                  <a:lnTo>
                    <a:pt x="64707" y="159242"/>
                  </a:lnTo>
                </a:path>
              </a:pathLst>
            </a:custGeom>
            <a:noFill/>
            <a:ln w="12700" cap="rnd">
              <a:solidFill>
                <a:srgbClr val="F8F5E7"/>
              </a:solidFill>
              <a:prstDash val="solid"/>
              <a:round/>
            </a:ln>
          </p:spPr>
          <p:txBody>
            <a:bodyPr rtlCol="0" anchor="ctr"/>
            <a:lstStyle/>
            <a:p>
              <a:endParaRPr lang="en-GB"/>
            </a:p>
          </p:txBody>
        </p:sp>
        <p:sp>
          <p:nvSpPr>
            <p:cNvPr id="344" name="Freeform: Shape 343">
              <a:extLst>
                <a:ext uri="{FF2B5EF4-FFF2-40B4-BE49-F238E27FC236}">
                  <a16:creationId xmlns:a16="http://schemas.microsoft.com/office/drawing/2014/main" id="{20258711-DA96-E990-1D50-14052FEF093A}"/>
                </a:ext>
              </a:extLst>
            </p:cNvPr>
            <p:cNvSpPr/>
            <p:nvPr/>
          </p:nvSpPr>
          <p:spPr>
            <a:xfrm>
              <a:off x="6280782" y="4171307"/>
              <a:ext cx="94854" cy="122752"/>
            </a:xfrm>
            <a:custGeom>
              <a:avLst/>
              <a:gdLst>
                <a:gd name="connsiteX0" fmla="*/ 58773 w 112937"/>
                <a:gd name="connsiteY0" fmla="*/ 138980 h 146154"/>
                <a:gd name="connsiteX1" fmla="*/ 10342 w 112937"/>
                <a:gd name="connsiteY1" fmla="*/ 74472 h 146154"/>
                <a:gd name="connsiteX2" fmla="*/ 58773 w 112937"/>
                <a:gd name="connsiteY2" fmla="*/ 9965 h 146154"/>
                <a:gd name="connsiteX3" fmla="*/ 107203 w 112937"/>
                <a:gd name="connsiteY3" fmla="*/ 74472 h 146154"/>
                <a:gd name="connsiteX4" fmla="*/ 99563 w 112937"/>
                <a:gd name="connsiteY4" fmla="*/ 104899 h 146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37" h="146154">
                  <a:moveTo>
                    <a:pt x="58773" y="138980"/>
                  </a:moveTo>
                  <a:cubicBezTo>
                    <a:pt x="38377" y="138980"/>
                    <a:pt x="13863" y="114532"/>
                    <a:pt x="10342" y="74472"/>
                  </a:cubicBezTo>
                  <a:cubicBezTo>
                    <a:pt x="7220" y="38997"/>
                    <a:pt x="23496" y="9965"/>
                    <a:pt x="58773" y="9965"/>
                  </a:cubicBezTo>
                  <a:cubicBezTo>
                    <a:pt x="94049" y="9965"/>
                    <a:pt x="110325" y="38997"/>
                    <a:pt x="107203" y="74472"/>
                  </a:cubicBezTo>
                  <a:cubicBezTo>
                    <a:pt x="106207" y="85965"/>
                    <a:pt x="103416" y="96196"/>
                    <a:pt x="99563" y="104899"/>
                  </a:cubicBezTo>
                </a:path>
              </a:pathLst>
            </a:custGeom>
            <a:noFill/>
            <a:ln w="12700" cap="rnd">
              <a:solidFill>
                <a:srgbClr val="F8F5E7"/>
              </a:solidFill>
              <a:prstDash val="solid"/>
              <a:round/>
            </a:ln>
          </p:spPr>
          <p:txBody>
            <a:bodyPr rtlCol="0" anchor="ctr"/>
            <a:lstStyle/>
            <a:p>
              <a:endParaRPr lang="en-GB"/>
            </a:p>
          </p:txBody>
        </p:sp>
        <p:sp>
          <p:nvSpPr>
            <p:cNvPr id="345" name="Freeform: Shape 344">
              <a:extLst>
                <a:ext uri="{FF2B5EF4-FFF2-40B4-BE49-F238E27FC236}">
                  <a16:creationId xmlns:a16="http://schemas.microsoft.com/office/drawing/2014/main" id="{1BFE44AD-416F-F3BF-ED5D-A840A06B1225}"/>
                </a:ext>
              </a:extLst>
            </p:cNvPr>
            <p:cNvSpPr/>
            <p:nvPr/>
          </p:nvSpPr>
          <p:spPr>
            <a:xfrm>
              <a:off x="6411792" y="4142070"/>
              <a:ext cx="94854" cy="122752"/>
            </a:xfrm>
            <a:custGeom>
              <a:avLst/>
              <a:gdLst>
                <a:gd name="connsiteX0" fmla="*/ 58773 w 112937"/>
                <a:gd name="connsiteY0" fmla="*/ 138980 h 146154"/>
                <a:gd name="connsiteX1" fmla="*/ 10342 w 112937"/>
                <a:gd name="connsiteY1" fmla="*/ 74472 h 146154"/>
                <a:gd name="connsiteX2" fmla="*/ 58773 w 112937"/>
                <a:gd name="connsiteY2" fmla="*/ 9965 h 146154"/>
                <a:gd name="connsiteX3" fmla="*/ 107203 w 112937"/>
                <a:gd name="connsiteY3" fmla="*/ 74472 h 146154"/>
                <a:gd name="connsiteX4" fmla="*/ 99563 w 112937"/>
                <a:gd name="connsiteY4" fmla="*/ 104899 h 146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37" h="146154">
                  <a:moveTo>
                    <a:pt x="58773" y="138980"/>
                  </a:moveTo>
                  <a:cubicBezTo>
                    <a:pt x="38378" y="138980"/>
                    <a:pt x="13863" y="114532"/>
                    <a:pt x="10342" y="74472"/>
                  </a:cubicBezTo>
                  <a:cubicBezTo>
                    <a:pt x="7220" y="38997"/>
                    <a:pt x="23497" y="9965"/>
                    <a:pt x="58773" y="9965"/>
                  </a:cubicBezTo>
                  <a:cubicBezTo>
                    <a:pt x="94049" y="9965"/>
                    <a:pt x="110325" y="38997"/>
                    <a:pt x="107203" y="74472"/>
                  </a:cubicBezTo>
                  <a:cubicBezTo>
                    <a:pt x="106207" y="85965"/>
                    <a:pt x="103416" y="96196"/>
                    <a:pt x="99563" y="104899"/>
                  </a:cubicBezTo>
                </a:path>
              </a:pathLst>
            </a:custGeom>
            <a:noFill/>
            <a:ln w="12700" cap="rnd">
              <a:solidFill>
                <a:srgbClr val="F8F5E7"/>
              </a:solidFill>
              <a:prstDash val="solid"/>
              <a:round/>
            </a:ln>
          </p:spPr>
          <p:txBody>
            <a:bodyPr rtlCol="0" anchor="ctr"/>
            <a:lstStyle/>
            <a:p>
              <a:endParaRPr lang="en-GB"/>
            </a:p>
          </p:txBody>
        </p:sp>
        <p:sp>
          <p:nvSpPr>
            <p:cNvPr id="346" name="Freeform: Shape 345">
              <a:extLst>
                <a:ext uri="{FF2B5EF4-FFF2-40B4-BE49-F238E27FC236}">
                  <a16:creationId xmlns:a16="http://schemas.microsoft.com/office/drawing/2014/main" id="{50464F17-A276-E9C8-2199-A5E59334BEDA}"/>
                </a:ext>
              </a:extLst>
            </p:cNvPr>
            <p:cNvSpPr/>
            <p:nvPr/>
          </p:nvSpPr>
          <p:spPr>
            <a:xfrm>
              <a:off x="6150164" y="4142070"/>
              <a:ext cx="94854" cy="122752"/>
            </a:xfrm>
            <a:custGeom>
              <a:avLst/>
              <a:gdLst>
                <a:gd name="connsiteX0" fmla="*/ 58772 w 112937"/>
                <a:gd name="connsiteY0" fmla="*/ 138980 h 146154"/>
                <a:gd name="connsiteX1" fmla="*/ 10342 w 112937"/>
                <a:gd name="connsiteY1" fmla="*/ 74472 h 146154"/>
                <a:gd name="connsiteX2" fmla="*/ 58772 w 112937"/>
                <a:gd name="connsiteY2" fmla="*/ 9965 h 146154"/>
                <a:gd name="connsiteX3" fmla="*/ 107203 w 112937"/>
                <a:gd name="connsiteY3" fmla="*/ 74472 h 146154"/>
                <a:gd name="connsiteX4" fmla="*/ 99563 w 112937"/>
                <a:gd name="connsiteY4" fmla="*/ 104899 h 146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37" h="146154">
                  <a:moveTo>
                    <a:pt x="58772" y="138980"/>
                  </a:moveTo>
                  <a:cubicBezTo>
                    <a:pt x="38377" y="138980"/>
                    <a:pt x="13863" y="114532"/>
                    <a:pt x="10342" y="74472"/>
                  </a:cubicBezTo>
                  <a:cubicBezTo>
                    <a:pt x="7220" y="38997"/>
                    <a:pt x="23496" y="9965"/>
                    <a:pt x="58772" y="9965"/>
                  </a:cubicBezTo>
                  <a:cubicBezTo>
                    <a:pt x="94049" y="9965"/>
                    <a:pt x="110325" y="38997"/>
                    <a:pt x="107203" y="74472"/>
                  </a:cubicBezTo>
                  <a:cubicBezTo>
                    <a:pt x="106206" y="85965"/>
                    <a:pt x="103416" y="96196"/>
                    <a:pt x="99563" y="104899"/>
                  </a:cubicBezTo>
                </a:path>
              </a:pathLst>
            </a:custGeom>
            <a:noFill/>
            <a:ln w="12700" cap="rnd">
              <a:solidFill>
                <a:srgbClr val="F8F5E7"/>
              </a:solidFill>
              <a:prstDash val="solid"/>
              <a:round/>
            </a:ln>
          </p:spPr>
          <p:txBody>
            <a:bodyPr rtlCol="0" anchor="ctr"/>
            <a:lstStyle/>
            <a:p>
              <a:endParaRPr lang="en-GB"/>
            </a:p>
          </p:txBody>
        </p:sp>
      </p:grpSp>
      <p:grpSp>
        <p:nvGrpSpPr>
          <p:cNvPr id="347" name="Graphic 8">
            <a:extLst>
              <a:ext uri="{FF2B5EF4-FFF2-40B4-BE49-F238E27FC236}">
                <a16:creationId xmlns:a16="http://schemas.microsoft.com/office/drawing/2014/main" id="{15E29606-F8E7-3250-4B3F-7E2BA8B93E72}"/>
              </a:ext>
            </a:extLst>
          </p:cNvPr>
          <p:cNvGrpSpPr/>
          <p:nvPr/>
        </p:nvGrpSpPr>
        <p:grpSpPr>
          <a:xfrm>
            <a:off x="730980" y="4468272"/>
            <a:ext cx="243392" cy="276428"/>
            <a:chOff x="7781435" y="4065275"/>
            <a:chExt cx="588645" cy="668540"/>
          </a:xfrm>
          <a:noFill/>
        </p:grpSpPr>
        <p:grpSp>
          <p:nvGrpSpPr>
            <p:cNvPr id="348" name="Graphic 8">
              <a:extLst>
                <a:ext uri="{FF2B5EF4-FFF2-40B4-BE49-F238E27FC236}">
                  <a16:creationId xmlns:a16="http://schemas.microsoft.com/office/drawing/2014/main" id="{ACE90CD8-55BA-33B1-28A9-CF9296555589}"/>
                </a:ext>
              </a:extLst>
            </p:cNvPr>
            <p:cNvGrpSpPr/>
            <p:nvPr/>
          </p:nvGrpSpPr>
          <p:grpSpPr>
            <a:xfrm>
              <a:off x="7781435" y="4065275"/>
              <a:ext cx="512635" cy="419100"/>
              <a:chOff x="7781435" y="4065275"/>
              <a:chExt cx="512635" cy="419100"/>
            </a:xfrm>
            <a:noFill/>
          </p:grpSpPr>
          <p:grpSp>
            <p:nvGrpSpPr>
              <p:cNvPr id="356" name="Graphic 8">
                <a:extLst>
                  <a:ext uri="{FF2B5EF4-FFF2-40B4-BE49-F238E27FC236}">
                    <a16:creationId xmlns:a16="http://schemas.microsoft.com/office/drawing/2014/main" id="{387D5801-0F8A-66E0-A571-A3D15E682EF6}"/>
                  </a:ext>
                </a:extLst>
              </p:cNvPr>
              <p:cNvGrpSpPr/>
              <p:nvPr/>
            </p:nvGrpSpPr>
            <p:grpSpPr>
              <a:xfrm>
                <a:off x="7781435" y="4065275"/>
                <a:ext cx="512635" cy="419100"/>
                <a:chOff x="7781435" y="4065275"/>
                <a:chExt cx="512635" cy="419100"/>
              </a:xfrm>
              <a:noFill/>
            </p:grpSpPr>
            <p:sp>
              <p:nvSpPr>
                <p:cNvPr id="358" name="Freeform: Shape 357">
                  <a:extLst>
                    <a:ext uri="{FF2B5EF4-FFF2-40B4-BE49-F238E27FC236}">
                      <a16:creationId xmlns:a16="http://schemas.microsoft.com/office/drawing/2014/main" id="{59216430-33CF-C413-FA53-823C64C9FD56}"/>
                    </a:ext>
                  </a:extLst>
                </p:cNvPr>
                <p:cNvSpPr/>
                <p:nvPr/>
              </p:nvSpPr>
              <p:spPr>
                <a:xfrm>
                  <a:off x="7781435" y="4065275"/>
                  <a:ext cx="409575" cy="419100"/>
                </a:xfrm>
                <a:custGeom>
                  <a:avLst/>
                  <a:gdLst>
                    <a:gd name="connsiteX0" fmla="*/ 417481 w 409575"/>
                    <a:gd name="connsiteY0" fmla="*/ 9336 h 419100"/>
                    <a:gd name="connsiteX1" fmla="*/ 364713 w 409575"/>
                    <a:gd name="connsiteY1" fmla="*/ 2 h 419100"/>
                    <a:gd name="connsiteX2" fmla="*/ 258223 w 409575"/>
                    <a:gd name="connsiteY2" fmla="*/ 43817 h 419100"/>
                    <a:gd name="connsiteX3" fmla="*/ 151638 w 409575"/>
                    <a:gd name="connsiteY3" fmla="*/ 288 h 419100"/>
                    <a:gd name="connsiteX4" fmla="*/ 0 w 409575"/>
                    <a:gd name="connsiteY4" fmla="*/ 152307 h 419100"/>
                    <a:gd name="connsiteX5" fmla="*/ 202692 w 409575"/>
                    <a:gd name="connsiteY5" fmla="*/ 420054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575" h="419100">
                      <a:moveTo>
                        <a:pt x="417481" y="9336"/>
                      </a:moveTo>
                      <a:cubicBezTo>
                        <a:pt x="401003" y="3240"/>
                        <a:pt x="383287" y="-93"/>
                        <a:pt x="364713" y="2"/>
                      </a:cubicBezTo>
                      <a:cubicBezTo>
                        <a:pt x="323279" y="2"/>
                        <a:pt x="285655" y="16766"/>
                        <a:pt x="258223" y="43817"/>
                      </a:cubicBezTo>
                      <a:cubicBezTo>
                        <a:pt x="230791" y="16861"/>
                        <a:pt x="193167" y="192"/>
                        <a:pt x="151638" y="288"/>
                      </a:cubicBezTo>
                      <a:cubicBezTo>
                        <a:pt x="67819" y="383"/>
                        <a:pt x="0" y="68487"/>
                        <a:pt x="0" y="152307"/>
                      </a:cubicBezTo>
                      <a:cubicBezTo>
                        <a:pt x="191" y="286990"/>
                        <a:pt x="126683" y="377764"/>
                        <a:pt x="202692" y="420054"/>
                      </a:cubicBezTo>
                    </a:path>
                  </a:pathLst>
                </a:custGeom>
                <a:noFill/>
                <a:ln w="12700" cap="rnd">
                  <a:solidFill>
                    <a:srgbClr val="244655"/>
                  </a:solidFill>
                  <a:prstDash val="solid"/>
                  <a:round/>
                </a:ln>
              </p:spPr>
              <p:txBody>
                <a:bodyPr rtlCol="0" anchor="ctr"/>
                <a:lstStyle/>
                <a:p>
                  <a:endParaRPr lang="de-DE"/>
                </a:p>
              </p:txBody>
            </p:sp>
            <p:sp>
              <p:nvSpPr>
                <p:cNvPr id="359" name="Freeform: Shape 358">
                  <a:extLst>
                    <a:ext uri="{FF2B5EF4-FFF2-40B4-BE49-F238E27FC236}">
                      <a16:creationId xmlns:a16="http://schemas.microsoft.com/office/drawing/2014/main" id="{55E7590A-0932-61BB-BD9F-F6E194E523B0}"/>
                    </a:ext>
                  </a:extLst>
                </p:cNvPr>
                <p:cNvSpPr/>
                <p:nvPr/>
              </p:nvSpPr>
              <p:spPr>
                <a:xfrm>
                  <a:off x="8198820" y="4074612"/>
                  <a:ext cx="95250" cy="104775"/>
                </a:xfrm>
                <a:custGeom>
                  <a:avLst/>
                  <a:gdLst>
                    <a:gd name="connsiteX0" fmla="*/ 95345 w 95250"/>
                    <a:gd name="connsiteY0" fmla="*/ 108204 h 104775"/>
                    <a:gd name="connsiteX1" fmla="*/ 0 w 95250"/>
                    <a:gd name="connsiteY1" fmla="*/ 0 h 104775"/>
                  </a:gdLst>
                  <a:ahLst/>
                  <a:cxnLst>
                    <a:cxn ang="0">
                      <a:pos x="connsiteX0" y="connsiteY0"/>
                    </a:cxn>
                    <a:cxn ang="0">
                      <a:pos x="connsiteX1" y="connsiteY1"/>
                    </a:cxn>
                  </a:cxnLst>
                  <a:rect l="l" t="t" r="r" b="b"/>
                  <a:pathLst>
                    <a:path w="95250" h="104775">
                      <a:moveTo>
                        <a:pt x="95345" y="108204"/>
                      </a:moveTo>
                      <a:cubicBezTo>
                        <a:pt x="83820" y="58103"/>
                        <a:pt x="47530" y="17526"/>
                        <a:pt x="0" y="0"/>
                      </a:cubicBezTo>
                    </a:path>
                  </a:pathLst>
                </a:custGeom>
                <a:noFill/>
                <a:ln w="12700" cap="rnd">
                  <a:solidFill>
                    <a:srgbClr val="244655"/>
                  </a:solidFill>
                  <a:prstDash val="solid"/>
                  <a:round/>
                </a:ln>
              </p:spPr>
              <p:txBody>
                <a:bodyPr rtlCol="0" anchor="ctr"/>
                <a:lstStyle/>
                <a:p>
                  <a:endParaRPr lang="de-DE"/>
                </a:p>
              </p:txBody>
            </p:sp>
          </p:grpSp>
          <p:sp>
            <p:nvSpPr>
              <p:cNvPr id="357" name="Freeform: Shape 356">
                <a:extLst>
                  <a:ext uri="{FF2B5EF4-FFF2-40B4-BE49-F238E27FC236}">
                    <a16:creationId xmlns:a16="http://schemas.microsoft.com/office/drawing/2014/main" id="{715EAE96-0849-27F3-9752-97BE4EC25801}"/>
                  </a:ext>
                </a:extLst>
              </p:cNvPr>
              <p:cNvSpPr/>
              <p:nvPr/>
            </p:nvSpPr>
            <p:spPr>
              <a:xfrm>
                <a:off x="7996214" y="4108044"/>
                <a:ext cx="85725" cy="104775"/>
              </a:xfrm>
              <a:custGeom>
                <a:avLst/>
                <a:gdLst>
                  <a:gd name="connsiteX0" fmla="*/ 43634 w 85725"/>
                  <a:gd name="connsiteY0" fmla="*/ 0 h 104775"/>
                  <a:gd name="connsiteX1" fmla="*/ 10678 w 85725"/>
                  <a:gd name="connsiteY1" fmla="*/ 38767 h 104775"/>
                  <a:gd name="connsiteX2" fmla="*/ 44587 w 85725"/>
                  <a:gd name="connsiteY2" fmla="*/ 112109 h 104775"/>
                  <a:gd name="connsiteX3" fmla="*/ 44587 w 85725"/>
                  <a:gd name="connsiteY3" fmla="*/ 112109 h 104775"/>
                  <a:gd name="connsiteX4" fmla="*/ 77639 w 85725"/>
                  <a:gd name="connsiteY4" fmla="*/ 37814 h 104775"/>
                  <a:gd name="connsiteX5" fmla="*/ 43634 w 85725"/>
                  <a:gd name="connsiteY5" fmla="*/ 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04775">
                    <a:moveTo>
                      <a:pt x="43634" y="0"/>
                    </a:moveTo>
                    <a:lnTo>
                      <a:pt x="10678" y="38767"/>
                    </a:lnTo>
                    <a:cubicBezTo>
                      <a:pt x="-13897" y="67628"/>
                      <a:pt x="6677" y="112109"/>
                      <a:pt x="44587" y="112109"/>
                    </a:cubicBezTo>
                    <a:lnTo>
                      <a:pt x="44587" y="112109"/>
                    </a:lnTo>
                    <a:cubicBezTo>
                      <a:pt x="83068" y="112109"/>
                      <a:pt x="103451" y="66484"/>
                      <a:pt x="77639" y="37814"/>
                    </a:cubicBezTo>
                    <a:lnTo>
                      <a:pt x="43634" y="0"/>
                    </a:lnTo>
                    <a:close/>
                  </a:path>
                </a:pathLst>
              </a:custGeom>
              <a:noFill/>
              <a:ln w="12700" cap="rnd">
                <a:solidFill>
                  <a:srgbClr val="244655"/>
                </a:solidFill>
                <a:prstDash val="solid"/>
                <a:round/>
              </a:ln>
            </p:spPr>
            <p:txBody>
              <a:bodyPr rtlCol="0" anchor="ctr"/>
              <a:lstStyle/>
              <a:p>
                <a:endParaRPr lang="de-DE"/>
              </a:p>
            </p:txBody>
          </p:sp>
        </p:grpSp>
        <p:grpSp>
          <p:nvGrpSpPr>
            <p:cNvPr id="349" name="Graphic 8">
              <a:extLst>
                <a:ext uri="{FF2B5EF4-FFF2-40B4-BE49-F238E27FC236}">
                  <a16:creationId xmlns:a16="http://schemas.microsoft.com/office/drawing/2014/main" id="{BEC5E0BE-16E7-EB90-3B63-390AB81550E8}"/>
                </a:ext>
              </a:extLst>
            </p:cNvPr>
            <p:cNvGrpSpPr/>
            <p:nvPr/>
          </p:nvGrpSpPr>
          <p:grpSpPr>
            <a:xfrm>
              <a:off x="8034324" y="4137421"/>
              <a:ext cx="335756" cy="596394"/>
              <a:chOff x="8034324" y="4137421"/>
              <a:chExt cx="335756" cy="596394"/>
            </a:xfrm>
            <a:noFill/>
          </p:grpSpPr>
          <p:sp>
            <p:nvSpPr>
              <p:cNvPr id="350" name="Freeform: Shape 349">
                <a:extLst>
                  <a:ext uri="{FF2B5EF4-FFF2-40B4-BE49-F238E27FC236}">
                    <a16:creationId xmlns:a16="http://schemas.microsoft.com/office/drawing/2014/main" id="{D8DE7CBB-68FA-4FE7-DA3B-0C8ED75F03F3}"/>
                  </a:ext>
                </a:extLst>
              </p:cNvPr>
              <p:cNvSpPr/>
              <p:nvPr/>
            </p:nvSpPr>
            <p:spPr>
              <a:xfrm>
                <a:off x="8034324" y="4321932"/>
                <a:ext cx="95250" cy="133350"/>
              </a:xfrm>
              <a:custGeom>
                <a:avLst/>
                <a:gdLst>
                  <a:gd name="connsiteX0" fmla="*/ 95726 w 95250"/>
                  <a:gd name="connsiteY0" fmla="*/ 136252 h 133350"/>
                  <a:gd name="connsiteX1" fmla="*/ 66198 w 95250"/>
                  <a:gd name="connsiteY1" fmla="*/ 54146 h 133350"/>
                  <a:gd name="connsiteX2" fmla="*/ 285 w 95250"/>
                  <a:gd name="connsiteY2" fmla="*/ 330 h 133350"/>
                  <a:gd name="connsiteX3" fmla="*/ 0 w 95250"/>
                  <a:gd name="connsiteY3" fmla="*/ 330 h 133350"/>
                </a:gdLst>
                <a:ahLst/>
                <a:cxnLst>
                  <a:cxn ang="0">
                    <a:pos x="connsiteX0" y="connsiteY0"/>
                  </a:cxn>
                  <a:cxn ang="0">
                    <a:pos x="connsiteX1" y="connsiteY1"/>
                  </a:cxn>
                  <a:cxn ang="0">
                    <a:pos x="connsiteX2" y="connsiteY2"/>
                  </a:cxn>
                  <a:cxn ang="0">
                    <a:pos x="connsiteX3" y="connsiteY3"/>
                  </a:cxn>
                </a:cxnLst>
                <a:rect l="l" t="t" r="r" b="b"/>
                <a:pathLst>
                  <a:path w="95250" h="133350">
                    <a:moveTo>
                      <a:pt x="95726" y="136252"/>
                    </a:moveTo>
                    <a:lnTo>
                      <a:pt x="66198" y="54146"/>
                    </a:lnTo>
                    <a:cubicBezTo>
                      <a:pt x="55150" y="19190"/>
                      <a:pt x="33338" y="-3004"/>
                      <a:pt x="285" y="330"/>
                    </a:cubicBezTo>
                    <a:lnTo>
                      <a:pt x="0" y="330"/>
                    </a:lnTo>
                  </a:path>
                </a:pathLst>
              </a:custGeom>
              <a:noFill/>
              <a:ln w="12700" cap="rnd">
                <a:solidFill>
                  <a:srgbClr val="244655"/>
                </a:solidFill>
                <a:prstDash val="solid"/>
                <a:round/>
              </a:ln>
            </p:spPr>
            <p:txBody>
              <a:bodyPr rtlCol="0" anchor="ctr"/>
              <a:lstStyle/>
              <a:p>
                <a:endParaRPr lang="de-DE"/>
              </a:p>
            </p:txBody>
          </p:sp>
          <p:sp>
            <p:nvSpPr>
              <p:cNvPr id="351" name="Freeform: Shape 350">
                <a:extLst>
                  <a:ext uri="{FF2B5EF4-FFF2-40B4-BE49-F238E27FC236}">
                    <a16:creationId xmlns:a16="http://schemas.microsoft.com/office/drawing/2014/main" id="{60530FCA-F1A4-6CEB-EB38-2DFBF1ED9B2B}"/>
                  </a:ext>
                </a:extLst>
              </p:cNvPr>
              <p:cNvSpPr/>
              <p:nvPr/>
            </p:nvSpPr>
            <p:spPr>
              <a:xfrm>
                <a:off x="8130050" y="4179738"/>
                <a:ext cx="57150" cy="276225"/>
              </a:xfrm>
              <a:custGeom>
                <a:avLst/>
                <a:gdLst>
                  <a:gd name="connsiteX0" fmla="*/ 62103 w 57150"/>
                  <a:gd name="connsiteY0" fmla="*/ 30415 h 276225"/>
                  <a:gd name="connsiteX1" fmla="*/ 30480 w 57150"/>
                  <a:gd name="connsiteY1" fmla="*/ 30 h 276225"/>
                  <a:gd name="connsiteX2" fmla="*/ 1714 w 57150"/>
                  <a:gd name="connsiteY2" fmla="*/ 31748 h 276225"/>
                  <a:gd name="connsiteX3" fmla="*/ 571 w 57150"/>
                  <a:gd name="connsiteY3" fmla="*/ 191101 h 276225"/>
                  <a:gd name="connsiteX4" fmla="*/ 476 w 57150"/>
                  <a:gd name="connsiteY4" fmla="*/ 209580 h 276225"/>
                  <a:gd name="connsiteX5" fmla="*/ 0 w 57150"/>
                  <a:gd name="connsiteY5" fmla="*/ 27844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276225">
                    <a:moveTo>
                      <a:pt x="62103" y="30415"/>
                    </a:moveTo>
                    <a:cubicBezTo>
                      <a:pt x="62198" y="13174"/>
                      <a:pt x="47910" y="-732"/>
                      <a:pt x="30480" y="30"/>
                    </a:cubicBezTo>
                    <a:cubicBezTo>
                      <a:pt x="14097" y="792"/>
                      <a:pt x="1810" y="15365"/>
                      <a:pt x="1714" y="31748"/>
                    </a:cubicBezTo>
                    <a:lnTo>
                      <a:pt x="571" y="191101"/>
                    </a:lnTo>
                    <a:lnTo>
                      <a:pt x="476" y="209580"/>
                    </a:lnTo>
                    <a:lnTo>
                      <a:pt x="0" y="278446"/>
                    </a:lnTo>
                  </a:path>
                </a:pathLst>
              </a:custGeom>
              <a:noFill/>
              <a:ln w="12700" cap="rnd">
                <a:solidFill>
                  <a:srgbClr val="244655"/>
                </a:solidFill>
                <a:prstDash val="solid"/>
                <a:round/>
              </a:ln>
            </p:spPr>
            <p:txBody>
              <a:bodyPr rtlCol="0" anchor="ctr"/>
              <a:lstStyle/>
              <a:p>
                <a:endParaRPr lang="de-DE"/>
              </a:p>
            </p:txBody>
          </p:sp>
          <p:sp>
            <p:nvSpPr>
              <p:cNvPr id="352" name="Freeform: Shape 351">
                <a:extLst>
                  <a:ext uri="{FF2B5EF4-FFF2-40B4-BE49-F238E27FC236}">
                    <a16:creationId xmlns:a16="http://schemas.microsoft.com/office/drawing/2014/main" id="{FF7EA0FC-F3D9-AFFD-8F67-6456998DED73}"/>
                  </a:ext>
                </a:extLst>
              </p:cNvPr>
              <p:cNvSpPr/>
              <p:nvPr/>
            </p:nvSpPr>
            <p:spPr>
              <a:xfrm>
                <a:off x="8191963" y="4137421"/>
                <a:ext cx="57150" cy="266700"/>
              </a:xfrm>
              <a:custGeom>
                <a:avLst/>
                <a:gdLst>
                  <a:gd name="connsiteX0" fmla="*/ 60388 w 57150"/>
                  <a:gd name="connsiteY0" fmla="*/ 267137 h 266700"/>
                  <a:gd name="connsiteX1" fmla="*/ 60674 w 57150"/>
                  <a:gd name="connsiteY1" fmla="*/ 32155 h 266700"/>
                  <a:gd name="connsiteX2" fmla="*/ 32290 w 57150"/>
                  <a:gd name="connsiteY2" fmla="*/ 56 h 266700"/>
                  <a:gd name="connsiteX3" fmla="*/ 285 w 57150"/>
                  <a:gd name="connsiteY3" fmla="*/ 29964 h 266700"/>
                  <a:gd name="connsiteX4" fmla="*/ 0 w 57150"/>
                  <a:gd name="connsiteY4" fmla="*/ 267137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266700">
                    <a:moveTo>
                      <a:pt x="60388" y="267137"/>
                    </a:moveTo>
                    <a:lnTo>
                      <a:pt x="60674" y="32155"/>
                    </a:lnTo>
                    <a:cubicBezTo>
                      <a:pt x="60770" y="15772"/>
                      <a:pt x="48673" y="1008"/>
                      <a:pt x="32290" y="56"/>
                    </a:cubicBezTo>
                    <a:cubicBezTo>
                      <a:pt x="14859" y="-992"/>
                      <a:pt x="381" y="12819"/>
                      <a:pt x="285" y="29964"/>
                    </a:cubicBezTo>
                    <a:lnTo>
                      <a:pt x="0" y="267137"/>
                    </a:lnTo>
                  </a:path>
                </a:pathLst>
              </a:custGeom>
              <a:noFill/>
              <a:ln w="12700" cap="rnd">
                <a:solidFill>
                  <a:srgbClr val="244655"/>
                </a:solidFill>
                <a:prstDash val="solid"/>
                <a:round/>
              </a:ln>
            </p:spPr>
            <p:txBody>
              <a:bodyPr rtlCol="0" anchor="ctr"/>
              <a:lstStyle/>
              <a:p>
                <a:endParaRPr lang="de-DE"/>
              </a:p>
            </p:txBody>
          </p:sp>
          <p:sp>
            <p:nvSpPr>
              <p:cNvPr id="353" name="Freeform: Shape 352">
                <a:extLst>
                  <a:ext uri="{FF2B5EF4-FFF2-40B4-BE49-F238E27FC236}">
                    <a16:creationId xmlns:a16="http://schemas.microsoft.com/office/drawing/2014/main" id="{84E17E54-7876-B646-65C1-982DC0ACFF93}"/>
                  </a:ext>
                </a:extLst>
              </p:cNvPr>
              <p:cNvSpPr/>
              <p:nvPr/>
            </p:nvSpPr>
            <p:spPr>
              <a:xfrm>
                <a:off x="8252541" y="4180506"/>
                <a:ext cx="57150" cy="219075"/>
              </a:xfrm>
              <a:custGeom>
                <a:avLst/>
                <a:gdLst>
                  <a:gd name="connsiteX0" fmla="*/ 60007 w 57150"/>
                  <a:gd name="connsiteY0" fmla="*/ 224052 h 219075"/>
                  <a:gd name="connsiteX1" fmla="*/ 60389 w 57150"/>
                  <a:gd name="connsiteY1" fmla="*/ 31266 h 219075"/>
                  <a:gd name="connsiteX2" fmla="*/ 36672 w 57150"/>
                  <a:gd name="connsiteY2" fmla="*/ 691 h 219075"/>
                  <a:gd name="connsiteX3" fmla="*/ 0 w 57150"/>
                  <a:gd name="connsiteY3" fmla="*/ 30028 h 219075"/>
                </a:gdLst>
                <a:ahLst/>
                <a:cxnLst>
                  <a:cxn ang="0">
                    <a:pos x="connsiteX0" y="connsiteY0"/>
                  </a:cxn>
                  <a:cxn ang="0">
                    <a:pos x="connsiteX1" y="connsiteY1"/>
                  </a:cxn>
                  <a:cxn ang="0">
                    <a:pos x="connsiteX2" y="connsiteY2"/>
                  </a:cxn>
                  <a:cxn ang="0">
                    <a:pos x="connsiteX3" y="connsiteY3"/>
                  </a:cxn>
                </a:cxnLst>
                <a:rect l="l" t="t" r="r" b="b"/>
                <a:pathLst>
                  <a:path w="57150" h="219075">
                    <a:moveTo>
                      <a:pt x="60007" y="224052"/>
                    </a:moveTo>
                    <a:lnTo>
                      <a:pt x="60389" y="31266"/>
                    </a:lnTo>
                    <a:cubicBezTo>
                      <a:pt x="60484" y="16883"/>
                      <a:pt x="50768" y="3644"/>
                      <a:pt x="36672" y="691"/>
                    </a:cubicBezTo>
                    <a:cubicBezTo>
                      <a:pt x="17240" y="-3405"/>
                      <a:pt x="95" y="11264"/>
                      <a:pt x="0" y="30028"/>
                    </a:cubicBezTo>
                  </a:path>
                </a:pathLst>
              </a:custGeom>
              <a:noFill/>
              <a:ln w="12700" cap="rnd">
                <a:solidFill>
                  <a:srgbClr val="244655"/>
                </a:solidFill>
                <a:prstDash val="solid"/>
                <a:round/>
              </a:ln>
            </p:spPr>
            <p:txBody>
              <a:bodyPr rtlCol="0" anchor="ctr"/>
              <a:lstStyle/>
              <a:p>
                <a:endParaRPr lang="de-DE"/>
              </a:p>
            </p:txBody>
          </p:sp>
          <p:sp>
            <p:nvSpPr>
              <p:cNvPr id="354" name="Freeform: Shape 353">
                <a:extLst>
                  <a:ext uri="{FF2B5EF4-FFF2-40B4-BE49-F238E27FC236}">
                    <a16:creationId xmlns:a16="http://schemas.microsoft.com/office/drawing/2014/main" id="{C3630FBD-B797-5C6E-C679-05C6A1038309}"/>
                  </a:ext>
                </a:extLst>
              </p:cNvPr>
              <p:cNvSpPr/>
              <p:nvPr/>
            </p:nvSpPr>
            <p:spPr>
              <a:xfrm>
                <a:off x="8312930" y="4238515"/>
                <a:ext cx="57150" cy="495300"/>
              </a:xfrm>
              <a:custGeom>
                <a:avLst/>
                <a:gdLst>
                  <a:gd name="connsiteX0" fmla="*/ 18573 w 57150"/>
                  <a:gd name="connsiteY0" fmla="*/ 498180 h 495300"/>
                  <a:gd name="connsiteX1" fmla="*/ 15335 w 57150"/>
                  <a:gd name="connsiteY1" fmla="*/ 386070 h 495300"/>
                  <a:gd name="connsiteX2" fmla="*/ 58388 w 57150"/>
                  <a:gd name="connsiteY2" fmla="*/ 274914 h 495300"/>
                  <a:gd name="connsiteX3" fmla="*/ 59055 w 57150"/>
                  <a:gd name="connsiteY3" fmla="*/ 178140 h 495300"/>
                  <a:gd name="connsiteX4" fmla="*/ 59245 w 57150"/>
                  <a:gd name="connsiteY4" fmla="*/ 152518 h 495300"/>
                  <a:gd name="connsiteX5" fmla="*/ 60103 w 57150"/>
                  <a:gd name="connsiteY5" fmla="*/ 31264 h 495300"/>
                  <a:gd name="connsiteX6" fmla="*/ 36386 w 57150"/>
                  <a:gd name="connsiteY6" fmla="*/ 689 h 495300"/>
                  <a:gd name="connsiteX7" fmla="*/ 0 w 57150"/>
                  <a:gd name="connsiteY7" fmla="*/ 26121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95300">
                    <a:moveTo>
                      <a:pt x="18573" y="498180"/>
                    </a:moveTo>
                    <a:lnTo>
                      <a:pt x="15335" y="386070"/>
                    </a:lnTo>
                    <a:cubicBezTo>
                      <a:pt x="48006" y="358639"/>
                      <a:pt x="58864" y="310537"/>
                      <a:pt x="58388" y="274914"/>
                    </a:cubicBezTo>
                    <a:lnTo>
                      <a:pt x="59055" y="178140"/>
                    </a:lnTo>
                    <a:lnTo>
                      <a:pt x="59245" y="152518"/>
                    </a:lnTo>
                    <a:lnTo>
                      <a:pt x="60103" y="31264"/>
                    </a:lnTo>
                    <a:cubicBezTo>
                      <a:pt x="60198" y="16881"/>
                      <a:pt x="50482" y="3642"/>
                      <a:pt x="36386" y="689"/>
                    </a:cubicBezTo>
                    <a:cubicBezTo>
                      <a:pt x="18383" y="-3121"/>
                      <a:pt x="2286" y="9357"/>
                      <a:pt x="0" y="26121"/>
                    </a:cubicBezTo>
                  </a:path>
                </a:pathLst>
              </a:custGeom>
              <a:noFill/>
              <a:ln w="12700" cap="rnd">
                <a:solidFill>
                  <a:srgbClr val="244655"/>
                </a:solidFill>
                <a:prstDash val="solid"/>
                <a:round/>
              </a:ln>
            </p:spPr>
            <p:txBody>
              <a:bodyPr rtlCol="0" anchor="ctr"/>
              <a:lstStyle/>
              <a:p>
                <a:endParaRPr lang="de-DE"/>
              </a:p>
            </p:txBody>
          </p:sp>
          <p:sp>
            <p:nvSpPr>
              <p:cNvPr id="355" name="Freeform: Shape 354">
                <a:extLst>
                  <a:ext uri="{FF2B5EF4-FFF2-40B4-BE49-F238E27FC236}">
                    <a16:creationId xmlns:a16="http://schemas.microsoft.com/office/drawing/2014/main" id="{C859083D-7104-36A4-B6B6-D7CA730FD85B}"/>
                  </a:ext>
                </a:extLst>
              </p:cNvPr>
              <p:cNvSpPr/>
              <p:nvPr/>
            </p:nvSpPr>
            <p:spPr>
              <a:xfrm>
                <a:off x="8034324" y="4322357"/>
                <a:ext cx="123825" cy="409575"/>
              </a:xfrm>
              <a:custGeom>
                <a:avLst/>
                <a:gdLst>
                  <a:gd name="connsiteX0" fmla="*/ 0 w 123825"/>
                  <a:gd name="connsiteY0" fmla="*/ 0 h 409575"/>
                  <a:gd name="connsiteX1" fmla="*/ 33147 w 123825"/>
                  <a:gd name="connsiteY1" fmla="*/ 198311 h 409575"/>
                  <a:gd name="connsiteX2" fmla="*/ 124110 w 123825"/>
                  <a:gd name="connsiteY2" fmla="*/ 312706 h 409575"/>
                  <a:gd name="connsiteX3" fmla="*/ 122872 w 123825"/>
                  <a:gd name="connsiteY3" fmla="*/ 417005 h 409575"/>
                </a:gdLst>
                <a:ahLst/>
                <a:cxnLst>
                  <a:cxn ang="0">
                    <a:pos x="connsiteX0" y="connsiteY0"/>
                  </a:cxn>
                  <a:cxn ang="0">
                    <a:pos x="connsiteX1" y="connsiteY1"/>
                  </a:cxn>
                  <a:cxn ang="0">
                    <a:pos x="connsiteX2" y="connsiteY2"/>
                  </a:cxn>
                  <a:cxn ang="0">
                    <a:pos x="connsiteX3" y="connsiteY3"/>
                  </a:cxn>
                </a:cxnLst>
                <a:rect l="l" t="t" r="r" b="b"/>
                <a:pathLst>
                  <a:path w="123825" h="409575">
                    <a:moveTo>
                      <a:pt x="0" y="0"/>
                    </a:moveTo>
                    <a:lnTo>
                      <a:pt x="33147" y="198311"/>
                    </a:lnTo>
                    <a:cubicBezTo>
                      <a:pt x="42386" y="249841"/>
                      <a:pt x="79534" y="292417"/>
                      <a:pt x="124110" y="312706"/>
                    </a:cubicBezTo>
                    <a:lnTo>
                      <a:pt x="122872" y="417005"/>
                    </a:lnTo>
                  </a:path>
                </a:pathLst>
              </a:custGeom>
              <a:noFill/>
              <a:ln w="12700" cap="rnd">
                <a:solidFill>
                  <a:srgbClr val="244655"/>
                </a:solidFill>
                <a:prstDash val="solid"/>
                <a:round/>
              </a:ln>
            </p:spPr>
            <p:txBody>
              <a:bodyPr rtlCol="0" anchor="ctr"/>
              <a:lstStyle/>
              <a:p>
                <a:endParaRPr lang="de-DE"/>
              </a:p>
            </p:txBody>
          </p:sp>
        </p:grpSp>
      </p:grpSp>
      <p:grpSp>
        <p:nvGrpSpPr>
          <p:cNvPr id="360" name="Group 359">
            <a:extLst>
              <a:ext uri="{FF2B5EF4-FFF2-40B4-BE49-F238E27FC236}">
                <a16:creationId xmlns:a16="http://schemas.microsoft.com/office/drawing/2014/main" id="{0046BE1D-D802-6720-85FC-E11D442CD1D7}"/>
              </a:ext>
            </a:extLst>
          </p:cNvPr>
          <p:cNvGrpSpPr/>
          <p:nvPr/>
        </p:nvGrpSpPr>
        <p:grpSpPr>
          <a:xfrm>
            <a:off x="3593588" y="4468272"/>
            <a:ext cx="292174" cy="272965"/>
            <a:chOff x="1346204" y="1409364"/>
            <a:chExt cx="458788" cy="428625"/>
          </a:xfrm>
        </p:grpSpPr>
        <p:sp>
          <p:nvSpPr>
            <p:cNvPr id="361" name="Freeform 29">
              <a:extLst>
                <a:ext uri="{FF2B5EF4-FFF2-40B4-BE49-F238E27FC236}">
                  <a16:creationId xmlns:a16="http://schemas.microsoft.com/office/drawing/2014/main" id="{EDCC2608-55C2-0CA5-B40C-1B25406B4554}"/>
                </a:ext>
              </a:extLst>
            </p:cNvPr>
            <p:cNvSpPr>
              <a:spLocks/>
            </p:cNvSpPr>
            <p:nvPr/>
          </p:nvSpPr>
          <p:spPr bwMode="auto">
            <a:xfrm>
              <a:off x="1346204" y="1409364"/>
              <a:ext cx="428625" cy="428625"/>
            </a:xfrm>
            <a:custGeom>
              <a:avLst/>
              <a:gdLst>
                <a:gd name="T0" fmla="*/ 94 w 95"/>
                <a:gd name="T1" fmla="*/ 45 h 95"/>
                <a:gd name="T2" fmla="*/ 49 w 95"/>
                <a:gd name="T3" fmla="*/ 94 h 95"/>
                <a:gd name="T4" fmla="*/ 1 w 95"/>
                <a:gd name="T5" fmla="*/ 49 h 95"/>
                <a:gd name="T6" fmla="*/ 46 w 95"/>
                <a:gd name="T7" fmla="*/ 0 h 95"/>
                <a:gd name="T8" fmla="*/ 94 w 95"/>
                <a:gd name="T9" fmla="*/ 45 h 95"/>
              </a:gdLst>
              <a:ahLst/>
              <a:cxnLst>
                <a:cxn ang="0">
                  <a:pos x="T0" y="T1"/>
                </a:cxn>
                <a:cxn ang="0">
                  <a:pos x="T2" y="T3"/>
                </a:cxn>
                <a:cxn ang="0">
                  <a:pos x="T4" y="T5"/>
                </a:cxn>
                <a:cxn ang="0">
                  <a:pos x="T6" y="T7"/>
                </a:cxn>
                <a:cxn ang="0">
                  <a:pos x="T8" y="T9"/>
                </a:cxn>
              </a:cxnLst>
              <a:rect l="0" t="0" r="r" b="b"/>
              <a:pathLst>
                <a:path w="95" h="95">
                  <a:moveTo>
                    <a:pt x="94" y="45"/>
                  </a:moveTo>
                  <a:cubicBezTo>
                    <a:pt x="95" y="71"/>
                    <a:pt x="75" y="93"/>
                    <a:pt x="49" y="94"/>
                  </a:cubicBezTo>
                  <a:cubicBezTo>
                    <a:pt x="24" y="95"/>
                    <a:pt x="2" y="75"/>
                    <a:pt x="1" y="49"/>
                  </a:cubicBezTo>
                  <a:cubicBezTo>
                    <a:pt x="0" y="23"/>
                    <a:pt x="20" y="1"/>
                    <a:pt x="46" y="0"/>
                  </a:cubicBezTo>
                  <a:cubicBezTo>
                    <a:pt x="72" y="0"/>
                    <a:pt x="93" y="20"/>
                    <a:pt x="94" y="45"/>
                  </a:cubicBezTo>
                  <a:close/>
                </a:path>
              </a:pathLst>
            </a:custGeom>
            <a:solidFill>
              <a:srgbClr val="E2DED9"/>
            </a:solidFill>
            <a:ln>
              <a:noFill/>
            </a:ln>
          </p:spPr>
          <p:txBody>
            <a:bodyPr vert="horz" wrap="square" lIns="91440" tIns="45720" rIns="91440" bIns="45720" numCol="1" anchor="t" anchorCtr="0" compatLnSpc="1">
              <a:prstTxWarp prst="textNoShape">
                <a:avLst/>
              </a:prstTxWarp>
            </a:bodyPr>
            <a:lstStyle/>
            <a:p>
              <a:endParaRPr lang="da-DK"/>
            </a:p>
          </p:txBody>
        </p:sp>
        <p:grpSp>
          <p:nvGrpSpPr>
            <p:cNvPr id="362" name="Group 361">
              <a:extLst>
                <a:ext uri="{FF2B5EF4-FFF2-40B4-BE49-F238E27FC236}">
                  <a16:creationId xmlns:a16="http://schemas.microsoft.com/office/drawing/2014/main" id="{E506B3CA-5DB9-7073-5FFF-D31A16DE93D8}"/>
                </a:ext>
              </a:extLst>
            </p:cNvPr>
            <p:cNvGrpSpPr/>
            <p:nvPr/>
          </p:nvGrpSpPr>
          <p:grpSpPr>
            <a:xfrm>
              <a:off x="1409704" y="1431590"/>
              <a:ext cx="395288" cy="396875"/>
              <a:chOff x="1409704" y="1431590"/>
              <a:chExt cx="395288" cy="396875"/>
            </a:xfrm>
          </p:grpSpPr>
          <p:sp>
            <p:nvSpPr>
              <p:cNvPr id="363" name="Line 30">
                <a:extLst>
                  <a:ext uri="{FF2B5EF4-FFF2-40B4-BE49-F238E27FC236}">
                    <a16:creationId xmlns:a16="http://schemas.microsoft.com/office/drawing/2014/main" id="{2A0370D1-9C64-31A8-CAD2-C635124B69F5}"/>
                  </a:ext>
                </a:extLst>
              </p:cNvPr>
              <p:cNvSpPr>
                <a:spLocks noChangeShapeType="1"/>
              </p:cNvSpPr>
              <p:nvPr/>
            </p:nvSpPr>
            <p:spPr bwMode="auto">
              <a:xfrm flipH="1">
                <a:off x="1409704" y="1630025"/>
                <a:ext cx="395288"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364" name="Line 31">
                <a:extLst>
                  <a:ext uri="{FF2B5EF4-FFF2-40B4-BE49-F238E27FC236}">
                    <a16:creationId xmlns:a16="http://schemas.microsoft.com/office/drawing/2014/main" id="{83B00CFC-4168-8480-4C08-F5215256BE13}"/>
                  </a:ext>
                </a:extLst>
              </p:cNvPr>
              <p:cNvSpPr>
                <a:spLocks noChangeShapeType="1"/>
              </p:cNvSpPr>
              <p:nvPr/>
            </p:nvSpPr>
            <p:spPr bwMode="auto">
              <a:xfrm flipV="1">
                <a:off x="1608142" y="1431590"/>
                <a:ext cx="0" cy="3968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grpSp>
      </p:grpSp>
      <p:cxnSp>
        <p:nvCxnSpPr>
          <p:cNvPr id="365" name="Straight Connector 364">
            <a:extLst>
              <a:ext uri="{FF2B5EF4-FFF2-40B4-BE49-F238E27FC236}">
                <a16:creationId xmlns:a16="http://schemas.microsoft.com/office/drawing/2014/main" id="{A3D38D56-61EC-CD1C-C3A8-4F540849E25D}"/>
              </a:ext>
            </a:extLst>
          </p:cNvPr>
          <p:cNvCxnSpPr>
            <a:cxnSpLocks/>
          </p:cNvCxnSpPr>
          <p:nvPr/>
        </p:nvCxnSpPr>
        <p:spPr>
          <a:xfrm>
            <a:off x="543000" y="1340051"/>
            <a:ext cx="8820000" cy="0"/>
          </a:xfrm>
          <a:prstGeom prst="line">
            <a:avLst/>
          </a:prstGeom>
          <a:ln w="19050">
            <a:solidFill>
              <a:srgbClr val="24465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8" name="TextBox 367">
            <a:extLst>
              <a:ext uri="{FF2B5EF4-FFF2-40B4-BE49-F238E27FC236}">
                <a16:creationId xmlns:a16="http://schemas.microsoft.com/office/drawing/2014/main" id="{280C20EF-20FA-8F3B-CB30-F907B9E80985}"/>
              </a:ext>
            </a:extLst>
          </p:cNvPr>
          <p:cNvSpPr txBox="1"/>
          <p:nvPr/>
        </p:nvSpPr>
        <p:spPr>
          <a:xfrm>
            <a:off x="1036228" y="1581518"/>
            <a:ext cx="1469198" cy="237757"/>
          </a:xfrm>
          <a:prstGeom prst="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fontAlgn="base">
              <a:spcBef>
                <a:spcPts val="0"/>
              </a:spcBef>
              <a:spcAft>
                <a:spcPts val="0"/>
              </a:spcAft>
              <a:defRPr/>
            </a:pPr>
            <a:r>
              <a:rPr lang="da-DK" sz="1050" b="1" dirty="0">
                <a:solidFill>
                  <a:schemeClr val="bg1"/>
                </a:solidFill>
                <a:latin typeface="Calibri" panose="020F0502020204030204" pitchFamily="34" charset="0"/>
                <a:cs typeface="Calibri" panose="020F0502020204030204" pitchFamily="34" charset="0"/>
              </a:rPr>
              <a:t>Ny opgavefordeling</a:t>
            </a:r>
          </a:p>
        </p:txBody>
      </p:sp>
      <p:sp>
        <p:nvSpPr>
          <p:cNvPr id="369" name="TextBox 368">
            <a:extLst>
              <a:ext uri="{FF2B5EF4-FFF2-40B4-BE49-F238E27FC236}">
                <a16:creationId xmlns:a16="http://schemas.microsoft.com/office/drawing/2014/main" id="{D42F0C7B-B5C8-8557-C1E9-F50825D022EB}"/>
              </a:ext>
            </a:extLst>
          </p:cNvPr>
          <p:cNvSpPr txBox="1"/>
          <p:nvPr/>
        </p:nvSpPr>
        <p:spPr>
          <a:xfrm>
            <a:off x="3872543" y="1581518"/>
            <a:ext cx="2424679" cy="237757"/>
          </a:xfrm>
          <a:prstGeom prst="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fontAlgn="base">
              <a:spcBef>
                <a:spcPts val="0"/>
              </a:spcBef>
              <a:spcAft>
                <a:spcPts val="0"/>
              </a:spcAft>
              <a:defRPr/>
            </a:pPr>
            <a:r>
              <a:rPr lang="da-DK" sz="1050" b="1" dirty="0">
                <a:solidFill>
                  <a:schemeClr val="tx1"/>
                </a:solidFill>
                <a:latin typeface="Calibri" panose="020F0502020204030204" pitchFamily="34" charset="0"/>
                <a:cs typeface="Calibri" panose="020F0502020204030204" pitchFamily="34" charset="0"/>
              </a:rPr>
              <a:t>Teamorganisering om patienten</a:t>
            </a:r>
          </a:p>
        </p:txBody>
      </p:sp>
      <p:sp>
        <p:nvSpPr>
          <p:cNvPr id="370" name="TextBox 369">
            <a:extLst>
              <a:ext uri="{FF2B5EF4-FFF2-40B4-BE49-F238E27FC236}">
                <a16:creationId xmlns:a16="http://schemas.microsoft.com/office/drawing/2014/main" id="{5E4D23CC-45E3-E182-EC99-2A6E14F6779F}"/>
              </a:ext>
            </a:extLst>
          </p:cNvPr>
          <p:cNvSpPr txBox="1"/>
          <p:nvPr/>
        </p:nvSpPr>
        <p:spPr>
          <a:xfrm>
            <a:off x="6825457" y="1581518"/>
            <a:ext cx="2268580" cy="237757"/>
          </a:xfrm>
          <a:prstGeom prst="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fontAlgn="base">
              <a:spcBef>
                <a:spcPts val="0"/>
              </a:spcBef>
              <a:spcAft>
                <a:spcPts val="0"/>
              </a:spcAft>
              <a:defRPr/>
            </a:pPr>
            <a:r>
              <a:rPr lang="da-DK" sz="1050" b="1" dirty="0">
                <a:solidFill>
                  <a:schemeClr val="bg1"/>
                </a:solidFill>
                <a:latin typeface="Calibri" panose="020F0502020204030204" pitchFamily="34" charset="0"/>
                <a:cs typeface="Calibri" panose="020F0502020204030204" pitchFamily="34" charset="0"/>
              </a:rPr>
              <a:t>Fælles ansvar og indflydelse </a:t>
            </a:r>
          </a:p>
        </p:txBody>
      </p:sp>
      <p:sp>
        <p:nvSpPr>
          <p:cNvPr id="371" name="TextBox 370">
            <a:extLst>
              <a:ext uri="{FF2B5EF4-FFF2-40B4-BE49-F238E27FC236}">
                <a16:creationId xmlns:a16="http://schemas.microsoft.com/office/drawing/2014/main" id="{C5915A4D-7A63-4D7F-9535-B0A708FC1FCA}"/>
              </a:ext>
            </a:extLst>
          </p:cNvPr>
          <p:cNvSpPr txBox="1"/>
          <p:nvPr/>
        </p:nvSpPr>
        <p:spPr>
          <a:xfrm>
            <a:off x="999378" y="4497414"/>
            <a:ext cx="2443155" cy="237757"/>
          </a:xfrm>
          <a:prstGeom prst="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fontAlgn="base">
              <a:spcBef>
                <a:spcPts val="0"/>
              </a:spcBef>
              <a:spcAft>
                <a:spcPts val="0"/>
              </a:spcAft>
              <a:defRPr/>
            </a:pPr>
            <a:r>
              <a:rPr lang="da-DK" sz="1050" b="1" dirty="0">
                <a:solidFill>
                  <a:schemeClr val="tx1"/>
                </a:solidFill>
                <a:latin typeface="Calibri" panose="020F0502020204030204" pitchFamily="34" charset="0"/>
                <a:cs typeface="Calibri" panose="020F0502020204030204" pitchFamily="34" charset="0"/>
              </a:rPr>
              <a:t>Håndtering af høje følelsesmæssige krav</a:t>
            </a:r>
          </a:p>
        </p:txBody>
      </p:sp>
      <p:sp>
        <p:nvSpPr>
          <p:cNvPr id="372" name="TextBox 371">
            <a:extLst>
              <a:ext uri="{FF2B5EF4-FFF2-40B4-BE49-F238E27FC236}">
                <a16:creationId xmlns:a16="http://schemas.microsoft.com/office/drawing/2014/main" id="{82C41B2B-F646-EA20-081D-CC46306F594F}"/>
              </a:ext>
            </a:extLst>
          </p:cNvPr>
          <p:cNvSpPr txBox="1"/>
          <p:nvPr/>
        </p:nvSpPr>
        <p:spPr>
          <a:xfrm>
            <a:off x="3872544" y="4497414"/>
            <a:ext cx="2268580" cy="237757"/>
          </a:xfrm>
          <a:prstGeom prst="rect">
            <a:avLst/>
          </a:prstGeom>
          <a:no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lvl="0" fontAlgn="base">
              <a:spcBef>
                <a:spcPts val="0"/>
              </a:spcBef>
              <a:spcAft>
                <a:spcPts val="0"/>
              </a:spcAft>
              <a:defRPr/>
            </a:pPr>
            <a:r>
              <a:rPr lang="da-DK" sz="1050" b="1" dirty="0">
                <a:solidFill>
                  <a:schemeClr val="bg1"/>
                </a:solidFill>
                <a:latin typeface="Calibri" panose="020F0502020204030204" pitchFamily="34" charset="0"/>
                <a:cs typeface="Calibri" panose="020F0502020204030204" pitchFamily="34" charset="0"/>
              </a:rPr>
              <a:t>Tid og rammer for arbejdet</a:t>
            </a:r>
          </a:p>
        </p:txBody>
      </p:sp>
    </p:spTree>
    <p:extLst>
      <p:ext uri="{BB962C8B-B14F-4D97-AF65-F5344CB8AC3E}">
        <p14:creationId xmlns:p14="http://schemas.microsoft.com/office/powerpoint/2010/main" val="46101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MART" val="&lt;smart xmlns:xsd=&quot;http://www.w3.org/2001/XMLSchema&quot; xmlns:xsi=&quot;http://www.w3.org/2001/XMLSchema-instance&quot;&gt;&lt;presentationSettings&gt;&lt;stickerPosition&gt;TR|21.5,110.8812&lt;/stickerPosition&gt;&lt;agenda createSections=&quot;false&quot; enableNavigation=&quot;false&quot; id=&quot;9bf804fe-2af1-43da-a6cd-b3a879be0eeb&quot; isTouched=&quot;false&quot; mode=&quot;Agenda&quot; showDuration=&quot;false&quot; showHeaders=&quot;false&quot; showOnlyStartTime=&quot;false&quot; showPageNumber=&quot;false&quot; showResponsible=&quot;false&quot; showSubTopics=&quot;false&quot; showTimeSlot=&quot;false&quot; showTopicNumber=&quot;false&quot; slidesForSubTopics=&quot;false&quot; timeFormat=&quot;00000000-0000-0000-0000-000000000000&quot; title=&quot;Agenda&quot;&gt;&lt;columns&gt;&lt;column displayIndex=&quot;0&quot; header=&quot;#&quot; id=&quot;8fc7e105-5a32-4a72-bc85-7d3ff1e7b9d7&quot; visible=&quot;true&quot; width=&quot;170&quot; /&gt;&lt;column displayIndex=&quot;1&quot; header=&quot;Topic&quot; id=&quot;8f81a0ad-7497-4bbb-a001-838bad8c0faa&quot; visible=&quot;true&quot; width=&quot;160&quot; /&gt;&lt;column displayIndex=&quot;2&quot; header=&quot;Responsible&quot; id=&quot;2f9b06db-11e3-45bc-aecb-cf6141b9856b&quot; visible=&quot;true&quot; width=&quot;165&quot; /&gt;&lt;column displayIndex=&quot;3&quot; header=&quot;Duration&quot; id=&quot;99d05e97-02f5-4087-be8e-b10736e0c9ca&quot; visible=&quot;true&quot; width=&quot;150&quot; /&gt;&lt;column displayIndex=&quot;4&quot; header=&quot;Time&quot; id=&quot;fd356bfd-687f-40e8-b861-574837edbc46&quot; visible=&quot;true&quot; width=&quot;180&quot; /&gt;&lt;column displayIndex=&quot;5&quot; header=&quot;Page&quot; id=&quot;db91063f-fada-4f32-86c9-9368cd93fa26&quot; visible=&quot;true&quot; width=&quot;170&quot; /&gt;&lt;/columns&gt;&lt;layout /&gt;&lt;rows /&gt;&lt;/agenda&gt;&lt;template id=&quot;https://implementcg.sharepoint.com/Office Template Library/PowerPoint/Templates/02. IM 2018_OLD/01. A4 landscape/Implement A4 landscape.potx&quot; lastModified=&quot;2023-08-11T07:51:09Z&quot; mimeType=&quot;application/vnd.openxmlformats-officedocument.presentationml.slidemaster&quot; name=&quot;Implement A4 landscape&quot; slideMasterName=&quot;Implement PowerPoint A4&quot;&gt;&lt;LayoutNames&gt;&lt;Name&gt;Cover A&lt;/Name&gt;&lt;Name&gt;Cover B&lt;/Name&gt;&lt;Name&gt;Cover C&lt;/Name&gt;&lt;Name&gt;Cover Image A&lt;/Name&gt;&lt;Name&gt;Cover Image B&lt;/Name&gt;&lt;Name&gt;Cover Image C&lt;/Name&gt;&lt;Name&gt;Cover Image D&lt;/Name&gt;&lt;Name&gt;Title and Content&lt;/Name&gt;&lt;Name&gt;Title and Content Light&lt;/Name&gt;&lt;Name&gt;Title and Content Dark&lt;/Name&gt;&lt;Name&gt;Two Content A&lt;/Name&gt;&lt;Name&gt;Two Content B&lt;/Name&gt;&lt;Name&gt;Title Only&lt;/Name&gt;&lt;Name&gt;Custom Layout A&lt;/Name&gt;&lt;Name&gt;Custom Layout B - Image&lt;/Name&gt;&lt;Name&gt;Title and Content Background A&lt;/Name&gt;&lt;Name&gt;Title and Content Background B&lt;/Name&gt;&lt;Name&gt;Title and Content Background C&lt;/Name&gt;&lt;Name&gt;Title and Content Background D&lt;/Name&gt;&lt;Name&gt;Conclusion Box Vertical&lt;/Name&gt;&lt;Name&gt;Conclusion Box Horizontal 2&lt;/Name&gt;&lt;Name&gt;Divider Small Dark&lt;/Name&gt;&lt;Name&gt;Divider Small&lt;/Name&gt;&lt;Name&gt;Section Image Dark&lt;/Name&gt;&lt;Name&gt;Section Image Light&lt;/Name&gt;&lt;Name&gt;Section Yellow&lt;/Name&gt;&lt;Name&gt;Section Bright Green&lt;/Name&gt;&lt;Name&gt;Section Dark Green&lt;/Name&gt;&lt;Name&gt;Section Wine Red&lt;/Name&gt;&lt;Name&gt;Section Piggy&lt;/Name&gt;&lt;Name&gt;Section Brown&lt;/Name&gt;&lt;Name&gt;Section Egg&lt;/Name&gt;&lt;Name&gt;Section Grey&lt;/Name&gt;&lt;Name&gt;Section White&lt;/Name&gt;&lt;Name&gt;Section Dark&lt;/Name&gt;&lt;Name&gt;Image Background Dark Text&lt;/Name&gt;&lt;Name&gt;Image Background Light Text&lt;/Name&gt;&lt;Name&gt;Quotation Dark&lt;/Name&gt;&lt;Name&gt;Quotation Light&lt;/Name&gt;&lt;Name&gt;Blank&lt;/Name&gt;&lt;Name&gt;Title Grid&lt;/Name&gt;&lt;Name&gt;Thank you&lt;/Name&gt;&lt;Name&gt;Reference Case - Short Text&lt;/Name&gt;&lt;Name&gt;Reference Case - Long Text A&lt;/Name&gt;&lt;Name&gt;Reference Case - Long Text B&lt;/Name&gt;&lt;Name&gt;Reference Case - Long Text C&lt;/Name&gt;&lt;Name&gt;Reference Case - Long Text D&lt;/Name&gt;&lt;Name&gt;Reference Case - Long Text E&lt;/Name&gt;&lt;Name&gt;Reference Case - Long Text F&lt;/Name&gt;&lt;Name&gt;Mastery cover - ONLY&lt;/Name&gt;&lt;/LayoutNames&gt;&lt;/template&gt;&lt;theme&gt;&lt;recentColors /&gt;&lt;/theme&gt;&lt;rules&gt;&lt;disabled /&gt;&lt;/rules&gt;&lt;/presentationSettings&gt;&lt;/smar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_LOCKS" val="0"/>
</p:tagLst>
</file>

<file path=ppt/tags/tag11.xml><?xml version="1.0" encoding="utf-8"?>
<p:tagLst xmlns:a="http://schemas.openxmlformats.org/drawingml/2006/main" xmlns:r="http://schemas.openxmlformats.org/officeDocument/2006/relationships" xmlns:p="http://schemas.openxmlformats.org/presentationml/2006/main">
  <p:tag name="SHAPE_LOCKS" val="0"/>
</p:tagLst>
</file>

<file path=ppt/tags/tag12.xml><?xml version="1.0" encoding="utf-8"?>
<p:tagLst xmlns:a="http://schemas.openxmlformats.org/drawingml/2006/main" xmlns:r="http://schemas.openxmlformats.org/officeDocument/2006/relationships" xmlns:p="http://schemas.openxmlformats.org/presentationml/2006/main">
  <p:tag name="SHAPE_LOCKS" val="0"/>
</p:tagLst>
</file>

<file path=ppt/tags/tag13.xml><?xml version="1.0" encoding="utf-8"?>
<p:tagLst xmlns:a="http://schemas.openxmlformats.org/drawingml/2006/main" xmlns:r="http://schemas.openxmlformats.org/officeDocument/2006/relationships" xmlns:p="http://schemas.openxmlformats.org/presentationml/2006/main">
  <p:tag name="SHAPE_LOCKS" val="0"/>
</p:tagLst>
</file>

<file path=ppt/tags/tag14.xml><?xml version="1.0" encoding="utf-8"?>
<p:tagLst xmlns:a="http://schemas.openxmlformats.org/drawingml/2006/main" xmlns:r="http://schemas.openxmlformats.org/officeDocument/2006/relationships" xmlns:p="http://schemas.openxmlformats.org/presentationml/2006/main">
  <p:tag name="SHAPE_LOCKS" val="0"/>
</p:tagLst>
</file>

<file path=ppt/tags/tag15.xml><?xml version="1.0" encoding="utf-8"?>
<p:tagLst xmlns:a="http://schemas.openxmlformats.org/drawingml/2006/main" xmlns:r="http://schemas.openxmlformats.org/officeDocument/2006/relationships" xmlns:p="http://schemas.openxmlformats.org/presentationml/2006/main">
  <p:tag name="SHAPE_LOCKS" val="0"/>
</p:tagLst>
</file>

<file path=ppt/tags/tag16.xml><?xml version="1.0" encoding="utf-8"?>
<p:tagLst xmlns:a="http://schemas.openxmlformats.org/drawingml/2006/main" xmlns:r="http://schemas.openxmlformats.org/officeDocument/2006/relationships" xmlns:p="http://schemas.openxmlformats.org/presentationml/2006/main">
  <p:tag name="SHAPE_LOCKS" val="0"/>
</p:tagLst>
</file>

<file path=ppt/tags/tag17.xml><?xml version="1.0" encoding="utf-8"?>
<p:tagLst xmlns:a="http://schemas.openxmlformats.org/drawingml/2006/main" xmlns:r="http://schemas.openxmlformats.org/officeDocument/2006/relationships" xmlns:p="http://schemas.openxmlformats.org/presentationml/2006/main">
  <p:tag name="SHAPE_LOCKS" val="0"/>
</p:tagLst>
</file>

<file path=ppt/tags/tag18.xml><?xml version="1.0" encoding="utf-8"?>
<p:tagLst xmlns:a="http://schemas.openxmlformats.org/drawingml/2006/main" xmlns:r="http://schemas.openxmlformats.org/officeDocument/2006/relationships" xmlns:p="http://schemas.openxmlformats.org/presentationml/2006/main">
  <p:tag name="SHAPE_LOCKS" val="0"/>
</p:tagLst>
</file>

<file path=ppt/tags/tag19.xml><?xml version="1.0" encoding="utf-8"?>
<p:tagLst xmlns:a="http://schemas.openxmlformats.org/drawingml/2006/main" xmlns:r="http://schemas.openxmlformats.org/officeDocument/2006/relationships" xmlns:p="http://schemas.openxmlformats.org/presentationml/2006/main">
  <p:tag name="SHAPE_LOCKS"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_LOCKS" val="0"/>
</p:tagLst>
</file>

<file path=ppt/tags/tag21.xml><?xml version="1.0" encoding="utf-8"?>
<p:tagLst xmlns:a="http://schemas.openxmlformats.org/drawingml/2006/main" xmlns:r="http://schemas.openxmlformats.org/officeDocument/2006/relationships" xmlns:p="http://schemas.openxmlformats.org/presentationml/2006/main">
  <p:tag name="SHAPE_LOCKS" val="0"/>
</p:tagLst>
</file>

<file path=ppt/tags/tag22.xml><?xml version="1.0" encoding="utf-8"?>
<p:tagLst xmlns:a="http://schemas.openxmlformats.org/drawingml/2006/main" xmlns:r="http://schemas.openxmlformats.org/officeDocument/2006/relationships" xmlns:p="http://schemas.openxmlformats.org/presentationml/2006/main">
  <p:tag name="SHAPE_LOCKS"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_LOCKS" val="0"/>
</p:tagLst>
</file>

<file path=ppt/tags/tag4.xml><?xml version="1.0" encoding="utf-8"?>
<p:tagLst xmlns:a="http://schemas.openxmlformats.org/drawingml/2006/main" xmlns:r="http://schemas.openxmlformats.org/officeDocument/2006/relationships" xmlns:p="http://schemas.openxmlformats.org/presentationml/2006/main">
  <p:tag name="SHAPE_LOCKS" val="0"/>
</p:tagLst>
</file>

<file path=ppt/tags/tag5.xml><?xml version="1.0" encoding="utf-8"?>
<p:tagLst xmlns:a="http://schemas.openxmlformats.org/drawingml/2006/main" xmlns:r="http://schemas.openxmlformats.org/officeDocument/2006/relationships" xmlns:p="http://schemas.openxmlformats.org/presentationml/2006/main">
  <p:tag name="SHAPE_LOCKS" val="0"/>
</p:tagLst>
</file>

<file path=ppt/tags/tag6.xml><?xml version="1.0" encoding="utf-8"?>
<p:tagLst xmlns:a="http://schemas.openxmlformats.org/drawingml/2006/main" xmlns:r="http://schemas.openxmlformats.org/officeDocument/2006/relationships" xmlns:p="http://schemas.openxmlformats.org/presentationml/2006/main">
  <p:tag name="SHAPE_LOCKS" val="0"/>
</p:tagLst>
</file>

<file path=ppt/tags/tag7.xml><?xml version="1.0" encoding="utf-8"?>
<p:tagLst xmlns:a="http://schemas.openxmlformats.org/drawingml/2006/main" xmlns:r="http://schemas.openxmlformats.org/officeDocument/2006/relationships" xmlns:p="http://schemas.openxmlformats.org/presentationml/2006/main">
  <p:tag name="SHAPE_LOCKS" val="0"/>
</p:tagLst>
</file>

<file path=ppt/tags/tag8.xml><?xml version="1.0" encoding="utf-8"?>
<p:tagLst xmlns:a="http://schemas.openxmlformats.org/drawingml/2006/main" xmlns:r="http://schemas.openxmlformats.org/officeDocument/2006/relationships" xmlns:p="http://schemas.openxmlformats.org/presentationml/2006/main">
  <p:tag name="SHAPE_LOCKS" val="0"/>
</p:tagLst>
</file>

<file path=ppt/tags/tag9.xml><?xml version="1.0" encoding="utf-8"?>
<p:tagLst xmlns:a="http://schemas.openxmlformats.org/drawingml/2006/main" xmlns:r="http://schemas.openxmlformats.org/officeDocument/2006/relationships" xmlns:p="http://schemas.openxmlformats.org/presentationml/2006/main">
  <p:tag name="SHAPE_LOCKS" val="0"/>
</p:tagLst>
</file>

<file path=ppt/theme/theme1.xml><?xml version="1.0" encoding="utf-8"?>
<a:theme xmlns:a="http://schemas.openxmlformats.org/drawingml/2006/main" name="Implement PowerPoint A4">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2DED9"/>
        </a:solidFill>
        <a:ln w="6350">
          <a:noFill/>
        </a:ln>
      </a:spPr>
      <a:bodyPr lIns="108000" tIns="108000" rIns="108000" bIns="108000" rtlCol="0" anchor="t" anchorCtr="0">
        <a:noAutofit/>
      </a:bodyPr>
      <a:lstStyle>
        <a:defPPr algn="l">
          <a:defRPr sz="1100" noProof="0" dirty="0" err="1" smtClean="0">
            <a:solidFill>
              <a:srgbClr val="2F363B"/>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1F202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a:noFill/>
        </a:ln>
      </a:spPr>
      <a:bodyPr wrap="square" lIns="0" tIns="0" rIns="0" bIns="0" rtlCol="0" anchor="t" anchorCtr="0">
        <a:noAutofit/>
      </a:bodyPr>
      <a:lstStyle>
        <a:defPPr algn="l">
          <a:defRPr dirty="0" err="1" smtClean="0">
            <a:solidFill>
              <a:schemeClr val="tx1"/>
            </a:solidFill>
            <a:sym typeface=""/>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49,153,155">
      <a:srgbClr val="95999B"/>
    </a:custClr>
    <a:custClr name="141,141,143">
      <a:srgbClr val="8D8D8F"/>
    </a:custClr>
    <a:custClr name="239,221,210">
      <a:srgbClr val="EFDDD2"/>
    </a:custClr>
    <a:custClr name="195,207,203">
      <a:srgbClr val="C3CFCB"/>
    </a:custClr>
    <a:custClr name="241,218,155">
      <a:srgbClr val="F1DA9B"/>
    </a:custClr>
    <a:custClr name="157,174,173">
      <a:srgbClr val="9DAEAD"/>
    </a:custClr>
    <a:custClr name="195,156,160">
      <a:srgbClr val="C39CA0"/>
    </a:custClr>
    <a:custClr name="203,181,155">
      <a:srgbClr val="CBB59B"/>
    </a:custClr>
    <a:custClr name="243, 242, 240">
      <a:srgbClr val="F3F2F0"/>
    </a:custClr>
    <a:custClr name="252, 251, 245">
      <a:srgbClr val="FCFBF5"/>
    </a:custClr>
    <a:custClr name="184,187,189">
      <a:srgbClr val="B8BBBD"/>
    </a:custClr>
    <a:custClr name="178,179,180">
      <a:srgbClr val="B2B3B4"/>
    </a:custClr>
    <a:custClr name="245,232,224">
      <a:srgbClr val="F5E8E0"/>
    </a:custClr>
    <a:custClr name="215,224,220">
      <a:srgbClr val="D7E0DC"/>
    </a:custClr>
    <a:custClr name="246,230,189">
      <a:srgbClr val="F6E6BD"/>
    </a:custClr>
    <a:custClr name="190,201,201">
      <a:srgbClr val="BEC9C9"/>
    </a:custClr>
    <a:custClr name="215,189,192">
      <a:srgbClr val="D7BDC0"/>
    </a:custClr>
    <a:custClr name="221,206,188">
      <a:srgbClr val="DDCEBC"/>
    </a:custClr>
    <a:custClr name="0,153,0">
      <a:srgbClr val="009900"/>
    </a:custClr>
    <a:custClr name="255,204,0">
      <a:srgbClr val="FFCC00"/>
    </a:custClr>
    <a:custClr name="255,102,0">
      <a:srgbClr val="FF6600"/>
    </a:custClr>
    <a:custClr name="204,0,0">
      <a:srgbClr val="CC0000"/>
    </a:custClr>
    <a:custClr name="0,112,192">
      <a:srgbClr val="0070C0"/>
    </a:custClr>
  </a:custClrLst>
  <a:extLst>
    <a:ext uri="{05A4C25C-085E-4340-85A3-A5531E510DB2}">
      <thm15:themeFamily xmlns:thm15="http://schemas.microsoft.com/office/thememl/2012/main" name="IM A4 landscape template" id="{2E7757C9-0A8C-44C3-9105-0F778ACBAD7E}" vid="{A32D4216-8BFA-4E2E-BBB0-57B98871AA7B}"/>
    </a:ext>
  </a:extLst>
</a:theme>
</file>

<file path=ppt/theme/theme2.xml><?xml version="1.0" encoding="utf-8"?>
<a:theme xmlns:a="http://schemas.openxmlformats.org/drawingml/2006/main" name="Office-tema">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49,153,155">
      <a:srgbClr val="95999B"/>
    </a:custClr>
    <a:custClr name="141,141,143">
      <a:srgbClr val="8D8D8F"/>
    </a:custClr>
    <a:custClr name="239,221,210">
      <a:srgbClr val="EFDDD2"/>
    </a:custClr>
    <a:custClr name="195,207,203">
      <a:srgbClr val="C3CFCB"/>
    </a:custClr>
    <a:custClr name="241,218,155">
      <a:srgbClr val="F1DA9B"/>
    </a:custClr>
    <a:custClr name="157,174,173">
      <a:srgbClr val="9DAEAD"/>
    </a:custClr>
    <a:custClr name="195,156,160">
      <a:srgbClr val="C39CA0"/>
    </a:custClr>
    <a:custClr name="203,181,155">
      <a:srgbClr val="CBB59B"/>
    </a:custClr>
    <a:custClr name="243, 242, 240">
      <a:srgbClr val="F3F2F0"/>
    </a:custClr>
    <a:custClr name="252, 251, 245">
      <a:srgbClr val="FCFBF5"/>
    </a:custClr>
    <a:custClr name="184,187,189">
      <a:srgbClr val="B8BBBD"/>
    </a:custClr>
    <a:custClr name="178,179,180">
      <a:srgbClr val="B2B3B4"/>
    </a:custClr>
    <a:custClr name="245,232,224">
      <a:srgbClr val="F5E8E0"/>
    </a:custClr>
    <a:custClr name="215,224,220">
      <a:srgbClr val="D7E0DC"/>
    </a:custClr>
    <a:custClr name="246,230,189">
      <a:srgbClr val="F6E6BD"/>
    </a:custClr>
    <a:custClr name="190,201,201">
      <a:srgbClr val="BEC9C9"/>
    </a:custClr>
    <a:custClr name="215,189,192">
      <a:srgbClr val="D7BDC0"/>
    </a:custClr>
    <a:custClr name="221,206,188">
      <a:srgbClr val="DDCEBC"/>
    </a:custClr>
    <a:custClr name="0,153,0">
      <a:srgbClr val="009900"/>
    </a:custClr>
    <a:custClr name="255,204,0">
      <a:srgbClr val="FFCC00"/>
    </a:custClr>
    <a:custClr name="255,102,0">
      <a:srgbClr val="FF6600"/>
    </a:custClr>
    <a:custClr name="204,0,0">
      <a:srgbClr val="CC0000"/>
    </a:custClr>
    <a:custClr name="0,112,192">
      <a:srgbClr val="0070C0"/>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49,153,155">
      <a:srgbClr val="95999B"/>
    </a:custClr>
    <a:custClr name="141,141,143">
      <a:srgbClr val="8D8D8F"/>
    </a:custClr>
    <a:custClr name="239,221,210">
      <a:srgbClr val="EFDDD2"/>
    </a:custClr>
    <a:custClr name="195,207,203">
      <a:srgbClr val="C3CFCB"/>
    </a:custClr>
    <a:custClr name="241,218,155">
      <a:srgbClr val="F1DA9B"/>
    </a:custClr>
    <a:custClr name="157,174,173">
      <a:srgbClr val="9DAEAD"/>
    </a:custClr>
    <a:custClr name="195,156,160">
      <a:srgbClr val="C39CA0"/>
    </a:custClr>
    <a:custClr name="203,181,155">
      <a:srgbClr val="CBB59B"/>
    </a:custClr>
    <a:custClr name="243, 242, 240">
      <a:srgbClr val="F3F2F0"/>
    </a:custClr>
    <a:custClr name="252, 251, 245">
      <a:srgbClr val="FCFBF5"/>
    </a:custClr>
    <a:custClr name="184,187,189">
      <a:srgbClr val="B8BBBD"/>
    </a:custClr>
    <a:custClr name="178,179,180">
      <a:srgbClr val="B2B3B4"/>
    </a:custClr>
    <a:custClr name="245,232,224">
      <a:srgbClr val="F5E8E0"/>
    </a:custClr>
    <a:custClr name="215,224,220">
      <a:srgbClr val="D7E0DC"/>
    </a:custClr>
    <a:custClr name="246,230,189">
      <a:srgbClr val="F6E6BD"/>
    </a:custClr>
    <a:custClr name="190,201,201">
      <a:srgbClr val="BEC9C9"/>
    </a:custClr>
    <a:custClr name="215,189,192">
      <a:srgbClr val="D7BDC0"/>
    </a:custClr>
    <a:custClr name="221,206,188">
      <a:srgbClr val="DDCEBC"/>
    </a:custClr>
    <a:custClr name="0,153,0">
      <a:srgbClr val="009900"/>
    </a:custClr>
    <a:custClr name="255,204,0">
      <a:srgbClr val="FFCC00"/>
    </a:custClr>
    <a:custClr name="255,102,0">
      <a:srgbClr val="FF6600"/>
    </a:custClr>
    <a:custClr name="204,0,0">
      <a:srgbClr val="CC0000"/>
    </a:custClr>
    <a:custClr name="0,112,192">
      <a:srgbClr val="0070C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7a43bcb4-ab32-401e-bbf2-5c0419294061">
      <UserInfo>
        <DisplayName>Esben Høgh - Implement Consulting Group</DisplayName>
        <AccountId>15</AccountId>
        <AccountType/>
      </UserInfo>
      <UserInfo>
        <DisplayName>Anders Adser Sørensen - Implement Consulting Group</DisplayName>
        <AccountId>28</AccountId>
        <AccountType/>
      </UserInfo>
    </SharedWithUsers>
    <lcf76f155ced4ddcb4097134ff3c332f xmlns="78e6931c-546b-45c8-b3cb-f16c1f0367af">
      <Terms xmlns="http://schemas.microsoft.com/office/infopath/2007/PartnerControls"/>
    </lcf76f155ced4ddcb4097134ff3c332f>
    <TaxCatchAll xmlns="7a43bcb4-ab32-401e-bbf2-5c041929406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892E185EDEC0D41B33C4C5F021B6ACF" ma:contentTypeVersion="17" ma:contentTypeDescription="Opret et nyt dokument." ma:contentTypeScope="" ma:versionID="2c9219a564e5fa3e4a328ce742084064">
  <xsd:schema xmlns:xsd="http://www.w3.org/2001/XMLSchema" xmlns:xs="http://www.w3.org/2001/XMLSchema" xmlns:p="http://schemas.microsoft.com/office/2006/metadata/properties" xmlns:ns2="78e6931c-546b-45c8-b3cb-f16c1f0367af" xmlns:ns3="7a43bcb4-ab32-401e-bbf2-5c0419294061" targetNamespace="http://schemas.microsoft.com/office/2006/metadata/properties" ma:root="true" ma:fieldsID="39827f1ca4bc4c5042bfc8e6610eaab6" ns2:_="" ns3:_="">
    <xsd:import namespace="78e6931c-546b-45c8-b3cb-f16c1f0367af"/>
    <xsd:import namespace="7a43bcb4-ab32-401e-bbf2-5c041929406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e6931c-546b-45c8-b3cb-f16c1f0367a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Billedmærker" ma:readOnly="false" ma:fieldId="{5cf76f15-5ced-4ddc-b409-7134ff3c332f}" ma:taxonomyMulti="true" ma:sspId="6ccfc1da-8db7-42f7-82c1-3b6c55bb35d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a43bcb4-ab32-401e-bbf2-5c0419294061" elementFormDefault="qualified">
    <xsd:import namespace="http://schemas.microsoft.com/office/2006/documentManagement/types"/>
    <xsd:import namespace="http://schemas.microsoft.com/office/infopath/2007/PartnerControls"/>
    <xsd:element name="SharedWithUsers" ma:index="1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lt med detaljer" ma:internalName="SharedWithDetails" ma:readOnly="true">
      <xsd:simpleType>
        <xsd:restriction base="dms:Note">
          <xsd:maxLength value="255"/>
        </xsd:restriction>
      </xsd:simpleType>
    </xsd:element>
    <xsd:element name="TaxCatchAll" ma:index="22" nillable="true" ma:displayName="Taxonomy Catch All Column" ma:hidden="true" ma:list="{347aeae0-d9e1-4cb3-9b0d-eb5251c10d2b}" ma:internalName="TaxCatchAll" ma:showField="CatchAllData" ma:web="7a43bcb4-ab32-401e-bbf2-5c04192940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2FB61C-6A8B-44E3-8D12-58FC9C6762D9}">
  <ds:schemaRefs>
    <ds:schemaRef ds:uri="http://schemas.microsoft.com/sharepoint/v3/contenttype/forms"/>
  </ds:schemaRefs>
</ds:datastoreItem>
</file>

<file path=customXml/itemProps2.xml><?xml version="1.0" encoding="utf-8"?>
<ds:datastoreItem xmlns:ds="http://schemas.openxmlformats.org/officeDocument/2006/customXml" ds:itemID="{6B00E181-24CE-44AE-BC50-48836B8815AB}">
  <ds:schemaRefs>
    <ds:schemaRef ds:uri="5643c2b0-c2f8-4290-8241-c834b387c6ba"/>
    <ds:schemaRef ds:uri="ff0a65f8-6062-416a-943d-ae57e21533c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FBCB250-F7FE-4324-94D0-745EFAD72EAD}"/>
</file>

<file path=docProps/app.xml><?xml version="1.0" encoding="utf-8"?>
<Properties xmlns="http://schemas.openxmlformats.org/officeDocument/2006/extended-properties" xmlns:vt="http://schemas.openxmlformats.org/officeDocument/2006/docPropsVTypes">
  <Template>Implement A4 landscape</Template>
  <TotalTime>0</TotalTime>
  <Words>1220</Words>
  <Application>Microsoft Office PowerPoint</Application>
  <PresentationFormat>A4-papir (210 x 297 mm)</PresentationFormat>
  <Paragraphs>48</Paragraphs>
  <Slides>4</Slides>
  <Notes>3</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4</vt:i4>
      </vt:variant>
    </vt:vector>
  </HeadingPairs>
  <TitlesOfParts>
    <vt:vector size="11" baseType="lpstr">
      <vt:lpstr>Arial</vt:lpstr>
      <vt:lpstr>Calibri</vt:lpstr>
      <vt:lpstr>Georgia</vt:lpstr>
      <vt:lpstr>Impact</vt:lpstr>
      <vt:lpstr>Palatino Linotype</vt:lpstr>
      <vt:lpstr>Implement PowerPoint A4</vt:lpstr>
      <vt:lpstr>think-cell Slide</vt:lpstr>
      <vt:lpstr>Debathæfte</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LOGVÆRKTØJ</dc:title>
  <dc:creator>Anders Adser Sørensen - Implement Consulting Group</dc:creator>
  <cp:lastModifiedBy>Marianne Brinch-Fischer</cp:lastModifiedBy>
  <cp:revision>2</cp:revision>
  <cp:lastPrinted>2023-08-17T11:11:49Z</cp:lastPrinted>
  <dcterms:created xsi:type="dcterms:W3CDTF">2023-08-11T11:31:35Z</dcterms:created>
  <dcterms:modified xsi:type="dcterms:W3CDTF">2024-01-08T10:1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TaxKeyword">
    <vt:lpwstr/>
  </property>
  <property fmtid="{D5CDD505-2E9C-101B-9397-08002B2CF9AE}" pid="4" name="ContentTypeId">
    <vt:lpwstr>0x010100F168E63952E6AE4BA84493266982B69F00F092A997B155D94AA3EA8BB36864174B</vt:lpwstr>
  </property>
  <property fmtid="{D5CDD505-2E9C-101B-9397-08002B2CF9AE}" pid="5" name="AuthorIds_UIVersion_2048">
    <vt:lpwstr>37</vt:lpwstr>
  </property>
  <property fmtid="{D5CDD505-2E9C-101B-9397-08002B2CF9AE}" pid="6" name="ProjectType">
    <vt:lpwstr/>
  </property>
  <property fmtid="{D5CDD505-2E9C-101B-9397-08002B2CF9AE}" pid="7" name="MediaServiceImageTags">
    <vt:lpwstr/>
  </property>
</Properties>
</file>